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rts/chart1.xml" ContentType="application/vnd.openxmlformats-officedocument.drawingml.chart+xml"/>
  <Override PartName="/ppt/tags/tag17.xml" ContentType="application/vnd.openxmlformats-officedocument.presentationml.tags+xml"/>
  <Override PartName="/ppt/tags/tag18.xml" ContentType="application/vnd.openxmlformats-officedocument.presentationml.tags+xml"/>
  <Override PartName="/ppt/charts/chart2.xml" ContentType="application/vnd.openxmlformats-officedocument.drawingml.chart+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charts/chart3.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ppt/charts/chartEx1.xml" ContentType="application/vnd.ms-office.chartex+xml"/>
  <Override PartName="/ppt/charts/chartEx2.xml" ContentType="application/vnd.ms-office.chartex+xml"/>
  <Override PartName="/ppt/charts/chartEx3.xml" ContentType="application/vnd.ms-office.chartex+xml"/>
  <Override PartName="/ppt/charts/chartEx4.xml" ContentType="application/vnd.ms-office.chartex+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Override PartName="/ppt/charts/colors4.xml" ContentType="application/vnd.ms-office.chartcolorstyle+xml"/>
  <Override PartName="/ppt/charts/style4.xml" ContentType="application/vnd.ms-office.chart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1" r:id="rId2"/>
    <p:sldMasterId id="2147483674" r:id="rId3"/>
    <p:sldMasterId id="2147483687" r:id="rId4"/>
    <p:sldMasterId id="2147483700" r:id="rId5"/>
    <p:sldMasterId id="2147483713" r:id="rId6"/>
  </p:sldMasterIdLst>
  <p:sldIdLst>
    <p:sldId id="256" r:id="rId7"/>
    <p:sldId id="257" r:id="rId8"/>
    <p:sldId id="258" r:id="rId9"/>
    <p:sldId id="272" r:id="rId10"/>
    <p:sldId id="1046" r:id="rId11"/>
    <p:sldId id="1042" r:id="rId12"/>
    <p:sldId id="259" r:id="rId13"/>
    <p:sldId id="260" r:id="rId14"/>
    <p:sldId id="261" r:id="rId15"/>
    <p:sldId id="262" r:id="rId16"/>
    <p:sldId id="263" r:id="rId17"/>
    <p:sldId id="264" r:id="rId18"/>
    <p:sldId id="265" r:id="rId19"/>
    <p:sldId id="266" r:id="rId20"/>
    <p:sldId id="267" r:id="rId21"/>
    <p:sldId id="268" r:id="rId22"/>
    <p:sldId id="269" r:id="rId23"/>
    <p:sldId id="270" r:id="rId24"/>
    <p:sldId id="271" r:id="rId25"/>
    <p:sldId id="573" r:id="rId26"/>
    <p:sldId id="1047" r:id="rId27"/>
  </p:sldIdLst>
  <p:sldSz cx="12192000" cy="6858000"/>
  <p:notesSz cx="7772400" cy="10058400"/>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theme" Target="theme/theme1.xml"/></Relationships>
</file>

<file path=ppt/charts/_rels/chart3.xml.rels><?xml version="1.0" encoding="UTF-8" standalone="yes"?>
<Relationships xmlns="http://schemas.openxmlformats.org/package/2006/relationships"><Relationship Id="rId1" Type="http://schemas.openxmlformats.org/officeDocument/2006/relationships/package" Target="../embeddings/___________________.____._____Microsoft_Excel.xlsb"/></Relationships>
</file>

<file path=ppt/charts/_rels/chartEx1.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xlsx"/></Relationships>
</file>

<file path=ppt/charts/_rels/chartEx3.xml.rels><?xml version="1.0" encoding="UTF-8" standalone="yes"?>
<Relationships xmlns="http://schemas.openxmlformats.org/package/2006/relationships"><Relationship Id="rId2" Type="http://schemas.microsoft.com/office/2011/relationships/chartColorStyle" Target="colors3.xml"/><Relationship Id="rId1" Type="http://schemas.microsoft.com/office/2011/relationships/chartStyle" Target="style3.xml"/></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l-GR"/>
  <c:roundedCorners val="0"/>
  <c:style val="2"/>
  <c:chart>
    <c:autoTitleDeleted val="1"/>
    <c:plotArea>
      <c:layout>
        <c:manualLayout>
          <c:layoutTarget val="inner"/>
          <c:xMode val="edge"/>
          <c:yMode val="edge"/>
          <c:x val="1.5818194377288101E-2"/>
          <c:y val="2.5421847246891598E-2"/>
          <c:w val="0.96788008565310502"/>
          <c:h val="0.94837921847246898"/>
        </c:manualLayout>
      </c:layout>
      <c:lineChart>
        <c:grouping val="standard"/>
        <c:varyColors val="0"/>
        <c:ser>
          <c:idx val="0"/>
          <c:order val="0"/>
          <c:spPr>
            <a:ln w="19080">
              <a:solidFill>
                <a:srgbClr val="4DACF1"/>
              </a:solidFill>
              <a:round/>
            </a:ln>
          </c:spPr>
          <c:marker>
            <c:symbol val="none"/>
          </c:marker>
          <c:dLbls>
            <c:spPr>
              <a:noFill/>
              <a:ln>
                <a:noFill/>
              </a:ln>
              <a:effectLst/>
            </c:spPr>
            <c:txPr>
              <a:bodyPr wrap="none"/>
              <a:lstStyle/>
              <a:p>
                <a:pPr>
                  <a:defRPr sz="1000" b="0" strike="noStrike" spc="-1">
                    <a:solidFill>
                      <a:srgbClr val="000000"/>
                    </a:solidFill>
                    <a:latin typeface="Arial"/>
                    <a:ea typeface="DejaVu Sans"/>
                  </a:defRPr>
                </a:pPr>
                <a:endParaRPr lang="el-GR"/>
              </a:p>
            </c:txPr>
            <c:dLblPos val="r"/>
            <c:showLegendKey val="0"/>
            <c:showVal val="0"/>
            <c:showCatName val="0"/>
            <c:showSerName val="0"/>
            <c:showPercent val="0"/>
            <c:showBubbleSize val="1"/>
            <c:separator>; </c:separator>
            <c:showLeaderLines val="0"/>
            <c:extLst>
              <c:ext xmlns:c15="http://schemas.microsoft.com/office/drawing/2012/chart" uri="{CE6537A1-D6FC-4f65-9D91-7224C49458BB}">
                <c15:showLeaderLines val="1"/>
              </c:ext>
            </c:extLst>
          </c:dLbls>
          <c:cat>
            <c:strRef>
              <c:f>categories</c:f>
              <c:strCache>
                <c:ptCount val="1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strCache>
            </c:strRef>
          </c:cat>
          <c:val>
            <c:numRef>
              <c:f>0</c:f>
              <c:numCache>
                <c:formatCode>General</c:formatCode>
                <c:ptCount val="15"/>
                <c:pt idx="0">
                  <c:v>2040231</c:v>
                </c:pt>
                <c:pt idx="1">
                  <c:v>4281085</c:v>
                </c:pt>
                <c:pt idx="2">
                  <c:v>4514607</c:v>
                </c:pt>
                <c:pt idx="3">
                  <c:v>4659422</c:v>
                </c:pt>
                <c:pt idx="4">
                  <c:v>4723941</c:v>
                </c:pt>
                <c:pt idx="5">
                  <c:v>4771872</c:v>
                </c:pt>
                <c:pt idx="6">
                  <c:v>4806448</c:v>
                </c:pt>
                <c:pt idx="7">
                  <c:v>4836968</c:v>
                </c:pt>
                <c:pt idx="8">
                  <c:v>4848791</c:v>
                </c:pt>
                <c:pt idx="9">
                  <c:v>4845846</c:v>
                </c:pt>
                <c:pt idx="10">
                  <c:v>4869518</c:v>
                </c:pt>
                <c:pt idx="11">
                  <c:v>4905912.3333333302</c:v>
                </c:pt>
                <c:pt idx="12">
                  <c:v>4942306.6666666698</c:v>
                </c:pt>
                <c:pt idx="13">
                  <c:v>4960503.8333333302</c:v>
                </c:pt>
                <c:pt idx="14">
                  <c:v>4978701</c:v>
                </c:pt>
              </c:numCache>
            </c:numRef>
          </c:val>
          <c:smooth val="0"/>
          <c:extLst>
            <c:ext xmlns:c16="http://schemas.microsoft.com/office/drawing/2014/chart" uri="{C3380CC4-5D6E-409C-BE32-E72D297353CC}">
              <c16:uniqueId val="{00000000-4E0B-4CD0-9B93-2EADFC3024AF}"/>
            </c:ext>
          </c:extLst>
        </c:ser>
        <c:dLbls>
          <c:showLegendKey val="0"/>
          <c:showVal val="0"/>
          <c:showCatName val="0"/>
          <c:showSerName val="0"/>
          <c:showPercent val="0"/>
          <c:showBubbleSize val="0"/>
        </c:dLbls>
        <c:hiLowLines>
          <c:spPr>
            <a:ln w="0">
              <a:noFill/>
            </a:ln>
          </c:spPr>
        </c:hiLowLines>
        <c:smooth val="0"/>
        <c:axId val="-1390477008"/>
        <c:axId val="-1390478096"/>
      </c:lineChart>
      <c:catAx>
        <c:axId val="-1390477008"/>
        <c:scaling>
          <c:orientation val="minMax"/>
        </c:scaling>
        <c:delete val="0"/>
        <c:axPos val="b"/>
        <c:numFmt formatCode="[$-409]mm/dd/yyyy" sourceLinked="0"/>
        <c:majorTickMark val="out"/>
        <c:minorTickMark val="none"/>
        <c:tickLblPos val="none"/>
        <c:spPr>
          <a:ln w="9360">
            <a:solidFill>
              <a:srgbClr val="000000"/>
            </a:solidFill>
            <a:round/>
          </a:ln>
        </c:spPr>
        <c:txPr>
          <a:bodyPr/>
          <a:lstStyle/>
          <a:p>
            <a:pPr>
              <a:defRPr sz="1200" b="0" strike="noStrike" spc="-1">
                <a:solidFill>
                  <a:srgbClr val="000000"/>
                </a:solidFill>
                <a:latin typeface="Arial"/>
                <a:ea typeface="Arial"/>
              </a:defRPr>
            </a:pPr>
            <a:endParaRPr lang="el-GR"/>
          </a:p>
        </c:txPr>
        <c:crossAx val="-1390478096"/>
        <c:crosses val="autoZero"/>
        <c:auto val="1"/>
        <c:lblAlgn val="ctr"/>
        <c:lblOffset val="100"/>
        <c:noMultiLvlLbl val="0"/>
      </c:catAx>
      <c:valAx>
        <c:axId val="-1390478096"/>
        <c:scaling>
          <c:orientation val="minMax"/>
          <c:max val="6000000"/>
          <c:min val="0"/>
        </c:scaling>
        <c:delete val="0"/>
        <c:axPos val="l"/>
        <c:numFmt formatCode="General" sourceLinked="0"/>
        <c:majorTickMark val="none"/>
        <c:minorTickMark val="none"/>
        <c:tickLblPos val="none"/>
        <c:spPr>
          <a:ln w="9360">
            <a:solidFill>
              <a:srgbClr val="000000"/>
            </a:solidFill>
            <a:round/>
          </a:ln>
        </c:spPr>
        <c:txPr>
          <a:bodyPr/>
          <a:lstStyle/>
          <a:p>
            <a:pPr>
              <a:defRPr sz="1000" b="0" strike="noStrike" spc="-1">
                <a:solidFill>
                  <a:srgbClr val="000000"/>
                </a:solidFill>
                <a:latin typeface="Arial"/>
                <a:ea typeface="DejaVu Sans"/>
              </a:defRPr>
            </a:pPr>
            <a:endParaRPr lang="el-GR"/>
          </a:p>
        </c:txPr>
        <c:crossAx val="-1390477008"/>
        <c:crosses val="min"/>
        <c:crossBetween val="midCat"/>
      </c:valAx>
      <c:spPr>
        <a:solidFill>
          <a:srgbClr val="FFFFFF"/>
        </a:solidFill>
        <a:ln w="0">
          <a:noFill/>
        </a:ln>
      </c:spPr>
    </c:plotArea>
    <c:plotVisOnly val="0"/>
    <c:dispBlanksAs val="gap"/>
    <c:showDLblsOverMax val="1"/>
  </c:chart>
  <c:spPr>
    <a:noFill/>
    <a:ln w="9360">
      <a:solidFill>
        <a:srgbClr val="D9D9D9"/>
      </a:solidFill>
      <a:round/>
    </a:ln>
  </c:spPr>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l-GR"/>
  <c:roundedCorners val="0"/>
  <c:style val="2"/>
  <c:chart>
    <c:autoTitleDeleted val="1"/>
    <c:plotArea>
      <c:layout>
        <c:manualLayout>
          <c:layoutTarget val="inner"/>
          <c:xMode val="edge"/>
          <c:yMode val="edge"/>
          <c:x val="1.5136492828342899E-2"/>
          <c:y val="7.4293162221776607E-2"/>
          <c:w val="0.96926432678960905"/>
          <c:h val="0.85091237216763604"/>
        </c:manualLayout>
      </c:layout>
      <c:barChart>
        <c:barDir val="col"/>
        <c:grouping val="stacked"/>
        <c:varyColors val="0"/>
        <c:ser>
          <c:idx val="0"/>
          <c:order val="0"/>
          <c:spPr>
            <a:noFill/>
            <a:ln w="0">
              <a:noFill/>
            </a:ln>
          </c:spPr>
          <c:invertIfNegative val="0"/>
          <c:dPt>
            <c:idx val="0"/>
            <c:invertIfNegative val="0"/>
            <c:bubble3D val="0"/>
            <c:spPr>
              <a:solidFill>
                <a:srgbClr val="0070C0"/>
              </a:solidFill>
              <a:ln w="9360">
                <a:solidFill>
                  <a:srgbClr val="FFFFFF"/>
                </a:solidFill>
                <a:round/>
              </a:ln>
            </c:spPr>
            <c:extLst>
              <c:ext xmlns:c16="http://schemas.microsoft.com/office/drawing/2014/chart" uri="{C3380CC4-5D6E-409C-BE32-E72D297353CC}">
                <c16:uniqueId val="{00000001-C7AB-4B72-96BC-84E31FA7AAA8}"/>
              </c:ext>
            </c:extLst>
          </c:dPt>
          <c:dPt>
            <c:idx val="4"/>
            <c:invertIfNegative val="0"/>
            <c:bubble3D val="0"/>
            <c:spPr>
              <a:solidFill>
                <a:srgbClr val="0070C0"/>
              </a:solidFill>
              <a:ln w="9360">
                <a:solidFill>
                  <a:srgbClr val="FFFFFF"/>
                </a:solidFill>
                <a:round/>
              </a:ln>
            </c:spPr>
            <c:extLst>
              <c:ext xmlns:c16="http://schemas.microsoft.com/office/drawing/2014/chart" uri="{C3380CC4-5D6E-409C-BE32-E72D297353CC}">
                <c16:uniqueId val="{00000003-C7AB-4B72-96BC-84E31FA7AAA8}"/>
              </c:ext>
            </c:extLst>
          </c:dPt>
          <c:dLbls>
            <c:dLbl>
              <c:idx val="0"/>
              <c:layout>
                <c:manualLayout>
                  <c:x val="0"/>
                  <c:y val="-0.14405656208572701"/>
                </c:manualLayout>
              </c:layout>
              <c:numFmt formatCode="#,##0_);\(#,##0\)" sourceLinked="0"/>
              <c:spPr/>
              <c:txPr>
                <a:bodyPr wrap="none"/>
                <a:lstStyle/>
                <a:p>
                  <a:pPr>
                    <a:defRPr sz="1200" b="1" strike="noStrike" spc="-1">
                      <a:solidFill>
                        <a:srgbClr val="000000"/>
                      </a:solidFill>
                      <a:latin typeface="Arial"/>
                      <a:ea typeface="Arial"/>
                    </a:defRPr>
                  </a:pPr>
                  <a:endParaRPr lang="el-GR"/>
                </a:p>
              </c:txPr>
              <c:dLblPos val="ctr"/>
              <c:showLegendKey val="0"/>
              <c:showVal val="1"/>
              <c:showCatName val="0"/>
              <c:showSerName val="0"/>
              <c:showPercent val="0"/>
              <c:showBubbleSize val="1"/>
              <c:separator>; </c:separator>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7AB-4B72-96BC-84E31FA7AAA8}"/>
                </c:ext>
              </c:extLst>
            </c:dLbl>
            <c:dLbl>
              <c:idx val="4"/>
              <c:spPr/>
              <c:txPr>
                <a:bodyPr wrap="none"/>
                <a:lstStyle/>
                <a:p>
                  <a:pPr>
                    <a:defRPr sz="1000" b="0" strike="noStrike" spc="-1">
                      <a:solidFill>
                        <a:srgbClr val="000000"/>
                      </a:solidFill>
                      <a:latin typeface="Arial"/>
                      <a:ea typeface="DejaVu Sans"/>
                    </a:defRPr>
                  </a:pPr>
                  <a:endParaRPr lang="el-GR"/>
                </a:p>
              </c:txPr>
              <c:dLblPos val="ctr"/>
              <c:showLegendKey val="0"/>
              <c:showVal val="0"/>
              <c:showCatName val="0"/>
              <c:showSerName val="0"/>
              <c:showPercent val="0"/>
              <c:showBubbleSize val="1"/>
              <c:extLst>
                <c:ext xmlns:c15="http://schemas.microsoft.com/office/drawing/2012/chart" uri="{CE6537A1-D6FC-4f65-9D91-7224C49458BB}"/>
                <c:ext xmlns:c16="http://schemas.microsoft.com/office/drawing/2014/chart" uri="{C3380CC4-5D6E-409C-BE32-E72D297353CC}">
                  <c16:uniqueId val="{00000003-C7AB-4B72-96BC-84E31FA7AAA8}"/>
                </c:ext>
              </c:extLst>
            </c:dLbl>
            <c:spPr>
              <a:noFill/>
              <a:ln>
                <a:noFill/>
              </a:ln>
              <a:effectLst/>
            </c:spPr>
            <c:txPr>
              <a:bodyPr wrap="none"/>
              <a:lstStyle/>
              <a:p>
                <a:pPr>
                  <a:defRPr sz="1000" b="0" strike="noStrike" spc="-1">
                    <a:solidFill>
                      <a:srgbClr val="000000"/>
                    </a:solidFill>
                    <a:latin typeface="Arial"/>
                    <a:ea typeface="DejaVu Sans"/>
                  </a:defRPr>
                </a:pPr>
                <a:endParaRPr lang="el-GR"/>
              </a:p>
            </c:txPr>
            <c:dLblPos val="ctr"/>
            <c:showLegendKey val="0"/>
            <c:showVal val="0"/>
            <c:showCatName val="0"/>
            <c:showSerName val="0"/>
            <c:showPercent val="0"/>
            <c:showBubbleSize val="1"/>
            <c:separator>; </c:separator>
            <c:showLeaderLines val="0"/>
            <c:extLst>
              <c:ext xmlns:c15="http://schemas.microsoft.com/office/drawing/2012/chart" uri="{CE6537A1-D6FC-4f65-9D91-7224C49458BB}">
                <c15:showLeaderLines val="1"/>
              </c:ext>
            </c:extLst>
          </c:dLbls>
          <c:cat>
            <c:strRef>
              <c:f>categories</c:f>
              <c:strCache>
                <c:ptCount val="5"/>
                <c:pt idx="0">
                  <c:v>1</c:v>
                </c:pt>
                <c:pt idx="1">
                  <c:v>2</c:v>
                </c:pt>
                <c:pt idx="2">
                  <c:v>3</c:v>
                </c:pt>
                <c:pt idx="3">
                  <c:v>4</c:v>
                </c:pt>
                <c:pt idx="4">
                  <c:v>5</c:v>
                </c:pt>
              </c:strCache>
            </c:strRef>
          </c:cat>
          <c:val>
            <c:numRef>
              <c:f>0</c:f>
              <c:numCache>
                <c:formatCode>General</c:formatCode>
                <c:ptCount val="5"/>
                <c:pt idx="0">
                  <c:v>360</c:v>
                </c:pt>
                <c:pt idx="1">
                  <c:v>360</c:v>
                </c:pt>
                <c:pt idx="2">
                  <c:v>960</c:v>
                </c:pt>
                <c:pt idx="3">
                  <c:v>1345</c:v>
                </c:pt>
                <c:pt idx="4">
                  <c:v>1376</c:v>
                </c:pt>
              </c:numCache>
            </c:numRef>
          </c:val>
          <c:extLst>
            <c:ext xmlns:c16="http://schemas.microsoft.com/office/drawing/2014/chart" uri="{C3380CC4-5D6E-409C-BE32-E72D297353CC}">
              <c16:uniqueId val="{00000004-C7AB-4B72-96BC-84E31FA7AAA8}"/>
            </c:ext>
          </c:extLst>
        </c:ser>
        <c:ser>
          <c:idx val="1"/>
          <c:order val="1"/>
          <c:spPr>
            <a:solidFill>
              <a:srgbClr val="0070C0"/>
            </a:solidFill>
            <a:ln w="9360">
              <a:solidFill>
                <a:srgbClr val="FFFFFF"/>
              </a:solidFill>
              <a:round/>
            </a:ln>
          </c:spPr>
          <c:invertIfNegative val="0"/>
          <c:dPt>
            <c:idx val="1"/>
            <c:invertIfNegative val="0"/>
            <c:bubble3D val="0"/>
            <c:extLst>
              <c:ext xmlns:c16="http://schemas.microsoft.com/office/drawing/2014/chart" uri="{C3380CC4-5D6E-409C-BE32-E72D297353CC}">
                <c16:uniqueId val="{00000006-C7AB-4B72-96BC-84E31FA7AAA8}"/>
              </c:ext>
            </c:extLst>
          </c:dPt>
          <c:dPt>
            <c:idx val="2"/>
            <c:invertIfNegative val="0"/>
            <c:bubble3D val="0"/>
            <c:extLst>
              <c:ext xmlns:c16="http://schemas.microsoft.com/office/drawing/2014/chart" uri="{C3380CC4-5D6E-409C-BE32-E72D297353CC}">
                <c16:uniqueId val="{00000008-C7AB-4B72-96BC-84E31FA7AAA8}"/>
              </c:ext>
            </c:extLst>
          </c:dPt>
          <c:dLbls>
            <c:dLbl>
              <c:idx val="1"/>
              <c:layout>
                <c:manualLayout>
                  <c:x val="0"/>
                  <c:y val="0"/>
                </c:manualLayout>
              </c:layout>
              <c:numFmt formatCode="#,##0;#,##0" sourceLinked="0"/>
              <c:spPr/>
              <c:txPr>
                <a:bodyPr wrap="none"/>
                <a:lstStyle/>
                <a:p>
                  <a:pPr>
                    <a:defRPr sz="1200" b="0" strike="noStrike" spc="-1">
                      <a:solidFill>
                        <a:srgbClr val="FFFFFF"/>
                      </a:solidFill>
                      <a:latin typeface="Arial"/>
                      <a:ea typeface="Arial"/>
                    </a:defRPr>
                  </a:pPr>
                  <a:endParaRPr lang="el-GR"/>
                </a:p>
              </c:txPr>
              <c:dLblPos val="ctr"/>
              <c:showLegendKey val="0"/>
              <c:showVal val="1"/>
              <c:showCatName val="0"/>
              <c:showSerName val="0"/>
              <c:showPercent val="0"/>
              <c:showBubbleSize val="1"/>
              <c:separator>; </c:separator>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7AB-4B72-96BC-84E31FA7AAA8}"/>
                </c:ext>
              </c:extLst>
            </c:dLbl>
            <c:dLbl>
              <c:idx val="2"/>
              <c:layout>
                <c:manualLayout>
                  <c:x val="0"/>
                  <c:y val="0"/>
                </c:manualLayout>
              </c:layout>
              <c:numFmt formatCode="#,##0;#,##0" sourceLinked="0"/>
              <c:spPr/>
              <c:txPr>
                <a:bodyPr wrap="none"/>
                <a:lstStyle/>
                <a:p>
                  <a:pPr>
                    <a:defRPr sz="1200" b="0" strike="noStrike" spc="-1">
                      <a:solidFill>
                        <a:srgbClr val="FFFFFF"/>
                      </a:solidFill>
                      <a:latin typeface="Arial"/>
                      <a:ea typeface="Arial"/>
                    </a:defRPr>
                  </a:pPr>
                  <a:endParaRPr lang="el-GR"/>
                </a:p>
              </c:txPr>
              <c:dLblPos val="ctr"/>
              <c:showLegendKey val="0"/>
              <c:showVal val="1"/>
              <c:showCatName val="0"/>
              <c:showSerName val="0"/>
              <c:showPercent val="0"/>
              <c:showBubbleSize val="1"/>
              <c:separator>; </c:separator>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7AB-4B72-96BC-84E31FA7AAA8}"/>
                </c:ext>
              </c:extLst>
            </c:dLbl>
            <c:spPr>
              <a:noFill/>
              <a:ln>
                <a:noFill/>
              </a:ln>
              <a:effectLst/>
            </c:spPr>
            <c:txPr>
              <a:bodyPr wrap="none"/>
              <a:lstStyle/>
              <a:p>
                <a:pPr>
                  <a:defRPr sz="1000" b="0" strike="noStrike" spc="-1">
                    <a:solidFill>
                      <a:srgbClr val="000000"/>
                    </a:solidFill>
                    <a:latin typeface="Arial"/>
                    <a:ea typeface="DejaVu Sans"/>
                  </a:defRPr>
                </a:pPr>
                <a:endParaRPr lang="el-GR"/>
              </a:p>
            </c:txPr>
            <c:dLblPos val="ctr"/>
            <c:showLegendKey val="0"/>
            <c:showVal val="0"/>
            <c:showCatName val="0"/>
            <c:showSerName val="0"/>
            <c:showPercent val="0"/>
            <c:showBubbleSize val="1"/>
            <c:separator>; </c:separator>
            <c:showLeaderLines val="0"/>
            <c:extLst>
              <c:ext xmlns:c15="http://schemas.microsoft.com/office/drawing/2012/chart" uri="{CE6537A1-D6FC-4f65-9D91-7224C49458BB}">
                <c15:showLeaderLines val="1"/>
              </c:ext>
            </c:extLst>
          </c:dLbls>
          <c:cat>
            <c:strRef>
              <c:f>categories</c:f>
              <c:strCache>
                <c:ptCount val="5"/>
                <c:pt idx="0">
                  <c:v>1</c:v>
                </c:pt>
                <c:pt idx="1">
                  <c:v>2</c:v>
                </c:pt>
                <c:pt idx="2">
                  <c:v>3</c:v>
                </c:pt>
                <c:pt idx="3">
                  <c:v>4</c:v>
                </c:pt>
                <c:pt idx="4">
                  <c:v>5</c:v>
                </c:pt>
              </c:strCache>
            </c:strRef>
          </c:cat>
          <c:val>
            <c:numRef>
              <c:f>1</c:f>
              <c:numCache>
                <c:formatCode>General</c:formatCode>
                <c:ptCount val="5"/>
                <c:pt idx="1">
                  <c:v>600</c:v>
                </c:pt>
                <c:pt idx="2">
                  <c:v>385</c:v>
                </c:pt>
                <c:pt idx="3">
                  <c:v>31</c:v>
                </c:pt>
              </c:numCache>
            </c:numRef>
          </c:val>
          <c:extLst>
            <c:ext xmlns:c16="http://schemas.microsoft.com/office/drawing/2014/chart" uri="{C3380CC4-5D6E-409C-BE32-E72D297353CC}">
              <c16:uniqueId val="{00000009-C7AB-4B72-96BC-84E31FA7AAA8}"/>
            </c:ext>
          </c:extLst>
        </c:ser>
        <c:dLbls>
          <c:showLegendKey val="0"/>
          <c:showVal val="0"/>
          <c:showCatName val="0"/>
          <c:showSerName val="0"/>
          <c:showPercent val="0"/>
          <c:showBubbleSize val="0"/>
        </c:dLbls>
        <c:gapWidth val="80"/>
        <c:overlap val="100"/>
        <c:axId val="-1390486800"/>
        <c:axId val="-1390490064"/>
      </c:barChart>
      <c:catAx>
        <c:axId val="-1390486800"/>
        <c:scaling>
          <c:orientation val="minMax"/>
        </c:scaling>
        <c:delete val="0"/>
        <c:axPos val="b"/>
        <c:numFmt formatCode="[$-409]mm/dd/yyyy" sourceLinked="0"/>
        <c:majorTickMark val="out"/>
        <c:minorTickMark val="none"/>
        <c:tickLblPos val="none"/>
        <c:spPr>
          <a:ln w="9360">
            <a:solidFill>
              <a:srgbClr val="000000"/>
            </a:solidFill>
            <a:round/>
          </a:ln>
        </c:spPr>
        <c:txPr>
          <a:bodyPr/>
          <a:lstStyle/>
          <a:p>
            <a:pPr>
              <a:defRPr sz="1200" b="0" strike="noStrike" spc="-1">
                <a:solidFill>
                  <a:srgbClr val="000000"/>
                </a:solidFill>
                <a:latin typeface="Arial"/>
                <a:ea typeface="Arial"/>
              </a:defRPr>
            </a:pPr>
            <a:endParaRPr lang="el-GR"/>
          </a:p>
        </c:txPr>
        <c:crossAx val="-1390490064"/>
        <c:crosses val="autoZero"/>
        <c:auto val="1"/>
        <c:lblAlgn val="ctr"/>
        <c:lblOffset val="100"/>
        <c:noMultiLvlLbl val="0"/>
      </c:catAx>
      <c:valAx>
        <c:axId val="-1390490064"/>
        <c:scaling>
          <c:orientation val="minMax"/>
          <c:max val="1376"/>
          <c:min val="0"/>
        </c:scaling>
        <c:delete val="1"/>
        <c:axPos val="l"/>
        <c:numFmt formatCode="General" sourceLinked="1"/>
        <c:majorTickMark val="out"/>
        <c:minorTickMark val="none"/>
        <c:tickLblPos val="nextTo"/>
        <c:crossAx val="-1390486800"/>
        <c:crosses val="autoZero"/>
        <c:crossBetween val="between"/>
      </c:valAx>
      <c:spPr>
        <a:solidFill>
          <a:srgbClr val="FFFFFF"/>
        </a:solidFill>
        <a:ln w="0">
          <a:noFill/>
        </a:ln>
      </c:spPr>
    </c:plotArea>
    <c:plotVisOnly val="0"/>
    <c:dispBlanksAs val="gap"/>
    <c:showDLblsOverMax val="1"/>
  </c:chart>
  <c:spPr>
    <a:noFill/>
    <a:ln w="9360">
      <a:solidFill>
        <a:srgbClr val="D9D9D9"/>
      </a:solidFill>
      <a:round/>
    </a:ln>
  </c:spPr>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17759639741064E-3"/>
          <c:y val="6.6479400749063666E-2"/>
          <c:w val="0.98536448072051785"/>
          <c:h val="0.86704119850187267"/>
        </c:manualLayout>
      </c:layout>
      <c:barChart>
        <c:barDir val="col"/>
        <c:grouping val="stacked"/>
        <c:varyColors val="0"/>
        <c:ser>
          <c:idx val="0"/>
          <c:order val="0"/>
          <c:spPr>
            <a:solidFill>
              <a:schemeClr val="accent4"/>
            </a:solidFill>
            <a:ln w="9525" cmpd="sng" algn="ctr">
              <a:solidFill>
                <a:srgbClr val="FFFFFF"/>
              </a:solidFill>
              <a:prstDash val="solid"/>
            </a:ln>
          </c:spPr>
          <c:invertIfNegative val="0"/>
          <c:dPt>
            <c:idx val="2"/>
            <c:invertIfNegative val="0"/>
            <c:bubble3D val="0"/>
            <c:spPr>
              <a:solidFill>
                <a:schemeClr val="accent5"/>
              </a:solidFill>
              <a:ln w="9525" cmpd="sng" algn="ctr">
                <a:solidFill>
                  <a:srgbClr val="FFFFFF"/>
                </a:solidFill>
                <a:prstDash val="solid"/>
              </a:ln>
            </c:spPr>
            <c:extLst>
              <c:ext xmlns:c16="http://schemas.microsoft.com/office/drawing/2014/chart" uri="{C3380CC4-5D6E-409C-BE32-E72D297353CC}">
                <c16:uniqueId val="{00000000-15C9-4A7C-9609-521C55C331A8}"/>
              </c:ext>
            </c:extLst>
          </c:dPt>
          <c:dPt>
            <c:idx val="6"/>
            <c:invertIfNegative val="0"/>
            <c:bubble3D val="0"/>
            <c:spPr>
              <a:solidFill>
                <a:schemeClr val="accent5"/>
              </a:solidFill>
              <a:ln w="9525" cmpd="sng" algn="ctr">
                <a:solidFill>
                  <a:srgbClr val="FFFFFF"/>
                </a:solidFill>
                <a:prstDash val="solid"/>
              </a:ln>
            </c:spPr>
            <c:extLst>
              <c:ext xmlns:c16="http://schemas.microsoft.com/office/drawing/2014/chart" uri="{C3380CC4-5D6E-409C-BE32-E72D297353CC}">
                <c16:uniqueId val="{00000001-15C9-4A7C-9609-521C55C331A8}"/>
              </c:ext>
            </c:extLst>
          </c:dPt>
          <c:dPt>
            <c:idx val="7"/>
            <c:invertIfNegative val="0"/>
            <c:bubble3D val="0"/>
            <c:spPr>
              <a:solidFill>
                <a:schemeClr val="accent5"/>
              </a:solidFill>
              <a:ln w="9525" cmpd="sng" algn="ctr">
                <a:solidFill>
                  <a:srgbClr val="FFFFFF"/>
                </a:solidFill>
                <a:prstDash val="solid"/>
              </a:ln>
            </c:spPr>
            <c:extLst>
              <c:ext xmlns:c16="http://schemas.microsoft.com/office/drawing/2014/chart" uri="{C3380CC4-5D6E-409C-BE32-E72D297353CC}">
                <c16:uniqueId val="{00000002-15C9-4A7C-9609-521C55C331A8}"/>
              </c:ext>
            </c:extLst>
          </c:dPt>
          <c:dPt>
            <c:idx val="9"/>
            <c:invertIfNegative val="0"/>
            <c:bubble3D val="0"/>
            <c:spPr>
              <a:solidFill>
                <a:srgbClr val="EA9696"/>
              </a:solidFill>
              <a:ln w="9525" cmpd="sng" algn="ctr">
                <a:solidFill>
                  <a:srgbClr val="FFFFFF"/>
                </a:solidFill>
                <a:prstDash val="solid"/>
              </a:ln>
            </c:spPr>
            <c:extLst>
              <c:ext xmlns:c16="http://schemas.microsoft.com/office/drawing/2014/chart" uri="{C3380CC4-5D6E-409C-BE32-E72D297353CC}">
                <c16:uniqueId val="{00000003-15C9-4A7C-9609-521C55C331A8}"/>
              </c:ext>
            </c:extLst>
          </c:dPt>
          <c:dLbls>
            <c:dLbl>
              <c:idx val="2"/>
              <c:layout>
                <c:manualLayout>
                  <c:x val="0"/>
                  <c:y val="-4.6816479400749064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5C9-4A7C-9609-521C55C331A8}"/>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5C9-4A7C-9609-521C55C331A8}"/>
                </c:ext>
              </c:extLst>
            </c:dLbl>
            <c:dLbl>
              <c:idx val="4"/>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5C9-4A7C-9609-521C55C331A8}"/>
                </c:ext>
              </c:extLst>
            </c:dLbl>
            <c:dLbl>
              <c:idx val="5"/>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5C9-4A7C-9609-521C55C331A8}"/>
                </c:ext>
              </c:extLst>
            </c:dLbl>
            <c:dLbl>
              <c:idx val="6"/>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5C9-4A7C-9609-521C55C331A8}"/>
                </c:ext>
              </c:extLst>
            </c:dLbl>
            <c:dLbl>
              <c:idx val="7"/>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5C9-4A7C-9609-521C55C331A8}"/>
                </c:ext>
              </c:extLst>
            </c:dLbl>
            <c:dLbl>
              <c:idx val="9"/>
              <c:layout>
                <c:manualLayout>
                  <c:x val="0"/>
                  <c:y val="0"/>
                </c:manualLayout>
              </c:layout>
              <c:numFmt formatCode="#,##0&quot;%&quot;;&quot;-&quot;#,##0&quot;%&quot;" sourceLinked="0"/>
              <c:spPr>
                <a:noFill/>
                <a:ln>
                  <a:noFill/>
                </a:ln>
              </c:spPr>
              <c:txPr>
                <a:bodyPr wrap="none"/>
                <a:lstStyle/>
                <a:p>
                  <a:pPr>
                    <a:defRPr sz="1000" kern="1200">
                      <a:solidFill>
                        <a:srgbClr val="000000"/>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5C9-4A7C-9609-521C55C331A8}"/>
                </c:ext>
              </c:extLst>
            </c:dLbl>
            <c:dLbl>
              <c:idx val="1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5C9-4A7C-9609-521C55C331A8}"/>
                </c:ext>
              </c:extLst>
            </c:dLbl>
            <c:dLbl>
              <c:idx val="13"/>
              <c:layout>
                <c:manualLayout>
                  <c:x val="0"/>
                  <c:y val="-4.6816479400749064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5C9-4A7C-9609-521C55C331A8}"/>
                </c:ext>
              </c:extLst>
            </c:dLbl>
            <c:dLbl>
              <c:idx val="14"/>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5C9-4A7C-9609-521C55C331A8}"/>
                </c:ext>
              </c:extLst>
            </c:dLbl>
            <c:dLbl>
              <c:idx val="16"/>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5C9-4A7C-9609-521C55C331A8}"/>
                </c:ext>
              </c:extLst>
            </c:dLbl>
            <c:dLbl>
              <c:idx val="18"/>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5C9-4A7C-9609-521C55C331A8}"/>
                </c:ext>
              </c:extLst>
            </c:dLbl>
            <c:dLbl>
              <c:idx val="19"/>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5C9-4A7C-9609-521C55C331A8}"/>
                </c:ext>
              </c:extLst>
            </c:dLbl>
            <c:dLbl>
              <c:idx val="2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5C9-4A7C-9609-521C55C331A8}"/>
                </c:ext>
              </c:extLst>
            </c:dLbl>
            <c:dLbl>
              <c:idx val="2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5C9-4A7C-9609-521C55C331A8}"/>
                </c:ext>
              </c:extLst>
            </c:dLbl>
            <c:dLbl>
              <c:idx val="23"/>
              <c:layout>
                <c:manualLayout>
                  <c:x val="0"/>
                  <c:y val="-4.6816479400749064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5C9-4A7C-9609-521C55C331A8}"/>
                </c:ext>
              </c:extLst>
            </c:dLbl>
            <c:dLbl>
              <c:idx val="24"/>
              <c:layout>
                <c:manualLayout>
                  <c:x val="0"/>
                  <c:y val="-4.6816479400749064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5C9-4A7C-9609-521C55C331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3</c:v>
                </c:pt>
                <c:pt idx="1">
                  <c:v>1</c:v>
                </c:pt>
                <c:pt idx="2">
                  <c:v>70</c:v>
                </c:pt>
                <c:pt idx="3">
                  <c:v>17</c:v>
                </c:pt>
                <c:pt idx="4">
                  <c:v>28.999999999999996</c:v>
                </c:pt>
                <c:pt idx="5">
                  <c:v>23</c:v>
                </c:pt>
                <c:pt idx="6">
                  <c:v>78</c:v>
                </c:pt>
                <c:pt idx="7">
                  <c:v>78</c:v>
                </c:pt>
                <c:pt idx="8">
                  <c:v>3</c:v>
                </c:pt>
                <c:pt idx="9">
                  <c:v>11</c:v>
                </c:pt>
                <c:pt idx="10">
                  <c:v>2</c:v>
                </c:pt>
                <c:pt idx="11">
                  <c:v>4</c:v>
                </c:pt>
                <c:pt idx="12">
                  <c:v>26</c:v>
                </c:pt>
                <c:pt idx="13">
                  <c:v>37</c:v>
                </c:pt>
                <c:pt idx="14">
                  <c:v>5</c:v>
                </c:pt>
                <c:pt idx="15">
                  <c:v>4</c:v>
                </c:pt>
                <c:pt idx="16">
                  <c:v>6</c:v>
                </c:pt>
                <c:pt idx="17">
                  <c:v>3</c:v>
                </c:pt>
                <c:pt idx="18">
                  <c:v>7.0000000000000009</c:v>
                </c:pt>
                <c:pt idx="19">
                  <c:v>34</c:v>
                </c:pt>
                <c:pt idx="20">
                  <c:v>31</c:v>
                </c:pt>
                <c:pt idx="21">
                  <c:v>1</c:v>
                </c:pt>
                <c:pt idx="22">
                  <c:v>9</c:v>
                </c:pt>
                <c:pt idx="23">
                  <c:v>8</c:v>
                </c:pt>
                <c:pt idx="24">
                  <c:v>13</c:v>
                </c:pt>
              </c:numCache>
            </c:numRef>
          </c:val>
          <c:extLst>
            <c:ext xmlns:c16="http://schemas.microsoft.com/office/drawing/2014/chart" uri="{C3380CC4-5D6E-409C-BE32-E72D297353CC}">
              <c16:uniqueId val="{00000011-15C9-4A7C-9609-521C55C331A8}"/>
            </c:ext>
          </c:extLst>
        </c:ser>
        <c:ser>
          <c:idx val="1"/>
          <c:order val="1"/>
          <c:spPr>
            <a:solidFill>
              <a:schemeClr val="accent5"/>
            </a:solidFill>
            <a:ln w="9525" cmpd="sng" algn="ctr">
              <a:solidFill>
                <a:srgbClr val="FFFFFF"/>
              </a:solidFill>
              <a:prstDash val="solid"/>
            </a:ln>
          </c:spPr>
          <c:invertIfNegative val="0"/>
          <c:dPt>
            <c:idx val="2"/>
            <c:invertIfNegative val="0"/>
            <c:bubble3D val="0"/>
            <c:spPr>
              <a:solidFill>
                <a:srgbClr val="175C2C"/>
              </a:solidFill>
              <a:ln w="9525" cmpd="sng" algn="ctr">
                <a:solidFill>
                  <a:srgbClr val="FFFFFF"/>
                </a:solidFill>
                <a:prstDash val="solid"/>
              </a:ln>
            </c:spPr>
            <c:extLst>
              <c:ext xmlns:c16="http://schemas.microsoft.com/office/drawing/2014/chart" uri="{C3380CC4-5D6E-409C-BE32-E72D297353CC}">
                <c16:uniqueId val="{00000012-15C9-4A7C-9609-521C55C331A8}"/>
              </c:ext>
            </c:extLst>
          </c:dPt>
          <c:dPt>
            <c:idx val="6"/>
            <c:invertIfNegative val="0"/>
            <c:bubble3D val="0"/>
            <c:spPr>
              <a:solidFill>
                <a:srgbClr val="175C2C"/>
              </a:solidFill>
              <a:ln w="9525" cmpd="sng" algn="ctr">
                <a:solidFill>
                  <a:srgbClr val="FFFFFF"/>
                </a:solidFill>
                <a:prstDash val="solid"/>
              </a:ln>
            </c:spPr>
            <c:extLst>
              <c:ext xmlns:c16="http://schemas.microsoft.com/office/drawing/2014/chart" uri="{C3380CC4-5D6E-409C-BE32-E72D297353CC}">
                <c16:uniqueId val="{00000013-15C9-4A7C-9609-521C55C331A8}"/>
              </c:ext>
            </c:extLst>
          </c:dPt>
          <c:dPt>
            <c:idx val="7"/>
            <c:invertIfNegative val="0"/>
            <c:bubble3D val="0"/>
            <c:spPr>
              <a:solidFill>
                <a:srgbClr val="175C2C"/>
              </a:solidFill>
              <a:ln w="9525" cmpd="sng" algn="ctr">
                <a:solidFill>
                  <a:srgbClr val="FFFFFF"/>
                </a:solidFill>
                <a:prstDash val="solid"/>
              </a:ln>
            </c:spPr>
            <c:extLst>
              <c:ext xmlns:c16="http://schemas.microsoft.com/office/drawing/2014/chart" uri="{C3380CC4-5D6E-409C-BE32-E72D297353CC}">
                <c16:uniqueId val="{00000014-15C9-4A7C-9609-521C55C331A8}"/>
              </c:ext>
            </c:extLst>
          </c:dPt>
          <c:dPt>
            <c:idx val="9"/>
            <c:invertIfNegative val="0"/>
            <c:bubble3D val="0"/>
            <c:spPr>
              <a:solidFill>
                <a:srgbClr val="F1BAC3"/>
              </a:solidFill>
              <a:ln w="9525" cmpd="sng" algn="ctr">
                <a:solidFill>
                  <a:srgbClr val="FFFFFF"/>
                </a:solidFill>
                <a:prstDash val="solid"/>
              </a:ln>
            </c:spPr>
            <c:extLst>
              <c:ext xmlns:c16="http://schemas.microsoft.com/office/drawing/2014/chart" uri="{C3380CC4-5D6E-409C-BE32-E72D297353CC}">
                <c16:uniqueId val="{00000015-15C9-4A7C-9609-521C55C331A8}"/>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5C9-4A7C-9609-521C55C331A8}"/>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5C9-4A7C-9609-521C55C331A8}"/>
                </c:ext>
              </c:extLst>
            </c:dLbl>
            <c:dLbl>
              <c:idx val="2"/>
              <c:layout>
                <c:manualLayout>
                  <c:x val="0"/>
                  <c:y val="-4.6816479400749064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5C9-4A7C-9609-521C55C331A8}"/>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5C9-4A7C-9609-521C55C331A8}"/>
                </c:ext>
              </c:extLst>
            </c:dLbl>
            <c:dLbl>
              <c:idx val="4"/>
              <c:layout>
                <c:manualLayout>
                  <c:x val="0"/>
                  <c:y val="-4.6816479400749064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5C9-4A7C-9609-521C55C331A8}"/>
                </c:ext>
              </c:extLst>
            </c:dLbl>
            <c:dLbl>
              <c:idx val="5"/>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5C9-4A7C-9609-521C55C331A8}"/>
                </c:ext>
              </c:extLst>
            </c:dLbl>
            <c:dLbl>
              <c:idx val="6"/>
              <c:layout>
                <c:manualLayout>
                  <c:x val="0"/>
                  <c:y val="-4.6816479400749064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5C9-4A7C-9609-521C55C331A8}"/>
                </c:ext>
              </c:extLst>
            </c:dLbl>
            <c:dLbl>
              <c:idx val="7"/>
              <c:layout>
                <c:manualLayout>
                  <c:x val="0"/>
                  <c:y val="-4.6816479400749064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5C9-4A7C-9609-521C55C331A8}"/>
                </c:ext>
              </c:extLst>
            </c:dLbl>
            <c:dLbl>
              <c:idx val="8"/>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5C9-4A7C-9609-521C55C331A8}"/>
                </c:ext>
              </c:extLst>
            </c:dLbl>
            <c:dLbl>
              <c:idx val="9"/>
              <c:layout>
                <c:manualLayout>
                  <c:x val="0"/>
                  <c:y val="0"/>
                </c:manualLayout>
              </c:layout>
              <c:numFmt formatCode="#,##0&quot;%&quot;;&quot;-&quot;#,##0&quot;%&quot;" sourceLinked="0"/>
              <c:spPr>
                <a:noFill/>
                <a:ln>
                  <a:noFill/>
                </a:ln>
              </c:spPr>
              <c:txPr>
                <a:bodyPr wrap="none"/>
                <a:lstStyle/>
                <a:p>
                  <a:pPr>
                    <a:defRPr sz="1000" kern="1200">
                      <a:solidFill>
                        <a:srgbClr val="000000"/>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5C9-4A7C-9609-521C55C331A8}"/>
                </c:ext>
              </c:extLst>
            </c:dLbl>
            <c:dLbl>
              <c:idx val="10"/>
              <c:layout>
                <c:manualLayout>
                  <c:x val="0"/>
                  <c:y val="-4.6816479400749064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5C9-4A7C-9609-521C55C331A8}"/>
                </c:ext>
              </c:extLst>
            </c:dLbl>
            <c:dLbl>
              <c:idx val="1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5C9-4A7C-9609-521C55C331A8}"/>
                </c:ext>
              </c:extLst>
            </c:dLbl>
            <c:dLbl>
              <c:idx val="1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15C9-4A7C-9609-521C55C331A8}"/>
                </c:ext>
              </c:extLst>
            </c:dLbl>
            <c:dLbl>
              <c:idx val="13"/>
              <c:layout>
                <c:manualLayout>
                  <c:x val="0"/>
                  <c:y val="-4.6816479400749064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15C9-4A7C-9609-521C55C331A8}"/>
                </c:ext>
              </c:extLst>
            </c:dLbl>
            <c:dLbl>
              <c:idx val="14"/>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15C9-4A7C-9609-521C55C331A8}"/>
                </c:ext>
              </c:extLst>
            </c:dLbl>
            <c:dLbl>
              <c:idx val="15"/>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15C9-4A7C-9609-521C55C331A8}"/>
                </c:ext>
              </c:extLst>
            </c:dLbl>
            <c:dLbl>
              <c:idx val="16"/>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15C9-4A7C-9609-521C55C331A8}"/>
                </c:ext>
              </c:extLst>
            </c:dLbl>
            <c:dLbl>
              <c:idx val="17"/>
              <c:layout>
                <c:manualLayout>
                  <c:x val="0"/>
                  <c:y val="-4.6816479400749064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15C9-4A7C-9609-521C55C331A8}"/>
                </c:ext>
              </c:extLst>
            </c:dLbl>
            <c:dLbl>
              <c:idx val="18"/>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15C9-4A7C-9609-521C55C331A8}"/>
                </c:ext>
              </c:extLst>
            </c:dLbl>
            <c:dLbl>
              <c:idx val="19"/>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15C9-4A7C-9609-521C55C331A8}"/>
                </c:ext>
              </c:extLst>
            </c:dLbl>
            <c:dLbl>
              <c:idx val="2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15C9-4A7C-9609-521C55C331A8}"/>
                </c:ext>
              </c:extLst>
            </c:dLbl>
            <c:dLbl>
              <c:idx val="2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15C9-4A7C-9609-521C55C331A8}"/>
                </c:ext>
              </c:extLst>
            </c:dLbl>
            <c:dLbl>
              <c:idx val="2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15C9-4A7C-9609-521C55C331A8}"/>
                </c:ext>
              </c:extLst>
            </c:dLbl>
            <c:dLbl>
              <c:idx val="2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15C9-4A7C-9609-521C55C331A8}"/>
                </c:ext>
              </c:extLst>
            </c:dLbl>
            <c:dLbl>
              <c:idx val="24"/>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15C9-4A7C-9609-521C55C331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48</c:v>
                </c:pt>
                <c:pt idx="1">
                  <c:v>62</c:v>
                </c:pt>
                <c:pt idx="2">
                  <c:v>30.000000000000004</c:v>
                </c:pt>
                <c:pt idx="3">
                  <c:v>56.000000000000007</c:v>
                </c:pt>
                <c:pt idx="4">
                  <c:v>46</c:v>
                </c:pt>
                <c:pt idx="5">
                  <c:v>54</c:v>
                </c:pt>
                <c:pt idx="6">
                  <c:v>21.999999999999996</c:v>
                </c:pt>
                <c:pt idx="7">
                  <c:v>21.999999999999996</c:v>
                </c:pt>
                <c:pt idx="8">
                  <c:v>77</c:v>
                </c:pt>
                <c:pt idx="9">
                  <c:v>69</c:v>
                </c:pt>
                <c:pt idx="10">
                  <c:v>78</c:v>
                </c:pt>
                <c:pt idx="11">
                  <c:v>76</c:v>
                </c:pt>
                <c:pt idx="12">
                  <c:v>55.000000000000007</c:v>
                </c:pt>
                <c:pt idx="13">
                  <c:v>44.000000000000007</c:v>
                </c:pt>
                <c:pt idx="14">
                  <c:v>76</c:v>
                </c:pt>
                <c:pt idx="15">
                  <c:v>79</c:v>
                </c:pt>
                <c:pt idx="16">
                  <c:v>78</c:v>
                </c:pt>
                <c:pt idx="17">
                  <c:v>81</c:v>
                </c:pt>
                <c:pt idx="18">
                  <c:v>77</c:v>
                </c:pt>
                <c:pt idx="19">
                  <c:v>52</c:v>
                </c:pt>
                <c:pt idx="20">
                  <c:v>55.000000000000007</c:v>
                </c:pt>
                <c:pt idx="21">
                  <c:v>86</c:v>
                </c:pt>
                <c:pt idx="22">
                  <c:v>79</c:v>
                </c:pt>
                <c:pt idx="23">
                  <c:v>82</c:v>
                </c:pt>
                <c:pt idx="24">
                  <c:v>82</c:v>
                </c:pt>
              </c:numCache>
            </c:numRef>
          </c:val>
          <c:extLst>
            <c:ext xmlns:c16="http://schemas.microsoft.com/office/drawing/2014/chart" uri="{C3380CC4-5D6E-409C-BE32-E72D297353CC}">
              <c16:uniqueId val="{0000002B-15C9-4A7C-9609-521C55C331A8}"/>
            </c:ext>
          </c:extLst>
        </c:ser>
        <c:ser>
          <c:idx val="2"/>
          <c:order val="2"/>
          <c:spPr>
            <a:solidFill>
              <a:srgbClr val="175C2C"/>
            </a:solidFill>
            <a:ln w="9525" cmpd="sng" algn="ctr">
              <a:solidFill>
                <a:srgbClr val="FFFFFF"/>
              </a:solidFill>
              <a:prstDash val="solid"/>
            </a:ln>
          </c:spPr>
          <c:invertIfNegative val="0"/>
          <c:dPt>
            <c:idx val="9"/>
            <c:invertIfNegative val="0"/>
            <c:bubble3D val="0"/>
            <c:spPr>
              <a:solidFill>
                <a:srgbClr val="DB536A"/>
              </a:solidFill>
              <a:ln w="9525" cmpd="sng" algn="ctr">
                <a:solidFill>
                  <a:srgbClr val="FFFFFF"/>
                </a:solidFill>
                <a:prstDash val="solid"/>
              </a:ln>
            </c:spPr>
            <c:extLst>
              <c:ext xmlns:c16="http://schemas.microsoft.com/office/drawing/2014/chart" uri="{C3380CC4-5D6E-409C-BE32-E72D297353CC}">
                <c16:uniqueId val="{0000002C-15C9-4A7C-9609-521C55C331A8}"/>
              </c:ext>
            </c:extLst>
          </c:dPt>
          <c:dLbls>
            <c:dLbl>
              <c:idx val="0"/>
              <c:layout>
                <c:manualLayout>
                  <c:x val="0"/>
                  <c:y val="-4.6816479400749064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15C9-4A7C-9609-521C55C331A8}"/>
                </c:ext>
              </c:extLst>
            </c:dLbl>
            <c:dLbl>
              <c:idx val="1"/>
              <c:layout>
                <c:manualLayout>
                  <c:x val="0"/>
                  <c:y val="-4.6816479400749064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15C9-4A7C-9609-521C55C331A8}"/>
                </c:ext>
              </c:extLst>
            </c:dLbl>
            <c:dLbl>
              <c:idx val="3"/>
              <c:layout>
                <c:manualLayout>
                  <c:x val="0"/>
                  <c:y val="-4.6816479400749064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15C9-4A7C-9609-521C55C331A8}"/>
                </c:ext>
              </c:extLst>
            </c:dLbl>
            <c:dLbl>
              <c:idx val="4"/>
              <c:layout>
                <c:manualLayout>
                  <c:x val="0"/>
                  <c:y val="-4.6816479400749064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15C9-4A7C-9609-521C55C331A8}"/>
                </c:ext>
              </c:extLst>
            </c:dLbl>
            <c:dLbl>
              <c:idx val="5"/>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15C9-4A7C-9609-521C55C331A8}"/>
                </c:ext>
              </c:extLst>
            </c:dLbl>
            <c:dLbl>
              <c:idx val="8"/>
              <c:layout>
                <c:manualLayout>
                  <c:x val="0"/>
                  <c:y val="-4.6816479400749064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15C9-4A7C-9609-521C55C331A8}"/>
                </c:ext>
              </c:extLst>
            </c:dLbl>
            <c:dLbl>
              <c:idx val="9"/>
              <c:layout>
                <c:manualLayout>
                  <c:x val="0"/>
                  <c:y val="-4.6816479400749064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15C9-4A7C-9609-521C55C331A8}"/>
                </c:ext>
              </c:extLst>
            </c:dLbl>
            <c:dLbl>
              <c:idx val="10"/>
              <c:layout>
                <c:manualLayout>
                  <c:x val="0"/>
                  <c:y val="-4.6816479400749064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15C9-4A7C-9609-521C55C331A8}"/>
                </c:ext>
              </c:extLst>
            </c:dLbl>
            <c:dLbl>
              <c:idx val="1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15C9-4A7C-9609-521C55C331A8}"/>
                </c:ext>
              </c:extLst>
            </c:dLbl>
            <c:dLbl>
              <c:idx val="1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15C9-4A7C-9609-521C55C331A8}"/>
                </c:ext>
              </c:extLst>
            </c:dLbl>
            <c:dLbl>
              <c:idx val="1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15C9-4A7C-9609-521C55C331A8}"/>
                </c:ext>
              </c:extLst>
            </c:dLbl>
            <c:dLbl>
              <c:idx val="14"/>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15C9-4A7C-9609-521C55C331A8}"/>
                </c:ext>
              </c:extLst>
            </c:dLbl>
            <c:dLbl>
              <c:idx val="15"/>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15C9-4A7C-9609-521C55C331A8}"/>
                </c:ext>
              </c:extLst>
            </c:dLbl>
            <c:dLbl>
              <c:idx val="16"/>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15C9-4A7C-9609-521C55C331A8}"/>
                </c:ext>
              </c:extLst>
            </c:dLbl>
            <c:dLbl>
              <c:idx val="17"/>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15C9-4A7C-9609-521C55C331A8}"/>
                </c:ext>
              </c:extLst>
            </c:dLbl>
            <c:dLbl>
              <c:idx val="18"/>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15C9-4A7C-9609-521C55C331A8}"/>
                </c:ext>
              </c:extLst>
            </c:dLbl>
            <c:dLbl>
              <c:idx val="19"/>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15C9-4A7C-9609-521C55C331A8}"/>
                </c:ext>
              </c:extLst>
            </c:dLbl>
            <c:dLbl>
              <c:idx val="2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15C9-4A7C-9609-521C55C331A8}"/>
                </c:ext>
              </c:extLst>
            </c:dLbl>
            <c:dLbl>
              <c:idx val="2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15C9-4A7C-9609-521C55C331A8}"/>
                </c:ext>
              </c:extLst>
            </c:dLbl>
            <c:dLbl>
              <c:idx val="2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15C9-4A7C-9609-521C55C331A8}"/>
                </c:ext>
              </c:extLst>
            </c:dLbl>
            <c:dLbl>
              <c:idx val="2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15C9-4A7C-9609-521C55C331A8}"/>
                </c:ext>
              </c:extLst>
            </c:dLbl>
            <c:dLbl>
              <c:idx val="24"/>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15C9-4A7C-9609-521C55C331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49</c:v>
                </c:pt>
                <c:pt idx="1">
                  <c:v>37</c:v>
                </c:pt>
                <c:pt idx="3">
                  <c:v>26.999999999999989</c:v>
                </c:pt>
                <c:pt idx="4">
                  <c:v>25</c:v>
                </c:pt>
                <c:pt idx="5">
                  <c:v>24</c:v>
                </c:pt>
                <c:pt idx="8">
                  <c:v>19.999999999999996</c:v>
                </c:pt>
                <c:pt idx="9">
                  <c:v>20.000000000000007</c:v>
                </c:pt>
                <c:pt idx="10">
                  <c:v>19.999999999999996</c:v>
                </c:pt>
                <c:pt idx="11">
                  <c:v>18.999999999999993</c:v>
                </c:pt>
                <c:pt idx="12">
                  <c:v>18.999999999999993</c:v>
                </c:pt>
                <c:pt idx="13">
                  <c:v>18.999999999999993</c:v>
                </c:pt>
                <c:pt idx="14">
                  <c:v>18.999999999999993</c:v>
                </c:pt>
                <c:pt idx="15">
                  <c:v>17.999999999999993</c:v>
                </c:pt>
                <c:pt idx="16">
                  <c:v>15.999999999999993</c:v>
                </c:pt>
                <c:pt idx="17">
                  <c:v>15.999999999999993</c:v>
                </c:pt>
                <c:pt idx="18">
                  <c:v>15.999999999999993</c:v>
                </c:pt>
                <c:pt idx="19">
                  <c:v>13.999999999999989</c:v>
                </c:pt>
                <c:pt idx="20">
                  <c:v>13.999999999999989</c:v>
                </c:pt>
                <c:pt idx="21">
                  <c:v>14.000000000000002</c:v>
                </c:pt>
                <c:pt idx="22">
                  <c:v>12</c:v>
                </c:pt>
                <c:pt idx="23">
                  <c:v>8.9999999999999964</c:v>
                </c:pt>
                <c:pt idx="24">
                  <c:v>6.0000000000000053</c:v>
                </c:pt>
              </c:numCache>
            </c:numRef>
          </c:val>
          <c:extLst>
            <c:ext xmlns:c16="http://schemas.microsoft.com/office/drawing/2014/chart" uri="{C3380CC4-5D6E-409C-BE32-E72D297353CC}">
              <c16:uniqueId val="{00000042-15C9-4A7C-9609-521C55C331A8}"/>
            </c:ext>
          </c:extLst>
        </c:ser>
        <c:dLbls>
          <c:showLegendKey val="0"/>
          <c:showVal val="0"/>
          <c:showCatName val="0"/>
          <c:showSerName val="0"/>
          <c:showPercent val="0"/>
          <c:showBubbleSize val="0"/>
        </c:dLbls>
        <c:gapWidth val="80"/>
        <c:overlap val="100"/>
        <c:axId val="-1390481904"/>
        <c:axId val="-1390479184"/>
      </c:barChart>
      <c:catAx>
        <c:axId val="-139048190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900">
                <a:latin typeface="Arial"/>
                <a:ea typeface="Arial"/>
                <a:cs typeface="+mn-cs"/>
              </a:defRPr>
            </a:pPr>
            <a:endParaRPr lang="el-GR"/>
          </a:p>
        </c:txPr>
        <c:crossAx val="-1390479184"/>
        <c:crosses val="min"/>
        <c:auto val="0"/>
        <c:lblAlgn val="ctr"/>
        <c:lblOffset val="100"/>
        <c:noMultiLvlLbl val="0"/>
      </c:catAx>
      <c:valAx>
        <c:axId val="-1390479184"/>
        <c:scaling>
          <c:orientation val="minMax"/>
          <c:max val="110.00000000000001"/>
          <c:min val="0"/>
        </c:scaling>
        <c:delete val="0"/>
        <c:axPos val="l"/>
        <c:majorGridlines>
          <c:spPr>
            <a:ln>
              <a:noFill/>
            </a:ln>
          </c:spPr>
        </c:majorGridlines>
        <c:numFmt formatCode="General" sourceLinked="1"/>
        <c:majorTickMark val="none"/>
        <c:minorTickMark val="none"/>
        <c:tickLblPos val="none"/>
        <c:spPr>
          <a:ln>
            <a:noFill/>
          </a:ln>
        </c:spPr>
        <c:crossAx val="-1390481904"/>
        <c:crosses val="min"/>
        <c:crossBetween val="between"/>
      </c:valAx>
    </c:plotArea>
    <c:plotVisOnly val="0"/>
    <c:dispBlanksAs val="gap"/>
    <c:showDLblsOverMax val="1"/>
  </c:chart>
  <c:externalData r:id="rId1">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
    <cx:plotArea>
      <cx:plotAreaRegion/>
    </cx:plotArea>
    <cx:legend pos="b" align="ctr" overlay="0">
      <cx:txPr>
        <a:bodyPr spcFirstLastPara="1" vertOverflow="ellipsis" horzOverflow="overflow" wrap="square" lIns="0" tIns="0" rIns="0" bIns="0" anchor="ctr" anchorCtr="1"/>
        <a:lstStyle/>
        <a:p>
          <a:pPr algn="ctr" rtl="0">
            <a:defRPr sz="800">
              <a:latin typeface="+mj-lt"/>
            </a:defRPr>
          </a:pPr>
          <a:endParaRPr lang="en-US" sz="800" b="0" i="0" u="none" strike="noStrike" baseline="0">
            <a:solidFill>
              <a:prstClr val="black">
                <a:lumMod val="65000"/>
                <a:lumOff val="35000"/>
              </a:prstClr>
            </a:solidFill>
            <a:latin typeface="+mj-lt"/>
          </a:endParaRPr>
        </a:p>
      </cx:txPr>
    </cx:legend>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1:$A$13</cx:f>
        <cx:lvl ptCount="13">
          <cx:pt idx="0">ΑΝΑΤΟΛΙΚΗΣ ΜΑΚΕΔΟΝΙΑΣ ΚΑΙ ΘΡΑΚΗΣ</cx:pt>
          <cx:pt idx="1">ΑΤΤΙΚΗΣ</cx:pt>
          <cx:pt idx="2">ΒΟΡΕΙΟΥ ΑΙΓΑΙΟΥ</cx:pt>
          <cx:pt idx="3">ΔΥΤΙΚΗΣ ΕΛΛΑΔΑΣ</cx:pt>
          <cx:pt idx="4">ΔΥΤΙΚΗΣ ΜΑΚΕΔΟΝΙΑΣ</cx:pt>
          <cx:pt idx="5">ΗΠΕΙΡΟΥ</cx:pt>
          <cx:pt idx="6">ΘΕΣΣΑΛΙΑΣ</cx:pt>
          <cx:pt idx="7">ΙΟΝΙΩΝ ΝΗΣΩΝ</cx:pt>
          <cx:pt idx="8">ΚΕΝΤΡΙΚΗΣ ΜΑΚΕΔΟΝΙΑΣ</cx:pt>
          <cx:pt idx="9">ΚΡΗΤΗΣ</cx:pt>
          <cx:pt idx="10">ΝΟΤΙΟΥ ΑΙΓΑΙΟΥ</cx:pt>
          <cx:pt idx="11">ΠΕΛΟΠΟΝΝΗΣΟΥ</cx:pt>
          <cx:pt idx="12">ΣΤΕΡΕΑΣ ΕΛΛΑΔΑΣ</cx:pt>
        </cx:lvl>
        <cx:lvl ptCount="0"/>
      </cx:strDim>
      <cx:numDim type="size">
        <cx:f>Sheet1!$B$1:$B$13</cx:f>
        <cx:lvl ptCount="13" formatCode="_-* #.##0_-;\-* #.##0_-;_-* &quot;-&quot;??_-;_-@_-">
          <cx:pt idx="0">65.100000000000009</cx:pt>
          <cx:pt idx="1">821.99999999999989</cx:pt>
          <cx:pt idx="2">1</cx:pt>
          <cx:pt idx="3">54.799999999999997</cx:pt>
          <cx:pt idx="4">26.099999999999998</cx:pt>
          <cx:pt idx="5">10.5</cx:pt>
          <cx:pt idx="6">34.200000000000003</cx:pt>
          <cx:pt idx="7">0</cx:pt>
          <cx:pt idx="8">242.09999999999999</cx:pt>
          <cx:pt idx="9">54.900000000000006</cx:pt>
          <cx:pt idx="10">5.1999999999999993</cx:pt>
          <cx:pt idx="11">41.099999999999994</cx:pt>
          <cx:pt idx="12">22.199999999999999</cx:pt>
        </cx:lvl>
      </cx:numDim>
    </cx:data>
  </cx:chartData>
  <cx:chart>
    <cx:plotArea>
      <cx:plotAreaRegion>
        <cx:series layoutId="treemap" uniqueId="{897E0FEB-13EB-46A8-AFC8-A8041C13DE5A}">
          <cx:dataPt idx="0">
            <cx:spPr>
              <a:solidFill>
                <a:srgbClr val="297FD5">
                  <a:lumMod val="75000"/>
                </a:srgbClr>
              </a:solidFill>
            </cx:spPr>
          </cx:dataPt>
          <cx:dataPt idx="9">
            <cx:spPr>
              <a:solidFill>
                <a:srgbClr val="E7E6E6">
                  <a:lumMod val="25000"/>
                </a:srgbClr>
              </a:solidFill>
            </cx:spPr>
          </cx:dataPt>
          <cx:dataPt idx="15">
            <cx:spPr>
              <a:solidFill>
                <a:srgbClr val="002060"/>
              </a:solidFill>
            </cx:spPr>
          </cx:dataPt>
          <cx:dataLabels>
            <cx:txPr>
              <a:bodyPr spcFirstLastPara="1" vertOverflow="ellipsis" horzOverflow="overflow" wrap="square" lIns="0" tIns="0" rIns="0" bIns="0" anchor="ctr" anchorCtr="1"/>
              <a:lstStyle/>
              <a:p>
                <a:pPr algn="ctr" rtl="0">
                  <a:defRPr sz="800">
                    <a:latin typeface="+mj-lt"/>
                  </a:defRPr>
                </a:pPr>
                <a:endParaRPr lang="en-US" sz="800" b="0" i="0" u="none" strike="noStrike" baseline="0">
                  <a:solidFill>
                    <a:prstClr val="white"/>
                  </a:solidFill>
                  <a:latin typeface="+mj-lt"/>
                </a:endParaRPr>
              </a:p>
            </cx:txPr>
            <cx:visibility seriesName="0" categoryName="1" value="1"/>
            <cx:separator> </cx:separator>
          </cx:dataLabels>
          <cx:dataId val="0"/>
          <cx:layoutPr/>
        </cx:series>
      </cx:plotAreaRegion>
    </cx:plotArea>
    <cx:legend pos="b" align="ctr" overlay="0">
      <cx:txPr>
        <a:bodyPr spcFirstLastPara="1" vertOverflow="ellipsis" horzOverflow="overflow" wrap="square" lIns="0" tIns="0" rIns="0" bIns="0" anchor="ctr" anchorCtr="1"/>
        <a:lstStyle/>
        <a:p>
          <a:pPr algn="ctr" rtl="0">
            <a:defRPr sz="900">
              <a:latin typeface="+mn-lt"/>
            </a:defRPr>
          </a:pPr>
          <a:endParaRPr lang="en-US" sz="900" b="0" i="0" u="none" strike="noStrike" baseline="0">
            <a:solidFill>
              <a:prstClr val="black">
                <a:lumMod val="65000"/>
                <a:lumOff val="35000"/>
              </a:prstClr>
            </a:solidFill>
            <a:latin typeface="+mn-lt"/>
          </a:endParaRPr>
        </a:p>
      </cx:txPr>
    </cx:legend>
  </cx:chart>
</cx:chartSpace>
</file>

<file path=ppt/charts/chartEx3.xml><?xml version="1.0" encoding="utf-8"?>
<cx:chartSpace xmlns:a="http://schemas.openxmlformats.org/drawingml/2006/main" xmlns:r="http://schemas.openxmlformats.org/officeDocument/2006/relationships" xmlns:cx="http://schemas.microsoft.com/office/drawing/2014/chartex">
  <cx:chart>
    <cx:plotArea>
      <cx:plotAreaRegion/>
    </cx:plotArea>
    <cx:legend pos="b" align="ctr" overlay="0">
      <cx:txPr>
        <a:bodyPr spcFirstLastPara="1" vertOverflow="ellipsis" horzOverflow="overflow" wrap="square" lIns="0" tIns="0" rIns="0" bIns="0" anchor="ctr" anchorCtr="1"/>
        <a:lstStyle/>
        <a:p>
          <a:pPr algn="ctr" rtl="0">
            <a:defRPr sz="800">
              <a:latin typeface="+mj-lt"/>
            </a:defRPr>
          </a:pPr>
          <a:endParaRPr lang="en-US" sz="800" b="0" i="0" u="none" strike="noStrike" baseline="0">
            <a:solidFill>
              <a:prstClr val="black">
                <a:lumMod val="65000"/>
                <a:lumOff val="35000"/>
              </a:prstClr>
            </a:solidFill>
            <a:latin typeface="+mj-lt"/>
          </a:endParaRPr>
        </a:p>
      </cx:txPr>
    </cx:legend>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1:$B$325</cx:f>
        <cx:lvl ptCount="325">
          <cx:pt idx="0">ΚΑΒΑΛΑΣ</cx:pt>
          <cx:pt idx="1">ΚΟΜΟΤΗΝΗΣ</cx:pt>
          <cx:pt idx="2">ΔΡΑΜΑΣ</cx:pt>
          <cx:pt idx="3">ΑΛΕΞΑΝΔΡΟΥΠΟΛΗΣ</cx:pt>
          <cx:pt idx="4">ΞΑΝΘΗΣ</cx:pt>
          <cx:pt idx="5">ΑΡΡΙΑΝΩΝ</cx:pt>
          <cx:pt idx="6">ΔΟΞΑΤΟΥ</cx:pt>
          <cx:pt idx="7">ΔΙΔΥΜΟΤΕΙΧΟΥ</cx:pt>
          <cx:pt idx="8">ΠΑΓΓΑΙΟΥ</cx:pt>
          <cx:pt idx="9">ΙΑΣΜΟΥ</cx:pt>
          <cx:pt idx="10">ΠΑΡΑΝΕΣΤΙΟΥ</cx:pt>
          <cx:pt idx="11">ΘΑΣΟΥ</cx:pt>
          <cx:pt idx="12">ΤΟΠΕΙΡΟΥ</cx:pt>
          <cx:pt idx="13">ΝΕΣΤΟΥ</cx:pt>
          <cx:pt idx="14">ΚΑΤΩ ΝΕΥΡΟΚΟΠΙΟΥ</cx:pt>
          <cx:pt idx="15">ΠΡΟΣΟΤΣΑΝΗΣ</cx:pt>
          <cx:pt idx="16">ΣΑΜΟΘΡΑΚΗΣ</cx:pt>
          <cx:pt idx="17">ΑΒΔΗΡΩΝ</cx:pt>
          <cx:pt idx="18">ΟΡΕΣΤΙΑΔΑΣ</cx:pt>
          <cx:pt idx="19">ΜΑΡΩΝΕΙΑΣ - ΣΑΠΩΝ</cx:pt>
          <cx:pt idx="20">ΣΟΥΦΛΙΟΥ</cx:pt>
          <cx:pt idx="21">ΜΥΚΗΣ</cx:pt>
          <cx:pt idx="22">ΑΘΗΝΑΙΩΝ</cx:pt>
          <cx:pt idx="23">ΑΧΑΡΝΩΝ</cx:pt>
          <cx:pt idx="24">ΝΙΚΑΙΑΣ - ΑΓΙΟΥ ΙΩΑΝΝΗ ΡΕΝΤΗ</cx:pt>
          <cx:pt idx="25">ΠΕΙΡΑΙΩΣ</cx:pt>
          <cx:pt idx="26">ΑΓΙΟΥ ΔΗΜΗΤΡΙΟΥ</cx:pt>
          <cx:pt idx="27">ΠΕΡΙΣΤΕΡΙΟΥ</cx:pt>
          <cx:pt idx="28">ΑΙΓΑΛΕΩ</cx:pt>
          <cx:pt idx="29">ΓΛΥΦΑΔΑΣ</cx:pt>
          <cx:pt idx="30">ΙΛΙΟΥ</cx:pt>
          <cx:pt idx="31">ΚΟΡΥΔΑΛΛΟΥ</cx:pt>
          <cx:pt idx="32">ΠΕΤΡΟΥΠΟΛΕΩΣ</cx:pt>
          <cx:pt idx="33">ΗΛΙΟΥΠΟΛΕΩΣ</cx:pt>
          <cx:pt idx="34">ΚΗΦΙΣΙΑΣ</cx:pt>
          <cx:pt idx="35">ΠΑΛΛΗΝΗΣ</cx:pt>
          <cx:pt idx="36">ΕΛΛΗΝΙΚΟΥ - ΑΡΓΥΡΟΥΠΟΛΗΣ</cx:pt>
          <cx:pt idx="37">ΑΓΙΩΝ ΑΝΑΡΓΥΡΩΝ - ΚΑΜΑΤΕΡΟΥ</cx:pt>
          <cx:pt idx="38">ΚΑΛΛΙΘΕΑΣ</cx:pt>
          <cx:pt idx="39">ΧΑΛΑΝΔΡΙΟΥ</cx:pt>
          <cx:pt idx="40">ΑΓΙΑΣ ΠΑΡΑΣΚΕΥΗΣ</cx:pt>
          <cx:pt idx="41">ΚΕΡΑΤΣΙΝΙΟΥ - ΔΡΑΠΕΤΣΩΝΑΣ</cx:pt>
          <cx:pt idx="42">ΦΥΛΗΣ</cx:pt>
          <cx:pt idx="43">ΓΑΛΑΤΣΙΟΥ</cx:pt>
          <cx:pt idx="44">ΝΕΑΣ ΣΜΥΡΝΗΣ</cx:pt>
          <cx:pt idx="45">ΖΩΓΡΑΦΟΥ</cx:pt>
          <cx:pt idx="46">ΗΡΑΚΛΕΙΟΥ ΑΤΤΙΚΗΣ</cx:pt>
          <cx:pt idx="47">ΝΕΑΣ ΙΩΝΙΑΣ</cx:pt>
          <cx:pt idx="48">ΧΑΪΔΑΡΙΟΥ</cx:pt>
          <cx:pt idx="49">ΒΥΡΩΝΟΣ</cx:pt>
          <cx:pt idx="50">ΑΓΙΑΣ ΒΑΡΒΑΡΑΣ</cx:pt>
          <cx:pt idx="51">ΠΑΠΑΓΟΥ - ΧΟΛΑΡΓΟΥ</cx:pt>
          <cx:pt idx="52">ΛΥΚΟΒΡΥΣΗΣ - ΠΕΥΚΗΣ</cx:pt>
          <cx:pt idx="53">ΜΟΣΧΑΤΟΥ - ΤΑΥΡΟΥ</cx:pt>
          <cx:pt idx="54">ΑΛΙΜΟΥ</cx:pt>
          <cx:pt idx="55">ΑΜΑΡΟΥΣΙΟΥ</cx:pt>
          <cx:pt idx="56">ΠΕΝΤΕΛΗΣ</cx:pt>
          <cx:pt idx="57">ΠΕΡΑΜΑΤΟΣ</cx:pt>
          <cx:pt idx="58">ΜΕΓΑΡΕΩΝ</cx:pt>
          <cx:pt idx="59">ΦΙΛΟΘΕΗΣ - ΨΥΧΙΚΟΥ</cx:pt>
          <cx:pt idx="60">ΣΑΛΑΜΙΝΟΣ</cx:pt>
          <cx:pt idx="61">ΜΕΤΑΜΟΡΦΩΣΕΩΣ</cx:pt>
          <cx:pt idx="62">ΔΙΟΝΥΣΟΥ</cx:pt>
          <cx:pt idx="63">ΚΑΙΣΑΡΙΑΝΗΣ</cx:pt>
          <cx:pt idx="64">ΑΣΠΡΟΠΥΡΓΟΥ</cx:pt>
          <cx:pt idx="65">ΔΑΦΝΗΣ - ΥΜΗΤΤΟΥ</cx:pt>
          <cx:pt idx="66">ΒΑΡΗΣ - ΒΟΥΛΑΣ - ΒΟΥΛΙΑΓΜΕΝΗΣ</cx:pt>
          <cx:pt idx="67">ΜΑΡΑΘΩΝΟΣ</cx:pt>
          <cx:pt idx="68">ΠΑΙΑΝΙΑΣ</cx:pt>
          <cx:pt idx="69">ΠΑΛΑΙΟΥ ΦΑΛΗΡΟΥ</cx:pt>
          <cx:pt idx="70">ΒΡΙΛΗΣΣΙΩΝ</cx:pt>
          <cx:pt idx="71">ΣΠΑΤΩΝ - ΑΡΤΕΜΙΔΟΣ</cx:pt>
          <cx:pt idx="72">ΚΡΩΠΙΑΣ</cx:pt>
          <cx:pt idx="73">ΜΑΝΔΡΑΣ - ΕΙΔΥΛΛΙΑΣ</cx:pt>
          <cx:pt idx="74">ΩΡΩΠΟΥ</cx:pt>
          <cx:pt idx="75">ΛΑΥΡΕΩΤΙΚΗΣ</cx:pt>
          <cx:pt idx="76">ΣΑΡΩΝΙΚΟΥ</cx:pt>
          <cx:pt idx="77">ΡΑΦΗΝΑΣ - ΠΙΚΕΡΜΙΟΥ</cx:pt>
          <cx:pt idx="78">ΕΛΕΥΣΙΝΑΣ</cx:pt>
          <cx:pt idx="79">ΦΙΛΑΔΕΛΦΕΙΑΣ - ΧΑΛΚΗΔΟΝΟΣ</cx:pt>
          <cx:pt idx="80">ΤΡΟΙΖΗΝΙΑΣ - ΜΕΘΑΝΩΝ</cx:pt>
          <cx:pt idx="81">ΥΔΡΑΣ</cx:pt>
          <cx:pt idx="82">ΚΥΘΗΡΩΝ</cx:pt>
          <cx:pt idx="83">ΑΓΚΙΣΤΡΙΟΥ</cx:pt>
          <cx:pt idx="84">ΠΟΡΟΥ</cx:pt>
          <cx:pt idx="85">ΜΑΡΚΟΠΟΥΛΟΥ ΜΕΣΟΓΑΙΑΣ</cx:pt>
          <cx:pt idx="86">ΑΙΓΙΝΑΣ</cx:pt>
          <cx:pt idx="87">ΣΠΕΤΣΩΝ</cx:pt>
          <cx:pt idx="88">ΛΗΜΝΟΥ</cx:pt>
          <cx:pt idx="89">ΗΡΩΙΚΗΣ ΝΗΣΟΥ ΨΑΡΩΝ</cx:pt>
          <cx:pt idx="90">ΟΙΝΟΥΣΣΩΝ</cx:pt>
          <cx:pt idx="91">ΑΓΙΟΥ ΕΥΣΤΡΑΤΙΟΥ</cx:pt>
          <cx:pt idx="92">ΛΕΣΒΟΥ</cx:pt>
          <cx:pt idx="93">ΣΑΜΟΥ</cx:pt>
          <cx:pt idx="94">ΧΙΟΥ</cx:pt>
          <cx:pt idx="95">ΠΑΤΡΕΩΝ</cx:pt>
          <cx:pt idx="96">ΠΥΡΓΟΥ</cx:pt>
          <cx:pt idx="97">ΑΓΡΙΝΙΟΥ</cx:pt>
          <cx:pt idx="98">ΗΛΙΔΑΣ</cx:pt>
          <cx:pt idx="99">ΑΝΔΡΙΤΣΑΙΝΑΣ - ΚΡΕΣΤΕΝΩΝ</cx:pt>
          <cx:pt idx="100">ΙΕΡΑΣ ΠΟΛΗΣ ΜΕΣΟΛΟΓΓΙΟΥ</cx:pt>
          <cx:pt idx="101">ΑΝΔΡΑΒΙΔΑΣ - ΚΥΛΛΗΝΗΣ</cx:pt>
          <cx:pt idx="102">ΚΑΛΑΒΡΥΤΩΝ</cx:pt>
          <cx:pt idx="103">ΠΗΝΕΙΟΥ</cx:pt>
          <cx:pt idx="104">ΑΡΧΑΙΑΣ ΟΛΥΜΠΙΑΣ</cx:pt>
          <cx:pt idx="105">ΞΗΡΟΜΕΡΟΥ</cx:pt>
          <cx:pt idx="106">ΖΑΧΑΡΩΣ</cx:pt>
          <cx:pt idx="107">ΘΕΡΜΟΥ</cx:pt>
          <cx:pt idx="108">ΕΡΥΜΑΝΘΟΥ</cx:pt>
          <cx:pt idx="109">ΑΙΓΙΑΛΕΙΑΣ</cx:pt>
          <cx:pt idx="110">ΑΚΤΙΟΥ - ΒΟΝΙΤΣΑΣ</cx:pt>
          <cx:pt idx="111">ΔΥΤΙΚΗΣ ΑΧΑΪΑΣ</cx:pt>
          <cx:pt idx="112">ΑΜΦΙΛΟΧΙΑΣ</cx:pt>
          <cx:pt idx="113">ΝΑΥΠΑΚΤΙΑΣ</cx:pt>
          <cx:pt idx="114">ΚΟΖΑΝΗΣ</cx:pt>
          <cx:pt idx="115">ΕΟΡΔΑΙΑΣ</cx:pt>
          <cx:pt idx="116">ΚΑΣΤΟΡΙΑΣ</cx:pt>
          <cx:pt idx="117">ΦΛΩΡΙΝΑΣ</cx:pt>
          <cx:pt idx="118">ΑΜΥΝΤΑΙΟΥ</cx:pt>
          <cx:pt idx="119">ΑΡΓΟΥΣ ΟΡΕΣΤΙΚΟΥ</cx:pt>
          <cx:pt idx="120">ΝΕΣΤΟΡΙΟΥ</cx:pt>
          <cx:pt idx="121">ΓΡΕΒΕΝΩΝ</cx:pt>
          <cx:pt idx="122">ΠΡΕΣΠΩΝ</cx:pt>
          <cx:pt idx="123">ΔΕΣΚΑΤΗΣ</cx:pt>
          <cx:pt idx="124">ΣΕΡΒΙΩΝ - ΒΕΛΒΕΝΤΟΥ</cx:pt>
          <cx:pt idx="125">ΒΟΪΟΥ</cx:pt>
          <cx:pt idx="126">ΑΡΤΑΙΩΝ</cx:pt>
          <cx:pt idx="127">ΝΙΚΟΛΑΟΥ ΣΚΟΥΦΑ</cx:pt>
          <cx:pt idx="128">ΠΡΕΒΕΖΑΣ</cx:pt>
          <cx:pt idx="129">ΠΩΓΩΝΙΟΥ</cx:pt>
          <cx:pt idx="130">ΖΙΤΣΑΣ</cx:pt>
          <cx:pt idx="131">ΙΩΑΝΝΙΤΩΝ</cx:pt>
          <cx:pt idx="132">ΚΕΝΤΡΙΚΩΝ ΤΖΟΥΜΕΡΚΩΝ</cx:pt>
          <cx:pt idx="133">ΣΟΥΛΙΟΥ</cx:pt>
          <cx:pt idx="134">ΚΟΝΙΤΣΑΣ</cx:pt>
          <cx:pt idx="135">ΒΟΡΕΙΩΝ ΤΖΟΥΜΕΡΚΩΝ</cx:pt>
          <cx:pt idx="136">ΠΑΡΓΑΣ</cx:pt>
          <cx:pt idx="137">ΓΕΩΡΓΙΟΥ ΚΑΡΑΪΣΚΑΚΗ</cx:pt>
          <cx:pt idx="138">ΗΓΟΥΜΕΝΙΤΣΑΣ</cx:pt>
          <cx:pt idx="139">ΜΕΤΣΟΒΟΥ</cx:pt>
          <cx:pt idx="140">ΖΗΡΟΥ</cx:pt>
          <cx:pt idx="141">ΦΙΛΙΑΤΩΝ</cx:pt>
          <cx:pt idx="142">ΖΑΓΟΡΙΟΥ</cx:pt>
          <cx:pt idx="143">ΔΩΔΩΝΗΣ</cx:pt>
          <cx:pt idx="144">ΛΑΡΙΣΑΙΩΝ</cx:pt>
          <cx:pt idx="145">ΒΟΛΟΥ</cx:pt>
          <cx:pt idx="146">ΤΡΙΚΚΑΙΩΝ</cx:pt>
          <cx:pt idx="147">ΣΟΦΑΔΩΝ</cx:pt>
          <cx:pt idx="148">ΠΑΛΑΜΑ</cx:pt>
          <cx:pt idx="149">ΚΑΛΑΜΠΑΚΑ</cx:pt>
          <cx:pt idx="150">ΦΑΡΚΑΔΟΝΑΣ</cx:pt>
          <cx:pt idx="151">ΚΑΡΔΙΤΣΑΣ</cx:pt>
          <cx:pt idx="152">ΑΡΓΙΘΕΑΣ</cx:pt>
          <cx:pt idx="153">ΑΛΜΥΡΟΥ</cx:pt>
          <cx:pt idx="154">ΚΙΛΕΛΕΡ</cx:pt>
          <cx:pt idx="155">ΣΚΙΑΘΟΥ</cx:pt>
          <cx:pt idx="156">ΖΑΓΟΡΑΣ - ΜΟΥΡΕΣΙΟΥ</cx:pt>
          <cx:pt idx="157">ΕΛΑΣΣΟΝΑΣ</cx:pt>
          <cx:pt idx="158">ΝΟΤΙΟΥ ΠΗΛΙΟΥ</cx:pt>
          <cx:pt idx="159">ΑΓΙΑΣ</cx:pt>
          <cx:pt idx="160">ΛΙΜΝΗΣ ΠΛΑΣΤΗΡΑ</cx:pt>
          <cx:pt idx="161">ΠΥΛΗΣ</cx:pt>
          <cx:pt idx="162">ΡΗΓΑ ΦΕΡΑΙΟΥ</cx:pt>
          <cx:pt idx="163">ΑΛΟΝΝΗΣΟΥ</cx:pt>
          <cx:pt idx="164">ΣΚΟΠΕΛΟΥ</cx:pt>
          <cx:pt idx="165">ΜΟΥΖΑΚΙΟΥ</cx:pt>
          <cx:pt idx="166">ΤΕΜΠΩΝ</cx:pt>
          <cx:pt idx="167">ΦΑΡΣΑΛΩΝ</cx:pt>
          <cx:pt idx="168">ΤΥΡΝΑΒΟΥ</cx:pt>
          <cx:pt idx="169">ΙΘΑΚΗΣ</cx:pt>
          <cx:pt idx="170">ΠΑΞΩΝ</cx:pt>
          <cx:pt idx="171">ΚΕΡΚΥΡΑΣ</cx:pt>
          <cx:pt idx="172">ΚΕΦΑΛΟΝΙΑΣ</cx:pt>
          <cx:pt idx="173">ΖΑΚΥΝΘΟΥ</cx:pt>
          <cx:pt idx="174">ΛΕΥΚΑΔΑΣ</cx:pt>
          <cx:pt idx="175">ΜΕΓΑΝΗΣΙΟΥ</cx:pt>
          <cx:pt idx="176">ΘΕΣΣΑΛΟΝΙΚΗΣ</cx:pt>
          <cx:pt idx="177">ΝΕΑΠΟΛΗΣ - ΣΥΚΕΩΝ</cx:pt>
          <cx:pt idx="178">ΠΥΛΑΙΑΣ - ΧΟΡΤΙΑΤΗ</cx:pt>
          <cx:pt idx="179">ΠΑΥΛΟΥ ΜΕΛΑ</cx:pt>
          <cx:pt idx="180">ΚΑΛΑΜΑΡΙΑΣ</cx:pt>
          <cx:pt idx="181">ΣΕΡΡΩΝ</cx:pt>
          <cx:pt idx="182">ΒΕΡΟΙΑΣ</cx:pt>
          <cx:pt idx="183">ΑΜΠΕΛΟΚΗΠΩΝ - ΜΕΝΕΜΕΝΗΣ</cx:pt>
          <cx:pt idx="184">ΩΡΑΙΟΚΑΣΤΡΟΥ</cx:pt>
          <cx:pt idx="185">ΘΕΡΜΑΪΚΟΥ</cx:pt>
          <cx:pt idx="186">ΠΕΛΛΑΣ</cx:pt>
          <cx:pt idx="187">ΗΡΩΙΚΗΣ ΠΟΛΕΩΣ ΝΑΟΥΣΑΣ</cx:pt>
          <cx:pt idx="188">ΚΑΤΕΡΙΝΗΣ</cx:pt>
          <cx:pt idx="189">ΚΟΡΔΕΛΙΟΥ - ΕΥΟΣΜΟΥ</cx:pt>
          <cx:pt idx="190">ΑΛΕΞΑΝΔΡΕΙΑΣ</cx:pt>
          <cx:pt idx="191">ΕΔΕΣΣΑΣ</cx:pt>
          <cx:pt idx="192">ΠΟΛΥΓΥΡΟΥ</cx:pt>
          <cx:pt idx="193">ΕΜΜΑΝΟΥΗΛ ΠΑΠΠΑ</cx:pt>
          <cx:pt idx="194">ΔΙΟΥ - ΟΛΥΜΠΟΥ</cx:pt>
          <cx:pt idx="195">ΧΑΛΚΗΔΟΝΟΣ</cx:pt>
          <cx:pt idx="196">ΣΙΝΤΙΚΗΣ</cx:pt>
          <cx:pt idx="197">ΑΜΦΙΠΟΛΗΣ</cx:pt>
          <cx:pt idx="198">ΣΚΥΔΡΑΣ</cx:pt>
          <cx:pt idx="199">ΚΑΣΣΑΝΔΡΑΣ</cx:pt>
          <cx:pt idx="200">ΠΑΙΟΝΙΑΣ</cx:pt>
          <cx:pt idx="201">ΑΛΜΩΠΙΑΣ</cx:pt>
          <cx:pt idx="202">ΚΙΛΚΙΣ</cx:pt>
          <cx:pt idx="203">ΑΡΙΣΤΟΤΕΛΗ</cx:pt>
          <cx:pt idx="204">ΒΟΛΒΗΣ</cx:pt>
          <cx:pt idx="205">ΛΑΓΚΑΔΑ</cx:pt>
          <cx:pt idx="206">ΘΕΡΜΗΣ</cx:pt>
          <cx:pt idx="207">ΔΕΛΤΑ</cx:pt>
          <cx:pt idx="208">ΠΥΔΝΑΣ - ΚΟΛΙΝΔΡΟΥ</cx:pt>
          <cx:pt idx="209">ΗΡΑΚΛΕΙΑΣ</cx:pt>
          <cx:pt idx="210">ΣΙΘΩΝΙΑΣ</cx:pt>
          <cx:pt idx="211">ΒΙΣΑΛΤΙΑΣ</cx:pt>
          <cx:pt idx="212">ΝΕΑΣ ΖΙΧΝΗΣ</cx:pt>
          <cx:pt idx="213">ΝΕΑΣ ΠΡΟΠΟΝΤΙΔΑΣ</cx:pt>
          <cx:pt idx="214">ΗΡΑΚΛΕΙΟΥ ΚΡΗΤΗΣ</cx:pt>
          <cx:pt idx="215">ΧΑΝΙΩΝ</cx:pt>
          <cx:pt idx="216">ΡΕΘΥΜΝΗΣ</cx:pt>
          <cx:pt idx="217">ΧΕΡΣΟΝΗΣΟΥ</cx:pt>
          <cx:pt idx="218">ΙΕΡΑΠΕΤΡΑΣ</cx:pt>
          <cx:pt idx="219">ΜΑΛΕΒΙΖΙΟΥ</cx:pt>
          <cx:pt idx="220">ΓΑΥΔΟΥ</cx:pt>
          <cx:pt idx="221">ΑΝΩΓΕΙΩΝ</cx:pt>
          <cx:pt idx="222">ΣΗΤΕΙΑΣ</cx:pt>
          <cx:pt idx="223">ΑΠΟΚΟΡΩΝΟΥ</cx:pt>
          <cx:pt idx="224">ΚΑΝΤΑΝΟΥ - ΣΕΛΙΝΟΥ</cx:pt>
          <cx:pt idx="225">ΟΡΟΠΕΔΙΟΥ ΛΑΣΙΘΙΟΥ</cx:pt>
          <cx:pt idx="226">ΑΓΙΟΥ ΒΑΣΙΛΕΙΟΥ</cx:pt>
          <cx:pt idx="227">ΚΙΣΣΑΜΟΥ</cx:pt>
          <cx:pt idx="228">ΑΓΙΟΥ ΝΙΚΟΛΑΟΥ</cx:pt>
          <cx:pt idx="229">ΑΡΧΑΝΩΝ - ΑΣΤΕΡΟΥΣΙΩΝ</cx:pt>
          <cx:pt idx="230">ΓΟΡΤΥΝΑΣ</cx:pt>
          <cx:pt idx="231">ΠΛΑΤΑΝΙΑ</cx:pt>
          <cx:pt idx="232">ΜΙΝΩΑ ΠΕΔΙΑΔΑΣ</cx:pt>
          <cx:pt idx="233">ΣΦΑΚΙΩΝ</cx:pt>
          <cx:pt idx="234">ΑΜΑΡΙΟΥ</cx:pt>
          <cx:pt idx="235">ΦΑΙΣΤΟΥ</cx:pt>
          <cx:pt idx="236">ΒΙΑΝΝΟΥ</cx:pt>
          <cx:pt idx="237">ΜΥΛΟΠΟΤΑΜΟΥ</cx:pt>
          <cx:pt idx="238">ΣΥΡΟΥ - ΕΡΜΟΥΠΟΛΗΣ</cx:pt>
          <cx:pt idx="239">ΘΗΡΑΣ</cx:pt>
          <cx:pt idx="240">ΙΗΤΩΝ</cx:pt>
          <cx:pt idx="241">ΙΚΑΡΙΑΣ</cx:pt>
          <cx:pt idx="242">ΑΝΔΡΟΥ</cx:pt>
          <cx:pt idx="243">ΑΝΤΙΠΑΡΟΥ</cx:pt>
          <cx:pt idx="244">ΡΟΔΟΥ</cx:pt>
          <cx:pt idx="245">ΚΑΛΥΜΝΙΩΝ</cx:pt>
          <cx:pt idx="246">ΚΑΡΠΑΘΟΥ</cx:pt>
          <cx:pt idx="247">ΠΑΡΟΥ</cx:pt>
          <cx:pt idx="248">ΚΕΑΣ</cx:pt>
          <cx:pt idx="249">ΣΕΡΙΦΟΥ</cx:pt>
          <cx:pt idx="250">ΣΙΚΙΝΟΥ</cx:pt>
          <cx:pt idx="251">ΚΙΜΩΛΟΥ</cx:pt>
          <cx:pt idx="252">ΤΗΛΟΥ</cx:pt>
          <cx:pt idx="253">ΑΓΑΘΟΝΗΣΙΟΥ</cx:pt>
          <cx:pt idx="254">ΚΥΘΝΟΥ</cx:pt>
          <cx:pt idx="255">ΝΙΣΥΡΟΥ</cx:pt>
          <cx:pt idx="256">ΚΩ</cx:pt>
          <cx:pt idx="257">ΛΕΙΨΩΝ</cx:pt>
          <cx:pt idx="258">ΛΕΡΟΥ</cx:pt>
          <cx:pt idx="259">ΠΑΤΜΟΥ</cx:pt>
          <cx:pt idx="260">ΑΣΤΥΠΑΛΑΙΑΣ</cx:pt>
          <cx:pt idx="261">ΜΕΓΙΣΤΗΣ</cx:pt>
          <cx:pt idx="262">ΣΙΦΝΟΥ</cx:pt>
          <cx:pt idx="263">ΜΗΛΟΥ</cx:pt>
          <cx:pt idx="264">ΣΥΜΗΣ</cx:pt>
          <cx:pt idx="265">ΜΥΚΟΝΟΥ</cx:pt>
          <cx:pt idx="266">ΤΗΝΟΥ</cx:pt>
          <cx:pt idx="267">ΑΜΟΡΓΟΥ</cx:pt>
          <cx:pt idx="268">ΦΟΛΕΓΑΝΔΡΟΥ</cx:pt>
          <cx:pt idx="269">ΑΝΑΦΗΣ</cx:pt>
          <cx:pt idx="270">ΗΡΩΙΚΗΣ ΝΗΣΟΥ ΚΑΣΟΥ</cx:pt>
          <cx:pt idx="271">ΦΟΥΡΝΩΝ ΚΟΡΣΕΩΝ</cx:pt>
          <cx:pt idx="272">ΧΑΛΚΗΣ</cx:pt>
          <cx:pt idx="273">ΝΑΞΟΥ &amp; ΜΙΚΡΩΝ ΚΥΚΛΑΔΩΝ</cx:pt>
          <cx:pt idx="274">ΚΟΡΙΝΘΙΩΝ</cx:pt>
          <cx:pt idx="275">ΤΡΙΠΟΛΗΣ</cx:pt>
          <cx:pt idx="276">ΑΡΓΟΥΣ - ΜΥΚΗΝΩΝ</cx:pt>
          <cx:pt idx="277">ΚΑΛΑΜΑΤΑΣ</cx:pt>
          <cx:pt idx="278">ΒΕΛΟΥ - ΒΟΧΑΣ</cx:pt>
          <cx:pt idx="279">ΝΑΥΠΛΙΕΩΝ</cx:pt>
          <cx:pt idx="280">ΓΟΡΤΥΝΙΑΣ</cx:pt>
          <cx:pt idx="281">ΝΕΜΕΑΣ</cx:pt>
          <cx:pt idx="282">ΒΟΡΕΙΑΣ ΚΥΝΟΥΡΙΑΣ</cx:pt>
          <cx:pt idx="283">ΟΙΧΑΛΙΑΣ</cx:pt>
          <cx:pt idx="284">ΝΟΤΙΑΣ ΚΥΝΟΥΡΙΑΣ</cx:pt>
          <cx:pt idx="285">ΑΝΑΤΟΛΙΚΗΣ ΜΑΝΗΣ</cx:pt>
          <cx:pt idx="286">ΞΥΛΟΚΑΣΤΡΟΥ - ΕΥΡΩΣΤΙΝΗΣ</cx:pt>
          <cx:pt idx="287">ΕΠΙΔΑΥΡΟΥ</cx:pt>
          <cx:pt idx="288">ΕΥΡΩΤΑ</cx:pt>
          <cx:pt idx="289">ΠΥΛΟΥ - ΝΕΣΤΟΡΟΣ</cx:pt>
          <cx:pt idx="290">ΕΛΑΦΟΝΗΣΟΥ</cx:pt>
          <cx:pt idx="291">ΛΟΥΤΡΑΚΙΟΥ - ΠΕΡΑΧΩΡΑΣ - ΑΓΙΩΝ ΘΕΟΔΩΡΩΝ</cx:pt>
          <cx:pt idx="292">ΜΕΓΑΛΟΠΟΛΗΣ</cx:pt>
          <cx:pt idx="293">ΜΕΣΣΗΝΗΣ</cx:pt>
          <cx:pt idx="294">ΣΙΚΥΩΝΙΩΝ</cx:pt>
          <cx:pt idx="295">ΜΟΝΕΜΒΑΣΙΑΣ</cx:pt>
          <cx:pt idx="296">ΣΠΑΡΤΗΣ</cx:pt>
          <cx:pt idx="297">ΤΡΙΦΥΛΙΑΣ</cx:pt>
          <cx:pt idx="298">ΔΥΤΙΚΗΣ ΜΑΝΗΣ</cx:pt>
          <cx:pt idx="299">ΕΡΜΙΟΝΙΔΑΣ</cx:pt>
          <cx:pt idx="300">ΛΑΜΙΕΩΝ</cx:pt>
          <cx:pt idx="301">ΧΑΛΚΙΔΕΩΝ</cx:pt>
          <cx:pt idx="302">ΚΑΡΠΕΝΗΣΙΟΥ</cx:pt>
          <cx:pt idx="303">ΘΗΒΑΙΩΝ</cx:pt>
          <cx:pt idx="304">ΤΑΝΑΓΡΑΣ</cx:pt>
          <cx:pt idx="305">ΑΓΡΑΦΩΝ</cx:pt>
          <cx:pt idx="306">ΙΣΤΙΑΙΑΣ - ΑΙΔΗΨΟΥ</cx:pt>
          <cx:pt idx="307">ΔΕΛΦΩΝ</cx:pt>
          <cx:pt idx="308">ΣΤΥΛΙΔΟΣ</cx:pt>
          <cx:pt idx="309">ΚΑΜΕΝΩΝ ΒΟΥΡΛΩΝ (ΜΩΛΟΥ-ΑΓΙΟΥ ΚΩΝ/ΝΟΥ)</cx:pt>
          <cx:pt idx="310">ΚΑΡΥΣΤΟΥ</cx:pt>
          <cx:pt idx="311">ΔΙΡΦΥΩΝ - ΜΕΣΣΑΠΙΩΝ</cx:pt>
          <cx:pt idx="312">ΔΙΣΤΟΜΟΥ - ΑΡΑΧΟΒΑΣ - ΑΝΤΙΚΥΡΑΣ</cx:pt>
          <cx:pt idx="313">ΚΥΜΗΣ - ΑΛΙΒΕΡΙΟΥ</cx:pt>
          <cx:pt idx="314">ΟΡΧΟΜΕΝΟΥ</cx:pt>
          <cx:pt idx="315">ΛΕΒΑΔΕΩΝ</cx:pt>
          <cx:pt idx="316">ΑΛΙΑΡΤΟΥ - ΘΕΣΠΙΕΩΝ</cx:pt>
          <cx:pt idx="317">ΛΟΚΡΩΝ</cx:pt>
          <cx:pt idx="318">ΜΑΚΡΑΚΩΜΗΣ</cx:pt>
          <cx:pt idx="319">ΜΑΝΤΟΥΔΙΟΥ - ΛΙΜΝΗΣ - ΑΓΙΑΣ ΑΝΝΑΣ</cx:pt>
          <cx:pt idx="320">ΣΚΥΡΟΥ</cx:pt>
          <cx:pt idx="321">ΕΡΕΤΡΙΑΣ</cx:pt>
          <cx:pt idx="322">ΑΜΦΙΚΛΕΙΑΣ - ΕΛΑΤΕΙΑΣ</cx:pt>
          <cx:pt idx="323">ΔΟΜΟΚΟΥ</cx:pt>
          <cx:pt idx="324">ΔΩΡΙΔΟΣ</cx:pt>
        </cx:lvl>
        <cx:lvl ptCount="325">
          <cx:pt idx="0">ΑΝΑΤΟΛΙΚΗΣ ΜΑΚΕΔΟΝΙΑΣ ΚΑΙ ΘΡΑΚΗΣ</cx:pt>
          <cx:pt idx="1">ΑΝΑΤΟΛΙΚΗΣ ΜΑΚΕΔΟΝΙΑΣ ΚΑΙ ΘΡΑΚΗΣ</cx:pt>
          <cx:pt idx="2">ΑΝΑΤΟΛΙΚΗΣ ΜΑΚΕΔΟΝΙΑΣ ΚΑΙ ΘΡΑΚΗΣ</cx:pt>
          <cx:pt idx="3">ΑΝΑΤΟΛΙΚΗΣ ΜΑΚΕΔΟΝΙΑΣ ΚΑΙ ΘΡΑΚΗΣ</cx:pt>
          <cx:pt idx="4">ΑΝΑΤΟΛΙΚΗΣ ΜΑΚΕΔΟΝΙΑΣ ΚΑΙ ΘΡΑΚΗΣ</cx:pt>
          <cx:pt idx="5">ΑΝΑΤΟΛΙΚΗΣ ΜΑΚΕΔΟΝΙΑΣ ΚΑΙ ΘΡΑΚΗΣ</cx:pt>
          <cx:pt idx="6">ΑΝΑΤΟΛΙΚΗΣ ΜΑΚΕΔΟΝΙΑΣ ΚΑΙ ΘΡΑΚΗΣ</cx:pt>
          <cx:pt idx="7">ΑΝΑΤΟΛΙΚΗΣ ΜΑΚΕΔΟΝΙΑΣ ΚΑΙ ΘΡΑΚΗΣ</cx:pt>
          <cx:pt idx="8">ΑΝΑΤΟΛΙΚΗΣ ΜΑΚΕΔΟΝΙΑΣ ΚΑΙ ΘΡΑΚΗΣ</cx:pt>
          <cx:pt idx="9">ΑΝΑΤΟΛΙΚΗΣ ΜΑΚΕΔΟΝΙΑΣ ΚΑΙ ΘΡΑΚΗΣ</cx:pt>
          <cx:pt idx="10">ΑΝΑΤΟΛΙΚΗΣ ΜΑΚΕΔΟΝΙΑΣ ΚΑΙ ΘΡΑΚΗΣ</cx:pt>
          <cx:pt idx="11">ΑΝΑΤΟΛΙΚΗΣ ΜΑΚΕΔΟΝΙΑΣ ΚΑΙ ΘΡΑΚΗΣ</cx:pt>
          <cx:pt idx="12">ΑΝΑΤΟΛΙΚΗΣ ΜΑΚΕΔΟΝΙΑΣ ΚΑΙ ΘΡΑΚΗΣ</cx:pt>
          <cx:pt idx="13">ΑΝΑΤΟΛΙΚΗΣ ΜΑΚΕΔΟΝΙΑΣ ΚΑΙ ΘΡΑΚΗΣ</cx:pt>
          <cx:pt idx="14">ΑΝΑΤΟΛΙΚΗΣ ΜΑΚΕΔΟΝΙΑΣ ΚΑΙ ΘΡΑΚΗΣ</cx:pt>
          <cx:pt idx="15">ΑΝΑΤΟΛΙΚΗΣ ΜΑΚΕΔΟΝΙΑΣ ΚΑΙ ΘΡΑΚΗΣ</cx:pt>
          <cx:pt idx="16">ΑΝΑΤΟΛΙΚΗΣ ΜΑΚΕΔΟΝΙΑΣ ΚΑΙ ΘΡΑΚΗΣ</cx:pt>
          <cx:pt idx="17">ΑΝΑΤΟΛΙΚΗΣ ΜΑΚΕΔΟΝΙΑΣ ΚΑΙ ΘΡΑΚΗΣ</cx:pt>
          <cx:pt idx="18">ΑΝΑΤΟΛΙΚΗΣ ΜΑΚΕΔΟΝΙΑΣ ΚΑΙ ΘΡΑΚΗΣ</cx:pt>
          <cx:pt idx="19">ΑΝΑΤΟΛΙΚΗΣ ΜΑΚΕΔΟΝΙΑΣ ΚΑΙ ΘΡΑΚΗΣ</cx:pt>
          <cx:pt idx="20">ΑΝΑΤΟΛΙΚΗΣ ΜΑΚΕΔΟΝΙΑΣ ΚΑΙ ΘΡΑΚΗΣ</cx:pt>
          <cx:pt idx="21">ΑΝΑΤΟΛΙΚΗΣ ΜΑΚΕΔΟΝΙΑΣ ΚΑΙ ΘΡΑΚΗΣ</cx:pt>
          <cx:pt idx="22">ΑΤΤΙΚΗΣ</cx:pt>
          <cx:pt idx="23">ΑΤΤΙΚΗΣ</cx:pt>
          <cx:pt idx="24">ΑΤΤΙΚΗΣ</cx:pt>
          <cx:pt idx="25">ΑΤΤΙΚΗΣ</cx:pt>
          <cx:pt idx="26">ΑΤΤΙΚΗΣ</cx:pt>
          <cx:pt idx="27">ΑΤΤΙΚΗΣ</cx:pt>
          <cx:pt idx="28">ΑΤΤΙΚΗΣ</cx:pt>
          <cx:pt idx="29">ΑΤΤΙΚΗΣ</cx:pt>
          <cx:pt idx="30">ΑΤΤΙΚΗΣ</cx:pt>
          <cx:pt idx="31">ΑΤΤΙΚΗΣ</cx:pt>
          <cx:pt idx="32">ΑΤΤΙΚΗΣ</cx:pt>
          <cx:pt idx="33">ΑΤΤΙΚΗΣ</cx:pt>
          <cx:pt idx="34">ΑΤΤΙΚΗΣ</cx:pt>
          <cx:pt idx="35">ΑΤΤΙΚΗΣ</cx:pt>
          <cx:pt idx="36">ΑΤΤΙΚΗΣ</cx:pt>
          <cx:pt idx="37">ΑΤΤΙΚΗΣ</cx:pt>
          <cx:pt idx="38">ΑΤΤΙΚΗΣ</cx:pt>
          <cx:pt idx="39">ΑΤΤΙΚΗΣ</cx:pt>
          <cx:pt idx="40">ΑΤΤΙΚΗΣ</cx:pt>
          <cx:pt idx="41">ΑΤΤΙΚΗΣ</cx:pt>
          <cx:pt idx="42">ΑΤΤΙΚΗΣ</cx:pt>
          <cx:pt idx="43">ΑΤΤΙΚΗΣ</cx:pt>
          <cx:pt idx="44">ΑΤΤΙΚΗΣ</cx:pt>
          <cx:pt idx="45">ΑΤΤΙΚΗΣ</cx:pt>
          <cx:pt idx="46">ΑΤΤΙΚΗΣ</cx:pt>
          <cx:pt idx="47">ΑΤΤΙΚΗΣ</cx:pt>
          <cx:pt idx="48">ΑΤΤΙΚΗΣ</cx:pt>
          <cx:pt idx="49">ΑΤΤΙΚΗΣ</cx:pt>
          <cx:pt idx="50">ΑΤΤΙΚΗΣ</cx:pt>
          <cx:pt idx="51">ΑΤΤΙΚΗΣ</cx:pt>
          <cx:pt idx="52">ΑΤΤΙΚΗΣ</cx:pt>
          <cx:pt idx="53">ΑΤΤΙΚΗΣ</cx:pt>
          <cx:pt idx="54">ΑΤΤΙΚΗΣ</cx:pt>
          <cx:pt idx="55">ΑΤΤΙΚΗΣ</cx:pt>
          <cx:pt idx="56">ΑΤΤΙΚΗΣ</cx:pt>
          <cx:pt idx="57">ΑΤΤΙΚΗΣ</cx:pt>
          <cx:pt idx="58">ΑΤΤΙΚΗΣ</cx:pt>
          <cx:pt idx="59">ΑΤΤΙΚΗΣ</cx:pt>
          <cx:pt idx="60">ΑΤΤΙΚΗΣ</cx:pt>
          <cx:pt idx="61">ΑΤΤΙΚΗΣ</cx:pt>
          <cx:pt idx="62">ΑΤΤΙΚΗΣ</cx:pt>
          <cx:pt idx="63">ΑΤΤΙΚΗΣ</cx:pt>
          <cx:pt idx="64">ΑΤΤΙΚΗΣ</cx:pt>
          <cx:pt idx="65">ΑΤΤΙΚΗΣ</cx:pt>
          <cx:pt idx="66">ΑΤΤΙΚΗΣ</cx:pt>
          <cx:pt idx="67">ΑΤΤΙΚΗΣ</cx:pt>
          <cx:pt idx="68">ΑΤΤΙΚΗΣ</cx:pt>
          <cx:pt idx="69">ΑΤΤΙΚΗΣ</cx:pt>
          <cx:pt idx="70">ΑΤΤΙΚΗΣ</cx:pt>
          <cx:pt idx="71">ΑΤΤΙΚΗΣ</cx:pt>
          <cx:pt idx="72">ΑΤΤΙΚΗΣ</cx:pt>
          <cx:pt idx="73">ΑΤΤΙΚΗΣ</cx:pt>
          <cx:pt idx="74">ΑΤΤΙΚΗΣ</cx:pt>
          <cx:pt idx="75">ΑΤΤΙΚΗΣ</cx:pt>
          <cx:pt idx="76">ΑΤΤΙΚΗΣ</cx:pt>
          <cx:pt idx="77">ΑΤΤΙΚΗΣ</cx:pt>
          <cx:pt idx="78">ΑΤΤΙΚΗΣ</cx:pt>
          <cx:pt idx="79">ΑΤΤΙΚΗΣ</cx:pt>
          <cx:pt idx="80">ΑΤΤΙΚΗΣ</cx:pt>
          <cx:pt idx="81">ΑΤΤΙΚΗΣ</cx:pt>
          <cx:pt idx="82">ΑΤΤΙΚΗΣ</cx:pt>
          <cx:pt idx="83">ΑΤΤΙΚΗΣ</cx:pt>
          <cx:pt idx="84">ΑΤΤΙΚΗΣ</cx:pt>
          <cx:pt idx="85">ΑΤΤΙΚΗΣ</cx:pt>
          <cx:pt idx="86">ΑΤΤΙΚΗΣ</cx:pt>
          <cx:pt idx="87">ΑΤΤΙΚΗΣ</cx:pt>
          <cx:pt idx="88">ΒΟΡΕΙΟΥ ΑΙΓΑΙΟΥ</cx:pt>
          <cx:pt idx="89">ΒΟΡΕΙΟΥ ΑΙΓΑΙΟΥ</cx:pt>
          <cx:pt idx="90">ΒΟΡΕΙΟΥ ΑΙΓΑΙΟΥ</cx:pt>
          <cx:pt idx="91">ΒΟΡΕΙΟΥ ΑΙΓΑΙΟΥ</cx:pt>
          <cx:pt idx="92">ΒΟΡΕΙΟΥ ΑΙΓΑΙΟΥ</cx:pt>
          <cx:pt idx="93">ΒΟΡΕΙΟΥ ΑΙΓΑΙΟΥ</cx:pt>
          <cx:pt idx="94">ΒΟΡΕΙΟΥ ΑΙΓΑΙΟΥ</cx:pt>
          <cx:pt idx="95">ΔΥΤΙΚΗΣ ΕΛΛΑΔΑΣ</cx:pt>
          <cx:pt idx="96">ΔΥΤΙΚΗΣ ΕΛΛΑΔΑΣ</cx:pt>
          <cx:pt idx="97">ΔΥΤΙΚΗΣ ΕΛΛΑΔΑΣ</cx:pt>
          <cx:pt idx="98">ΔΥΤΙΚΗΣ ΕΛΛΑΔΑΣ</cx:pt>
          <cx:pt idx="99">ΔΥΤΙΚΗΣ ΕΛΛΑΔΑΣ</cx:pt>
          <cx:pt idx="100">ΔΥΤΙΚΗΣ ΕΛΛΑΔΑΣ</cx:pt>
          <cx:pt idx="101">ΔΥΤΙΚΗΣ ΕΛΛΑΔΑΣ</cx:pt>
          <cx:pt idx="102">ΔΥΤΙΚΗΣ ΕΛΛΑΔΑΣ</cx:pt>
          <cx:pt idx="103">ΔΥΤΙΚΗΣ ΕΛΛΑΔΑΣ</cx:pt>
          <cx:pt idx="104">ΔΥΤΙΚΗΣ ΕΛΛΑΔΑΣ</cx:pt>
          <cx:pt idx="105">ΔΥΤΙΚΗΣ ΕΛΛΑΔΑΣ</cx:pt>
          <cx:pt idx="106">ΔΥΤΙΚΗΣ ΕΛΛΑΔΑΣ</cx:pt>
          <cx:pt idx="107">ΔΥΤΙΚΗΣ ΕΛΛΑΔΑΣ</cx:pt>
          <cx:pt idx="108">ΔΥΤΙΚΗΣ ΕΛΛΑΔΑΣ</cx:pt>
          <cx:pt idx="109">ΔΥΤΙΚΗΣ ΕΛΛΑΔΑΣ</cx:pt>
          <cx:pt idx="110">ΔΥΤΙΚΗΣ ΕΛΛΑΔΑΣ</cx:pt>
          <cx:pt idx="111">ΔΥΤΙΚΗΣ ΕΛΛΑΔΑΣ</cx:pt>
          <cx:pt idx="112">ΔΥΤΙΚΗΣ ΕΛΛΑΔΑΣ</cx:pt>
          <cx:pt idx="113">ΔΥΤΙΚΗΣ ΕΛΛΑΔΑΣ</cx:pt>
          <cx:pt idx="114">ΔΥΤΙΚΗΣ ΜΑΚΕΔΟΝΙΑΣ</cx:pt>
          <cx:pt idx="115">ΔΥΤΙΚΗΣ ΜΑΚΕΔΟΝΙΑΣ</cx:pt>
          <cx:pt idx="116">ΔΥΤΙΚΗΣ ΜΑΚΕΔΟΝΙΑΣ</cx:pt>
          <cx:pt idx="117">ΔΥΤΙΚΗΣ ΜΑΚΕΔΟΝΙΑΣ</cx:pt>
          <cx:pt idx="118">ΔΥΤΙΚΗΣ ΜΑΚΕΔΟΝΙΑΣ</cx:pt>
          <cx:pt idx="119">ΔΥΤΙΚΗΣ ΜΑΚΕΔΟΝΙΑΣ</cx:pt>
          <cx:pt idx="120">ΔΥΤΙΚΗΣ ΜΑΚΕΔΟΝΙΑΣ</cx:pt>
          <cx:pt idx="121">ΔΥΤΙΚΗΣ ΜΑΚΕΔΟΝΙΑΣ</cx:pt>
          <cx:pt idx="122">ΔΥΤΙΚΗΣ ΜΑΚΕΔΟΝΙΑΣ</cx:pt>
          <cx:pt idx="123">ΔΥΤΙΚΗΣ ΜΑΚΕΔΟΝΙΑΣ</cx:pt>
          <cx:pt idx="124">ΔΥΤΙΚΗΣ ΜΑΚΕΔΟΝΙΑΣ</cx:pt>
          <cx:pt idx="125">ΔΥΤΙΚΗΣ ΜΑΚΕΔΟΝΙΑΣ</cx:pt>
          <cx:pt idx="126">ΗΠΕΙΡΟΥ</cx:pt>
          <cx:pt idx="127">ΗΠΕΙΡΟΥ</cx:pt>
          <cx:pt idx="128">ΗΠΕΙΡΟΥ</cx:pt>
          <cx:pt idx="129">ΗΠΕΙΡΟΥ</cx:pt>
          <cx:pt idx="130">ΗΠΕΙΡΟΥ</cx:pt>
          <cx:pt idx="131">ΗΠΕΙΡΟΥ</cx:pt>
          <cx:pt idx="132">ΗΠΕΙΡΟΥ</cx:pt>
          <cx:pt idx="133">ΗΠΕΙΡΟΥ</cx:pt>
          <cx:pt idx="134">ΗΠΕΙΡΟΥ</cx:pt>
          <cx:pt idx="135">ΗΠΕΙΡΟΥ</cx:pt>
          <cx:pt idx="136">ΗΠΕΙΡΟΥ</cx:pt>
          <cx:pt idx="137">ΗΠΕΙΡΟΥ</cx:pt>
          <cx:pt idx="138">ΗΠΕΙΡΟΥ</cx:pt>
          <cx:pt idx="139">ΗΠΕΙΡΟΥ</cx:pt>
          <cx:pt idx="140">ΗΠΕΙΡΟΥ</cx:pt>
          <cx:pt idx="141">ΗΠΕΙΡΟΥ</cx:pt>
          <cx:pt idx="142">ΗΠΕΙΡΟΥ</cx:pt>
          <cx:pt idx="143">ΗΠΕΙΡΟΥ</cx:pt>
          <cx:pt idx="144">ΘΕΣΣΑΛΙΑΣ</cx:pt>
          <cx:pt idx="145">ΘΕΣΣΑΛΙΑΣ</cx:pt>
          <cx:pt idx="146">ΘΕΣΣΑΛΙΑΣ</cx:pt>
          <cx:pt idx="147">ΘΕΣΣΑΛΙΑΣ</cx:pt>
          <cx:pt idx="148">ΘΕΣΣΑΛΙΑΣ</cx:pt>
          <cx:pt idx="149">ΘΕΣΣΑΛΙΑΣ</cx:pt>
          <cx:pt idx="150">ΘΕΣΣΑΛΙΑΣ</cx:pt>
          <cx:pt idx="151">ΘΕΣΣΑΛΙΑΣ</cx:pt>
          <cx:pt idx="152">ΘΕΣΣΑΛΙΑΣ</cx:pt>
          <cx:pt idx="153">ΘΕΣΣΑΛΙΑΣ</cx:pt>
          <cx:pt idx="154">ΘΕΣΣΑΛΙΑΣ</cx:pt>
          <cx:pt idx="155">ΘΕΣΣΑΛΙΑΣ</cx:pt>
          <cx:pt idx="156">ΘΕΣΣΑΛΙΑΣ</cx:pt>
          <cx:pt idx="157">ΘΕΣΣΑΛΙΑΣ</cx:pt>
          <cx:pt idx="158">ΘΕΣΣΑΛΙΑΣ</cx:pt>
          <cx:pt idx="159">ΘΕΣΣΑΛΙΑΣ</cx:pt>
          <cx:pt idx="160">ΘΕΣΣΑΛΙΑΣ</cx:pt>
          <cx:pt idx="161">ΘΕΣΣΑΛΙΑΣ</cx:pt>
          <cx:pt idx="162">ΘΕΣΣΑΛΙΑΣ</cx:pt>
          <cx:pt idx="163">ΘΕΣΣΑΛΙΑΣ</cx:pt>
          <cx:pt idx="164">ΘΕΣΣΑΛΙΑΣ</cx:pt>
          <cx:pt idx="165">ΘΕΣΣΑΛΙΑΣ</cx:pt>
          <cx:pt idx="166">ΘΕΣΣΑΛΙΑΣ</cx:pt>
          <cx:pt idx="167">ΘΕΣΣΑΛΙΑΣ</cx:pt>
          <cx:pt idx="168">ΘΕΣΣΑΛΙΑΣ</cx:pt>
          <cx:pt idx="169">ΙΟΝΙΩΝ ΝΗΣΩΝ</cx:pt>
          <cx:pt idx="170">ΙΟΝΙΩΝ ΝΗΣΩΝ</cx:pt>
          <cx:pt idx="171">ΙΟΝΙΩΝ ΝΗΣΩΝ</cx:pt>
          <cx:pt idx="172">ΙΟΝΙΩΝ ΝΗΣΩΝ</cx:pt>
          <cx:pt idx="173">ΙΟΝΙΩΝ ΝΗΣΩΝ</cx:pt>
          <cx:pt idx="174">ΙΟΝΙΩΝ ΝΗΣΩΝ</cx:pt>
          <cx:pt idx="175">ΙΟΝΙΩΝ ΝΗΣΩΝ</cx:pt>
          <cx:pt idx="176">ΚΕΝΤΡΙΚΗΣ ΜΑΚΕΔΟΝΙΑΣ</cx:pt>
          <cx:pt idx="177">ΚΕΝΤΡΙΚΗΣ ΜΑΚΕΔΟΝΙΑΣ</cx:pt>
          <cx:pt idx="178">ΚΕΝΤΡΙΚΗΣ ΜΑΚΕΔΟΝΙΑΣ</cx:pt>
          <cx:pt idx="179">ΚΕΝΤΡΙΚΗΣ ΜΑΚΕΔΟΝΙΑΣ</cx:pt>
          <cx:pt idx="180">ΚΕΝΤΡΙΚΗΣ ΜΑΚΕΔΟΝΙΑΣ</cx:pt>
          <cx:pt idx="181">ΚΕΝΤΡΙΚΗΣ ΜΑΚΕΔΟΝΙΑΣ</cx:pt>
          <cx:pt idx="182">ΚΕΝΤΡΙΚΗΣ ΜΑΚΕΔΟΝΙΑΣ</cx:pt>
          <cx:pt idx="183">ΚΕΝΤΡΙΚΗΣ ΜΑΚΕΔΟΝΙΑΣ</cx:pt>
          <cx:pt idx="184">ΚΕΝΤΡΙΚΗΣ ΜΑΚΕΔΟΝΙΑΣ</cx:pt>
          <cx:pt idx="185">ΚΕΝΤΡΙΚΗΣ ΜΑΚΕΔΟΝΙΑΣ</cx:pt>
          <cx:pt idx="186">ΚΕΝΤΡΙΚΗΣ ΜΑΚΕΔΟΝΙΑΣ</cx:pt>
          <cx:pt idx="187">ΚΕΝΤΡΙΚΗΣ ΜΑΚΕΔΟΝΙΑΣ</cx:pt>
          <cx:pt idx="188">ΚΕΝΤΡΙΚΗΣ ΜΑΚΕΔΟΝΙΑΣ</cx:pt>
          <cx:pt idx="189">ΚΕΝΤΡΙΚΗΣ ΜΑΚΕΔΟΝΙΑΣ</cx:pt>
          <cx:pt idx="190">ΚΕΝΤΡΙΚΗΣ ΜΑΚΕΔΟΝΙΑΣ</cx:pt>
          <cx:pt idx="191">ΚΕΝΤΡΙΚΗΣ ΜΑΚΕΔΟΝΙΑΣ</cx:pt>
          <cx:pt idx="192">ΚΕΝΤΡΙΚΗΣ ΜΑΚΕΔΟΝΙΑΣ</cx:pt>
          <cx:pt idx="193">ΚΕΝΤΡΙΚΗΣ ΜΑΚΕΔΟΝΙΑΣ</cx:pt>
          <cx:pt idx="194">ΚΕΝΤΡΙΚΗΣ ΜΑΚΕΔΟΝΙΑΣ</cx:pt>
          <cx:pt idx="195">ΚΕΝΤΡΙΚΗΣ ΜΑΚΕΔΟΝΙΑΣ</cx:pt>
          <cx:pt idx="196">ΚΕΝΤΡΙΚΗΣ ΜΑΚΕΔΟΝΙΑΣ</cx:pt>
          <cx:pt idx="197">ΚΕΝΤΡΙΚΗΣ ΜΑΚΕΔΟΝΙΑΣ</cx:pt>
          <cx:pt idx="198">ΚΕΝΤΡΙΚΗΣ ΜΑΚΕΔΟΝΙΑΣ</cx:pt>
          <cx:pt idx="199">ΚΕΝΤΡΙΚΗΣ ΜΑΚΕΔΟΝΙΑΣ</cx:pt>
          <cx:pt idx="200">ΚΕΝΤΡΙΚΗΣ ΜΑΚΕΔΟΝΙΑΣ</cx:pt>
          <cx:pt idx="201">ΚΕΝΤΡΙΚΗΣ ΜΑΚΕΔΟΝΙΑΣ</cx:pt>
          <cx:pt idx="202">ΚΕΝΤΡΙΚΗΣ ΜΑΚΕΔΟΝΙΑΣ</cx:pt>
          <cx:pt idx="203">ΚΕΝΤΡΙΚΗΣ ΜΑΚΕΔΟΝΙΑΣ</cx:pt>
          <cx:pt idx="204">ΚΕΝΤΡΙΚΗΣ ΜΑΚΕΔΟΝΙΑΣ</cx:pt>
          <cx:pt idx="205">ΚΕΝΤΡΙΚΗΣ ΜΑΚΕΔΟΝΙΑΣ</cx:pt>
          <cx:pt idx="206">ΚΕΝΤΡΙΚΗΣ ΜΑΚΕΔΟΝΙΑΣ</cx:pt>
          <cx:pt idx="207">ΚΕΝΤΡΙΚΗΣ ΜΑΚΕΔΟΝΙΑΣ</cx:pt>
          <cx:pt idx="208">ΚΕΝΤΡΙΚΗΣ ΜΑΚΕΔΟΝΙΑΣ</cx:pt>
          <cx:pt idx="209">ΚΕΝΤΡΙΚΗΣ ΜΑΚΕΔΟΝΙΑΣ</cx:pt>
          <cx:pt idx="210">ΚΕΝΤΡΙΚΗΣ ΜΑΚΕΔΟΝΙΑΣ</cx:pt>
          <cx:pt idx="211">ΚΕΝΤΡΙΚΗΣ ΜΑΚΕΔΟΝΙΑΣ</cx:pt>
          <cx:pt idx="212">ΚΕΝΤΡΙΚΗΣ ΜΑΚΕΔΟΝΙΑΣ</cx:pt>
          <cx:pt idx="213">ΚΕΝΤΡΙΚΗΣ ΜΑΚΕΔΟΝΙΑΣ</cx:pt>
          <cx:pt idx="214">ΚΡΗΤΗΣ</cx:pt>
          <cx:pt idx="215">ΚΡΗΤΗΣ</cx:pt>
          <cx:pt idx="216">ΚΡΗΤΗΣ</cx:pt>
          <cx:pt idx="217">ΚΡΗΤΗΣ</cx:pt>
          <cx:pt idx="218">ΚΡΗΤΗΣ</cx:pt>
          <cx:pt idx="219">ΚΡΗΤΗΣ</cx:pt>
          <cx:pt idx="220">ΚΡΗΤΗΣ</cx:pt>
          <cx:pt idx="221">ΚΡΗΤΗΣ</cx:pt>
          <cx:pt idx="222">ΚΡΗΤΗΣ</cx:pt>
          <cx:pt idx="223">ΚΡΗΤΗΣ</cx:pt>
          <cx:pt idx="224">ΚΡΗΤΗΣ</cx:pt>
          <cx:pt idx="225">ΚΡΗΤΗΣ</cx:pt>
          <cx:pt idx="226">ΚΡΗΤΗΣ</cx:pt>
          <cx:pt idx="227">ΚΡΗΤΗΣ</cx:pt>
          <cx:pt idx="228">ΚΡΗΤΗΣ</cx:pt>
          <cx:pt idx="229">ΚΡΗΤΗΣ</cx:pt>
          <cx:pt idx="230">ΚΡΗΤΗΣ</cx:pt>
          <cx:pt idx="231">ΚΡΗΤΗΣ</cx:pt>
          <cx:pt idx="232">ΚΡΗΤΗΣ</cx:pt>
          <cx:pt idx="233">ΚΡΗΤΗΣ</cx:pt>
          <cx:pt idx="234">ΚΡΗΤΗΣ</cx:pt>
          <cx:pt idx="235">ΚΡΗΤΗΣ</cx:pt>
          <cx:pt idx="236">ΚΡΗΤΗΣ</cx:pt>
          <cx:pt idx="237">ΚΡΗΤΗΣ</cx:pt>
          <cx:pt idx="238">ΝΟΤΙΟΥ ΑΙΓΑΙΟΥ</cx:pt>
          <cx:pt idx="239">ΝΟΤΙΟΥ ΑΙΓΑΙΟΥ</cx:pt>
          <cx:pt idx="240">ΝΟΤΙΟΥ ΑΙΓΑΙΟΥ</cx:pt>
          <cx:pt idx="241">ΝΟΤΙΟΥ ΑΙΓΑΙΟΥ</cx:pt>
          <cx:pt idx="242">ΝΟΤΙΟΥ ΑΙΓΑΙΟΥ</cx:pt>
          <cx:pt idx="243">ΝΟΤΙΟΥ ΑΙΓΑΙΟΥ</cx:pt>
          <cx:pt idx="244">ΝΟΤΙΟΥ ΑΙΓΑΙΟΥ</cx:pt>
          <cx:pt idx="245">ΝΟΤΙΟΥ ΑΙΓΑΙΟΥ</cx:pt>
          <cx:pt idx="246">ΝΟΤΙΟΥ ΑΙΓΑΙΟΥ</cx:pt>
          <cx:pt idx="247">ΝΟΤΙΟΥ ΑΙΓΑΙΟΥ</cx:pt>
          <cx:pt idx="248">ΝΟΤΙΟΥ ΑΙΓΑΙΟΥ</cx:pt>
          <cx:pt idx="249">ΝΟΤΙΟΥ ΑΙΓΑΙΟΥ</cx:pt>
          <cx:pt idx="250">ΝΟΤΙΟΥ ΑΙΓΑΙΟΥ</cx:pt>
          <cx:pt idx="251">ΝΟΤΙΟΥ ΑΙΓΑΙΟΥ</cx:pt>
          <cx:pt idx="252">ΝΟΤΙΟΥ ΑΙΓΑΙΟΥ</cx:pt>
          <cx:pt idx="253">ΝΟΤΙΟΥ ΑΙΓΑΙΟΥ</cx:pt>
          <cx:pt idx="254">ΝΟΤΙΟΥ ΑΙΓΑΙΟΥ</cx:pt>
          <cx:pt idx="255">ΝΟΤΙΟΥ ΑΙΓΑΙΟΥ</cx:pt>
          <cx:pt idx="256">ΝΟΤΙΟΥ ΑΙΓΑΙΟΥ</cx:pt>
          <cx:pt idx="257">ΝΟΤΙΟΥ ΑΙΓΑΙΟΥ</cx:pt>
          <cx:pt idx="258">ΝΟΤΙΟΥ ΑΙΓΑΙΟΥ</cx:pt>
          <cx:pt idx="259">ΝΟΤΙΟΥ ΑΙΓΑΙΟΥ</cx:pt>
          <cx:pt idx="260">ΝΟΤΙΟΥ ΑΙΓΑΙΟΥ</cx:pt>
          <cx:pt idx="261">ΝΟΤΙΟΥ ΑΙΓΑΙΟΥ</cx:pt>
          <cx:pt idx="262">ΝΟΤΙΟΥ ΑΙΓΑΙΟΥ</cx:pt>
          <cx:pt idx="263">ΝΟΤΙΟΥ ΑΙΓΑΙΟΥ</cx:pt>
          <cx:pt idx="264">ΝΟΤΙΟΥ ΑΙΓΑΙΟΥ</cx:pt>
          <cx:pt idx="265">ΝΟΤΙΟΥ ΑΙΓΑΙΟΥ</cx:pt>
          <cx:pt idx="266">ΝΟΤΙΟΥ ΑΙΓΑΙΟΥ</cx:pt>
          <cx:pt idx="267">ΝΟΤΙΟΥ ΑΙΓΑΙΟΥ</cx:pt>
          <cx:pt idx="268">ΝΟΤΙΟΥ ΑΙΓΑΙΟΥ</cx:pt>
          <cx:pt idx="269">ΝΟΤΙΟΥ ΑΙΓΑΙΟΥ</cx:pt>
          <cx:pt idx="270">ΝΟΤΙΟΥ ΑΙΓΑΙΟΥ</cx:pt>
          <cx:pt idx="271">ΝΟΤΙΟΥ ΑΙΓΑΙΟΥ</cx:pt>
          <cx:pt idx="272">ΝΟΤΙΟΥ ΑΙΓΑΙΟΥ</cx:pt>
          <cx:pt idx="273">ΝΟΤΙΟΥ ΑΙΓΑΙΟΥ</cx:pt>
          <cx:pt idx="274">ΠΕΛΟΠΟΝΝΗΣΟΥ</cx:pt>
          <cx:pt idx="275">ΠΕΛΟΠΟΝΝΗΣΟΥ</cx:pt>
          <cx:pt idx="276">ΠΕΛΟΠΟΝΝΗΣΟΥ</cx:pt>
          <cx:pt idx="277">ΠΕΛΟΠΟΝΝΗΣΟΥ</cx:pt>
          <cx:pt idx="278">ΠΕΛΟΠΟΝΝΗΣΟΥ</cx:pt>
          <cx:pt idx="279">ΠΕΛΟΠΟΝΝΗΣΟΥ</cx:pt>
          <cx:pt idx="280">ΠΕΛΟΠΟΝΝΗΣΟΥ</cx:pt>
          <cx:pt idx="281">ΠΕΛΟΠΟΝΝΗΣΟΥ</cx:pt>
          <cx:pt idx="282">ΠΕΛΟΠΟΝΝΗΣΟΥ</cx:pt>
          <cx:pt idx="283">ΠΕΛΟΠΟΝΝΗΣΟΥ</cx:pt>
          <cx:pt idx="284">ΠΕΛΟΠΟΝΝΗΣΟΥ</cx:pt>
          <cx:pt idx="285">ΠΕΛΟΠΟΝΝΗΣΟΥ</cx:pt>
          <cx:pt idx="286">ΠΕΛΟΠΟΝΝΗΣΟΥ</cx:pt>
          <cx:pt idx="287">ΠΕΛΟΠΟΝΝΗΣΟΥ</cx:pt>
          <cx:pt idx="288">ΠΕΛΟΠΟΝΝΗΣΟΥ</cx:pt>
          <cx:pt idx="289">ΠΕΛΟΠΟΝΝΗΣΟΥ</cx:pt>
          <cx:pt idx="290">ΠΕΛΟΠΟΝΝΗΣΟΥ</cx:pt>
          <cx:pt idx="291">ΠΕΛΟΠΟΝΝΗΣΟΥ</cx:pt>
          <cx:pt idx="292">ΠΕΛΟΠΟΝΝΗΣΟΥ</cx:pt>
          <cx:pt idx="293">ΠΕΛΟΠΟΝΝΗΣΟΥ</cx:pt>
          <cx:pt idx="294">ΠΕΛΟΠΟΝΝΗΣΟΥ</cx:pt>
          <cx:pt idx="295">ΠΕΛΟΠΟΝΝΗΣΟΥ</cx:pt>
          <cx:pt idx="296">ΠΕΛΟΠΟΝΝΗΣΟΥ</cx:pt>
          <cx:pt idx="297">ΠΕΛΟΠΟΝΝΗΣΟΥ</cx:pt>
          <cx:pt idx="298">ΠΕΛΟΠΟΝΝΗΣΟΥ</cx:pt>
          <cx:pt idx="299">ΠΕΛΟΠΟΝΝΗΣΟΥ</cx:pt>
          <cx:pt idx="300">ΣΤΕΡΕΑΣ ΕΛΛΑΔΑΣ</cx:pt>
          <cx:pt idx="301">ΣΤΕΡΕΑΣ ΕΛΛΑΔΑΣ</cx:pt>
          <cx:pt idx="302">ΣΤΕΡΕΑΣ ΕΛΛΑΔΑΣ</cx:pt>
          <cx:pt idx="303">ΣΤΕΡΕΑΣ ΕΛΛΑΔΑΣ</cx:pt>
          <cx:pt idx="304">ΣΤΕΡΕΑΣ ΕΛΛΑΔΑΣ</cx:pt>
          <cx:pt idx="305">ΣΤΕΡΕΑΣ ΕΛΛΑΔΑΣ</cx:pt>
          <cx:pt idx="306">ΣΤΕΡΕΑΣ ΕΛΛΑΔΑΣ</cx:pt>
          <cx:pt idx="307">ΣΤΕΡΕΑΣ ΕΛΛΑΔΑΣ</cx:pt>
          <cx:pt idx="308">ΣΤΕΡΕΑΣ ΕΛΛΑΔΑΣ</cx:pt>
          <cx:pt idx="309">ΣΤΕΡΕΑΣ ΕΛΛΑΔΑΣ</cx:pt>
          <cx:pt idx="310">ΣΤΕΡΕΑΣ ΕΛΛΑΔΑΣ</cx:pt>
          <cx:pt idx="311">ΣΤΕΡΕΑΣ ΕΛΛΑΔΑΣ</cx:pt>
          <cx:pt idx="312">ΣΤΕΡΕΑΣ ΕΛΛΑΔΑΣ</cx:pt>
          <cx:pt idx="313">ΣΤΕΡΕΑΣ ΕΛΛΑΔΑΣ</cx:pt>
          <cx:pt idx="314">ΣΤΕΡΕΑΣ ΕΛΛΑΔΑΣ</cx:pt>
          <cx:pt idx="315">ΣΤΕΡΕΑΣ ΕΛΛΑΔΑΣ</cx:pt>
          <cx:pt idx="316">ΣΤΕΡΕΑΣ ΕΛΛΑΔΑΣ</cx:pt>
          <cx:pt idx="317">ΣΤΕΡΕΑΣ ΕΛΛΑΔΑΣ</cx:pt>
          <cx:pt idx="318">ΣΤΕΡΕΑΣ ΕΛΛΑΔΑΣ</cx:pt>
          <cx:pt idx="319">ΣΤΕΡΕΑΣ ΕΛΛΑΔΑΣ</cx:pt>
          <cx:pt idx="320">ΣΤΕΡΕΑΣ ΕΛΛΑΔΑΣ</cx:pt>
          <cx:pt idx="321">ΣΤΕΡΕΑΣ ΕΛΛΑΔΑΣ</cx:pt>
          <cx:pt idx="322">ΣΤΕΡΕΑΣ ΕΛΛΑΔΑΣ</cx:pt>
          <cx:pt idx="323">ΣΤΕΡΕΑΣ ΕΛΛΑΔΑΣ</cx:pt>
          <cx:pt idx="324">ΣΤΕΡΕΑΣ ΕΛΛΑΔΑΣ</cx:pt>
        </cx:lvl>
      </cx:strDim>
      <cx:numDim type="size">
        <cx:f>Sheet1!$C$1:$C$325</cx:f>
        <cx:lvl ptCount="325" formatCode="0">
          <cx:pt idx="0">14.799999999999999</cx:pt>
          <cx:pt idx="1">13.9</cx:pt>
          <cx:pt idx="2">11.799999999999999</cx:pt>
          <cx:pt idx="3">9</cx:pt>
          <cx:pt idx="4">6</cx:pt>
          <cx:pt idx="5">4.1999999999999993</cx:pt>
          <cx:pt idx="6">3.1000000000000001</cx:pt>
          <cx:pt idx="7">2.3000000000000003</cx:pt>
          <cx:pt idx="8">0</cx:pt>
          <cx:pt idx="9">0</cx:pt>
          <cx:pt idx="10">0</cx:pt>
          <cx:pt idx="11">0</cx:pt>
          <cx:pt idx="12">0</cx:pt>
          <cx:pt idx="13">0</cx:pt>
          <cx:pt idx="14">0</cx:pt>
          <cx:pt idx="15">0</cx:pt>
          <cx:pt idx="16">0</cx:pt>
          <cx:pt idx="17">0</cx:pt>
          <cx:pt idx="18">0</cx:pt>
          <cx:pt idx="19">0</cx:pt>
          <cx:pt idx="20">0</cx:pt>
          <cx:pt idx="21">0</cx:pt>
          <cx:pt idx="22">133.29999999999998</cx:pt>
          <cx:pt idx="23">37.800000000000004</cx:pt>
          <cx:pt idx="24">25.300000000000001</cx:pt>
          <cx:pt idx="25">25.100000000000001</cx:pt>
          <cx:pt idx="26">24.100000000000001</cx:pt>
          <cx:pt idx="27">23.100000000000001</cx:pt>
          <cx:pt idx="28">21.600000000000001</cx:pt>
          <cx:pt idx="29">20.700000000000003</cx:pt>
          <cx:pt idx="30">20.5</cx:pt>
          <cx:pt idx="31">18.700000000000003</cx:pt>
          <cx:pt idx="32">18.400000000000002</cx:pt>
          <cx:pt idx="33">17.700000000000003</cx:pt>
          <cx:pt idx="34">17.5</cx:pt>
          <cx:pt idx="35">17.5</cx:pt>
          <cx:pt idx="36">17.100000000000001</cx:pt>
          <cx:pt idx="37">16.800000000000001</cx:pt>
          <cx:pt idx="38">16.700000000000003</cx:pt>
          <cx:pt idx="39">15.799999999999999</cx:pt>
          <cx:pt idx="40">15.5</cx:pt>
          <cx:pt idx="41">15.299999999999999</cx:pt>
          <cx:pt idx="42">15.1</cx:pt>
          <cx:pt idx="43">14.4</cx:pt>
          <cx:pt idx="44">14</cx:pt>
          <cx:pt idx="45">13.5</cx:pt>
          <cx:pt idx="46">13.1</cx:pt>
          <cx:pt idx="47">13.1</cx:pt>
          <cx:pt idx="48">12.799999999999999</cx:pt>
          <cx:pt idx="49">11.799999999999999</cx:pt>
          <cx:pt idx="50">11.199999999999999</cx:pt>
          <cx:pt idx="51">11.1</cx:pt>
          <cx:pt idx="52">10.5</cx:pt>
          <cx:pt idx="53">10.299999999999999</cx:pt>
          <cx:pt idx="54">10.1</cx:pt>
          <cx:pt idx="55">10.1</cx:pt>
          <cx:pt idx="56">9.9000000000000004</cx:pt>
          <cx:pt idx="57">9.6999999999999993</cx:pt>
          <cx:pt idx="58">9</cx:pt>
          <cx:pt idx="59">8.7999999999999989</cx:pt>
          <cx:pt idx="60">8.5</cx:pt>
          <cx:pt idx="61">8.2999999999999989</cx:pt>
          <cx:pt idx="62">8.2999999999999989</cx:pt>
          <cx:pt idx="63">8.1999999999999993</cx:pt>
          <cx:pt idx="64">8.0999999999999996</cx:pt>
          <cx:pt idx="65">6.5</cx:pt>
          <cx:pt idx="66">6.0999999999999996</cx:pt>
          <cx:pt idx="67">5.7999999999999998</cx:pt>
          <cx:pt idx="68">5.7999999999999998</cx:pt>
          <cx:pt idx="69">5.0999999999999996</cx:pt>
          <cx:pt idx="70">4.5</cx:pt>
          <cx:pt idx="71">3.8999999999999999</cx:pt>
          <cx:pt idx="72">3.8999999999999999</cx:pt>
          <cx:pt idx="73">2.5</cx:pt>
          <cx:pt idx="74">2.5</cx:pt>
          <cx:pt idx="75">1.9000000000000001</cx:pt>
          <cx:pt idx="76">1.8</cx:pt>
          <cx:pt idx="77">1.7000000000000002</cx:pt>
          <cx:pt idx="78">1.5</cx:pt>
          <cx:pt idx="79">0.10000000000000001</cx:pt>
          <cx:pt idx="80">0</cx:pt>
          <cx:pt idx="81">0</cx:pt>
          <cx:pt idx="82">0</cx:pt>
          <cx:pt idx="83">0</cx:pt>
          <cx:pt idx="84">0</cx:pt>
          <cx:pt idx="85">0</cx:pt>
          <cx:pt idx="86">0</cx:pt>
          <cx:pt idx="87">0</cx:pt>
          <cx:pt idx="88">0.79999999999999993</cx:pt>
          <cx:pt idx="89">0.20000000000000001</cx:pt>
          <cx:pt idx="90">0</cx:pt>
          <cx:pt idx="91">0</cx:pt>
          <cx:pt idx="92">0</cx:pt>
          <cx:pt idx="93">0</cx:pt>
          <cx:pt idx="94">0</cx:pt>
          <cx:pt idx="95">37.100000000000001</cx:pt>
          <cx:pt idx="96">10.799999999999999</cx:pt>
          <cx:pt idx="97">5</cx:pt>
          <cx:pt idx="98">1.5</cx:pt>
          <cx:pt idx="99">0.40000000000000002</cx:pt>
          <cx:pt idx="100">0</cx:pt>
          <cx:pt idx="101">0</cx:pt>
          <cx:pt idx="102">0</cx:pt>
          <cx:pt idx="103">0</cx:pt>
          <cx:pt idx="104">0</cx:pt>
          <cx:pt idx="105">0</cx:pt>
          <cx:pt idx="106">0</cx:pt>
          <cx:pt idx="107">0</cx:pt>
          <cx:pt idx="108">0</cx:pt>
          <cx:pt idx="109">0</cx:pt>
          <cx:pt idx="110">0</cx:pt>
          <cx:pt idx="111">0</cx:pt>
          <cx:pt idx="112">0</cx:pt>
          <cx:pt idx="113">0</cx:pt>
          <cx:pt idx="114">14.799999999999999</cx:pt>
          <cx:pt idx="115">6.7999999999999998</cx:pt>
          <cx:pt idx="116">3.3000000000000003</cx:pt>
          <cx:pt idx="117">1.2000000000000002</cx:pt>
          <cx:pt idx="118">0</cx:pt>
          <cx:pt idx="119">0</cx:pt>
          <cx:pt idx="120">0</cx:pt>
          <cx:pt idx="121">0</cx:pt>
          <cx:pt idx="122">0</cx:pt>
          <cx:pt idx="123">0</cx:pt>
          <cx:pt idx="124">0</cx:pt>
          <cx:pt idx="125">0</cx:pt>
          <cx:pt idx="126">7.5</cx:pt>
          <cx:pt idx="127">1.6000000000000001</cx:pt>
          <cx:pt idx="128">1.4000000000000001</cx:pt>
          <cx:pt idx="129">0</cx:pt>
          <cx:pt idx="130">0</cx:pt>
          <cx:pt idx="131">0</cx:pt>
          <cx:pt idx="132">0</cx:pt>
          <cx:pt idx="133">0</cx:pt>
          <cx:pt idx="134">0</cx:pt>
          <cx:pt idx="135">0</cx:pt>
          <cx:pt idx="136">0</cx:pt>
          <cx:pt idx="137">0</cx:pt>
          <cx:pt idx="138">0</cx:pt>
          <cx:pt idx="139">0</cx:pt>
          <cx:pt idx="140">0</cx:pt>
          <cx:pt idx="141">0</cx:pt>
          <cx:pt idx="142">0</cx:pt>
          <cx:pt idx="143">0</cx:pt>
          <cx:pt idx="144">23.100000000000001</cx:pt>
          <cx:pt idx="145">9.5999999999999996</cx:pt>
          <cx:pt idx="146">1.5</cx:pt>
          <cx:pt idx="147">0</cx:pt>
          <cx:pt idx="148">0</cx:pt>
          <cx:pt idx="149">0</cx:pt>
          <cx:pt idx="150">0</cx:pt>
          <cx:pt idx="151">0</cx:pt>
          <cx:pt idx="152">0</cx:pt>
          <cx:pt idx="153">0</cx:pt>
          <cx:pt idx="154">0</cx:pt>
          <cx:pt idx="155">0</cx:pt>
          <cx:pt idx="156">0</cx:pt>
          <cx:pt idx="157">0</cx:pt>
          <cx:pt idx="158">0</cx:pt>
          <cx:pt idx="159">0</cx:pt>
          <cx:pt idx="160">0</cx:pt>
          <cx:pt idx="161">0</cx:pt>
          <cx:pt idx="162">0</cx:pt>
          <cx:pt idx="163">0</cx:pt>
          <cx:pt idx="164">0</cx:pt>
          <cx:pt idx="165">0</cx:pt>
          <cx:pt idx="166">0</cx:pt>
          <cx:pt idx="167">0</cx:pt>
          <cx:pt idx="168">0</cx:pt>
          <cx:pt idx="169">0</cx:pt>
          <cx:pt idx="170">0</cx:pt>
          <cx:pt idx="171">0</cx:pt>
          <cx:pt idx="172">0</cx:pt>
          <cx:pt idx="173">0</cx:pt>
          <cx:pt idx="174">0</cx:pt>
          <cx:pt idx="175">0</cx:pt>
          <cx:pt idx="176">35.5</cx:pt>
          <cx:pt idx="177">27.700000000000003</cx:pt>
          <cx:pt idx="178">26.600000000000001</cx:pt>
          <cx:pt idx="179">23.100000000000001</cx:pt>
          <cx:pt idx="180">22.300000000000001</cx:pt>
          <cx:pt idx="181">21.300000000000001</cx:pt>
          <cx:pt idx="182">14.1</cx:pt>
          <cx:pt idx="183">12.9</cx:pt>
          <cx:pt idx="184">11.699999999999999</cx:pt>
          <cx:pt idx="185">8.5999999999999996</cx:pt>
          <cx:pt idx="186">6.5</cx:pt>
          <cx:pt idx="187">5.6999999999999993</cx:pt>
          <cx:pt idx="188">4.7999999999999998</cx:pt>
          <cx:pt idx="189">4.5999999999999996</cx:pt>
          <cx:pt idx="190">4.5</cx:pt>
          <cx:pt idx="191">3.8999999999999999</cx:pt>
          <cx:pt idx="192">2.7000000000000002</cx:pt>
          <cx:pt idx="193">2.6000000000000001</cx:pt>
          <cx:pt idx="194">1.7000000000000002</cx:pt>
          <cx:pt idx="195">1.3</cx:pt>
          <cx:pt idx="196">0</cx:pt>
          <cx:pt idx="197">0</cx:pt>
          <cx:pt idx="198">0</cx:pt>
          <cx:pt idx="199">0</cx:pt>
          <cx:pt idx="200">0</cx:pt>
          <cx:pt idx="201">0</cx:pt>
          <cx:pt idx="202">0</cx:pt>
          <cx:pt idx="203">0</cx:pt>
          <cx:pt idx="204">0</cx:pt>
          <cx:pt idx="205">0</cx:pt>
          <cx:pt idx="206">0</cx:pt>
          <cx:pt idx="207">0</cx:pt>
          <cx:pt idx="208">0</cx:pt>
          <cx:pt idx="209">0</cx:pt>
          <cx:pt idx="210">0</cx:pt>
          <cx:pt idx="211">0</cx:pt>
          <cx:pt idx="212">0</cx:pt>
          <cx:pt idx="213">0</cx:pt>
          <cx:pt idx="214">19.200000000000003</cx:pt>
          <cx:pt idx="215">18.600000000000001</cx:pt>
          <cx:pt idx="216">13</cx:pt>
          <cx:pt idx="217">3</cx:pt>
          <cx:pt idx="218">0.59999999999999998</cx:pt>
          <cx:pt idx="219">0.5</cx:pt>
          <cx:pt idx="220">0</cx:pt>
          <cx:pt idx="221">0</cx:pt>
          <cx:pt idx="222">0</cx:pt>
          <cx:pt idx="223">0</cx:pt>
          <cx:pt idx="224">0</cx:pt>
          <cx:pt idx="225">0</cx:pt>
          <cx:pt idx="226">0</cx:pt>
          <cx:pt idx="227">0</cx:pt>
          <cx:pt idx="228">0</cx:pt>
          <cx:pt idx="229">0</cx:pt>
          <cx:pt idx="230">0</cx:pt>
          <cx:pt idx="231">0</cx:pt>
          <cx:pt idx="232">0</cx:pt>
          <cx:pt idx="233">0</cx:pt>
          <cx:pt idx="234">0</cx:pt>
          <cx:pt idx="235">0</cx:pt>
          <cx:pt idx="236">0</cx:pt>
          <cx:pt idx="237">0</cx:pt>
          <cx:pt idx="238">5.1999999999999993</cx:pt>
          <cx:pt idx="239">0</cx:pt>
          <cx:pt idx="240">0</cx:pt>
          <cx:pt idx="241">0</cx:pt>
          <cx:pt idx="242">0</cx:pt>
          <cx:pt idx="243">0</cx:pt>
          <cx:pt idx="244">0</cx:pt>
          <cx:pt idx="245">0</cx:pt>
          <cx:pt idx="246">0</cx:pt>
          <cx:pt idx="247">0</cx:pt>
          <cx:pt idx="248">0</cx:pt>
          <cx:pt idx="249">0</cx:pt>
          <cx:pt idx="250">0</cx:pt>
          <cx:pt idx="251">0</cx:pt>
          <cx:pt idx="252">0</cx:pt>
          <cx:pt idx="253">0</cx:pt>
          <cx:pt idx="254">0</cx:pt>
          <cx:pt idx="255">0</cx:pt>
          <cx:pt idx="256">0</cx:pt>
          <cx:pt idx="257">0</cx:pt>
          <cx:pt idx="258">0</cx:pt>
          <cx:pt idx="259">0</cx:pt>
          <cx:pt idx="260">0</cx:pt>
          <cx:pt idx="261">0</cx:pt>
          <cx:pt idx="262">0</cx:pt>
          <cx:pt idx="263">0</cx:pt>
          <cx:pt idx="264">0</cx:pt>
          <cx:pt idx="265">0</cx:pt>
          <cx:pt idx="266">0</cx:pt>
          <cx:pt idx="267">0</cx:pt>
          <cx:pt idx="268">0</cx:pt>
          <cx:pt idx="269">0</cx:pt>
          <cx:pt idx="270">0</cx:pt>
          <cx:pt idx="271">0</cx:pt>
          <cx:pt idx="272">0</cx:pt>
          <cx:pt idx="273">0</cx:pt>
          <cx:pt idx="274">10.799999999999999</cx:pt>
          <cx:pt idx="275">8.5</cx:pt>
          <cx:pt idx="276">6.7999999999999998</cx:pt>
          <cx:pt idx="277">5.1999999999999993</cx:pt>
          <cx:pt idx="278">5</cx:pt>
          <cx:pt idx="279">4.7999999999999998</cx:pt>
          <cx:pt idx="280">0</cx:pt>
          <cx:pt idx="281">0</cx:pt>
          <cx:pt idx="282">0</cx:pt>
          <cx:pt idx="283">0</cx:pt>
          <cx:pt idx="284">0</cx:pt>
          <cx:pt idx="285">0</cx:pt>
          <cx:pt idx="286">0</cx:pt>
          <cx:pt idx="287">0</cx:pt>
          <cx:pt idx="288">0</cx:pt>
          <cx:pt idx="289">0</cx:pt>
          <cx:pt idx="290">0</cx:pt>
          <cx:pt idx="291">0</cx:pt>
          <cx:pt idx="292">0</cx:pt>
          <cx:pt idx="293">0</cx:pt>
          <cx:pt idx="294">0</cx:pt>
          <cx:pt idx="295">0</cx:pt>
          <cx:pt idx="296">0</cx:pt>
          <cx:pt idx="297">0</cx:pt>
          <cx:pt idx="298">0</cx:pt>
          <cx:pt idx="299">0</cx:pt>
          <cx:pt idx="300">10.6</cx:pt>
          <cx:pt idx="301">10.6</cx:pt>
          <cx:pt idx="302">1</cx:pt>
          <cx:pt idx="303">0</cx:pt>
          <cx:pt idx="304">0</cx:pt>
          <cx:pt idx="305">0</cx:pt>
          <cx:pt idx="306">0</cx:pt>
          <cx:pt idx="307">0</cx:pt>
          <cx:pt idx="308">0</cx:pt>
          <cx:pt idx="309">0</cx:pt>
          <cx:pt idx="310">0</cx:pt>
          <cx:pt idx="311">0</cx:pt>
          <cx:pt idx="312">0</cx:pt>
          <cx:pt idx="313">0</cx:pt>
          <cx:pt idx="314">0</cx:pt>
          <cx:pt idx="315">0</cx:pt>
          <cx:pt idx="316">0</cx:pt>
          <cx:pt idx="317">0</cx:pt>
          <cx:pt idx="318">0</cx:pt>
          <cx:pt idx="319">0</cx:pt>
          <cx:pt idx="320">0</cx:pt>
          <cx:pt idx="321">0</cx:pt>
          <cx:pt idx="322">0</cx:pt>
          <cx:pt idx="323">0</cx:pt>
          <cx:pt idx="324">0</cx:pt>
        </cx:lvl>
      </cx:numDim>
    </cx:data>
  </cx:chartData>
  <cx:chart>
    <cx:plotArea>
      <cx:plotAreaRegion>
        <cx:series layoutId="treemap" uniqueId="{1C41FD45-7A5B-40C7-A52C-AF62CBEFE573}">
          <cx:dataLabels>
            <cx:txPr>
              <a:bodyPr vertOverflow="overflow" horzOverflow="overflow" wrap="square" lIns="0" tIns="0" rIns="0" bIns="0"/>
              <a:lstStyle/>
              <a:p>
                <a:pPr algn="ctr" rtl="0">
                  <a:defRPr sz="800" b="0" i="0">
                    <a:solidFill>
                      <a:srgbClr val="FFFFFF"/>
                    </a:solidFill>
                    <a:latin typeface="Calibri" panose="020F0502020204030204" pitchFamily="34" charset="0"/>
                    <a:ea typeface="Calibri" panose="020F0502020204030204" pitchFamily="34" charset="0"/>
                    <a:cs typeface="Calibri" panose="020F0502020204030204" pitchFamily="34" charset="0"/>
                  </a:defRPr>
                </a:pPr>
                <a:endParaRPr lang="el-GR" sz="800"/>
              </a:p>
            </cx:txPr>
          </cx:dataLabels>
          <cx:dataId val="0"/>
          <cx:layoutPr/>
        </cx:series>
      </cx:plotAreaRegion>
    </cx:plotArea>
    <cx:legend pos="b" align="ctr" overlay="0">
      <cx:txPr>
        <a:bodyPr spcFirstLastPara="1" vertOverflow="ellipsis" horzOverflow="overflow" wrap="square" lIns="0" tIns="0" rIns="0" bIns="0" anchor="ctr" anchorCtr="1"/>
        <a:lstStyle/>
        <a:p>
          <a:pPr algn="ctr" rtl="0">
            <a:defRPr sz="900"/>
          </a:pPr>
          <a:endParaRPr lang="en-US" sz="900" b="0" i="0" u="none" strike="noStrike" baseline="0">
            <a:solidFill>
              <a:prstClr val="black">
                <a:lumMod val="65000"/>
                <a:lumOff val="35000"/>
              </a:prstClr>
            </a:solidFill>
            <a:latin typeface="Calibri" panose="020F0502020204030204"/>
          </a:endParaRPr>
        </a:p>
      </cx:txPr>
    </cx:legend>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jp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pn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png"/><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png"/><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1.png"/><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png"/><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png"/><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2.png"/><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33"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34" name="PlaceHolder 2"/>
          <p:cNvSpPr>
            <a:spLocks noGrp="1"/>
          </p:cNvSpPr>
          <p:nvPr>
            <p:ph type="body"/>
          </p:nvPr>
        </p:nvSpPr>
        <p:spPr>
          <a:xfrm>
            <a:off x="609480" y="1604520"/>
            <a:ext cx="10972440" cy="1896840"/>
          </a:xfrm>
          <a:prstGeom prst="rect">
            <a:avLst/>
          </a:prstGeom>
        </p:spPr>
        <p:txBody>
          <a:bodyPr lIns="0" tIns="0" rIns="0" bIns="0">
            <a:normAutofit/>
          </a:bodyPr>
          <a:lstStyle/>
          <a:p>
            <a:endParaRPr lang="en-US" sz="3200" b="0" strike="noStrike" spc="-1">
              <a:latin typeface="Arial"/>
            </a:endParaRPr>
          </a:p>
        </p:txBody>
      </p:sp>
      <p:sp>
        <p:nvSpPr>
          <p:cNvPr id="35" name="PlaceHolder 3"/>
          <p:cNvSpPr>
            <a:spLocks noGrp="1"/>
          </p:cNvSpPr>
          <p:nvPr>
            <p:ph type="body"/>
          </p:nvPr>
        </p:nvSpPr>
        <p:spPr>
          <a:xfrm>
            <a:off x="609480" y="3682080"/>
            <a:ext cx="109724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36"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37"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3200" b="0" strike="noStrike" spc="-1">
              <a:latin typeface="Arial"/>
            </a:endParaRPr>
          </a:p>
        </p:txBody>
      </p:sp>
      <p:sp>
        <p:nvSpPr>
          <p:cNvPr id="38"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3200" b="0" strike="noStrike" spc="-1">
              <a:latin typeface="Arial"/>
            </a:endParaRPr>
          </a:p>
        </p:txBody>
      </p:sp>
      <p:sp>
        <p:nvSpPr>
          <p:cNvPr id="39" name="PlaceHolder 4"/>
          <p:cNvSpPr>
            <a:spLocks noGrp="1"/>
          </p:cNvSpPr>
          <p:nvPr>
            <p:ph type="body"/>
          </p:nvPr>
        </p:nvSpPr>
        <p:spPr>
          <a:xfrm>
            <a:off x="609480" y="3682080"/>
            <a:ext cx="5354280" cy="1896840"/>
          </a:xfrm>
          <a:prstGeom prst="rect">
            <a:avLst/>
          </a:prstGeom>
        </p:spPr>
        <p:txBody>
          <a:bodyPr lIns="0" tIns="0" rIns="0" bIns="0">
            <a:normAutofit/>
          </a:bodyPr>
          <a:lstStyle/>
          <a:p>
            <a:endParaRPr lang="en-US" sz="3200" b="0" strike="noStrike" spc="-1">
              <a:latin typeface="Arial"/>
            </a:endParaRPr>
          </a:p>
        </p:txBody>
      </p:sp>
      <p:sp>
        <p:nvSpPr>
          <p:cNvPr id="40" name="PlaceHolder 5"/>
          <p:cNvSpPr>
            <a:spLocks noGrp="1"/>
          </p:cNvSpPr>
          <p:nvPr>
            <p:ph type="body"/>
          </p:nvPr>
        </p:nvSpPr>
        <p:spPr>
          <a:xfrm>
            <a:off x="6231960" y="3682080"/>
            <a:ext cx="535428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41"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42" name="PlaceHolder 2"/>
          <p:cNvSpPr>
            <a:spLocks noGrp="1"/>
          </p:cNvSpPr>
          <p:nvPr>
            <p:ph type="body"/>
          </p:nvPr>
        </p:nvSpPr>
        <p:spPr>
          <a:xfrm>
            <a:off x="609480" y="1604520"/>
            <a:ext cx="3533040" cy="1896840"/>
          </a:xfrm>
          <a:prstGeom prst="rect">
            <a:avLst/>
          </a:prstGeom>
        </p:spPr>
        <p:txBody>
          <a:bodyPr lIns="0" tIns="0" rIns="0" bIns="0">
            <a:normAutofit/>
          </a:bodyPr>
          <a:lstStyle/>
          <a:p>
            <a:endParaRPr lang="en-US" sz="3200" b="0" strike="noStrike" spc="-1">
              <a:latin typeface="Arial"/>
            </a:endParaRPr>
          </a:p>
        </p:txBody>
      </p:sp>
      <p:sp>
        <p:nvSpPr>
          <p:cNvPr id="43" name="PlaceHolder 3"/>
          <p:cNvSpPr>
            <a:spLocks noGrp="1"/>
          </p:cNvSpPr>
          <p:nvPr>
            <p:ph type="body"/>
          </p:nvPr>
        </p:nvSpPr>
        <p:spPr>
          <a:xfrm>
            <a:off x="4319640" y="1604520"/>
            <a:ext cx="3533040" cy="1896840"/>
          </a:xfrm>
          <a:prstGeom prst="rect">
            <a:avLst/>
          </a:prstGeom>
        </p:spPr>
        <p:txBody>
          <a:bodyPr lIns="0" tIns="0" rIns="0" bIns="0">
            <a:normAutofit/>
          </a:bodyPr>
          <a:lstStyle/>
          <a:p>
            <a:endParaRPr lang="en-US" sz="3200" b="0" strike="noStrike" spc="-1">
              <a:latin typeface="Arial"/>
            </a:endParaRPr>
          </a:p>
        </p:txBody>
      </p:sp>
      <p:sp>
        <p:nvSpPr>
          <p:cNvPr id="44" name="PlaceHolder 4"/>
          <p:cNvSpPr>
            <a:spLocks noGrp="1"/>
          </p:cNvSpPr>
          <p:nvPr>
            <p:ph type="body"/>
          </p:nvPr>
        </p:nvSpPr>
        <p:spPr>
          <a:xfrm>
            <a:off x="8029800" y="1604520"/>
            <a:ext cx="3533040" cy="1896840"/>
          </a:xfrm>
          <a:prstGeom prst="rect">
            <a:avLst/>
          </a:prstGeom>
        </p:spPr>
        <p:txBody>
          <a:bodyPr lIns="0" tIns="0" rIns="0" bIns="0">
            <a:normAutofit/>
          </a:bodyPr>
          <a:lstStyle/>
          <a:p>
            <a:endParaRPr lang="en-US" sz="3200" b="0" strike="noStrike" spc="-1">
              <a:latin typeface="Arial"/>
            </a:endParaRPr>
          </a:p>
        </p:txBody>
      </p:sp>
      <p:sp>
        <p:nvSpPr>
          <p:cNvPr id="45" name="PlaceHolder 5"/>
          <p:cNvSpPr>
            <a:spLocks noGrp="1"/>
          </p:cNvSpPr>
          <p:nvPr>
            <p:ph type="body"/>
          </p:nvPr>
        </p:nvSpPr>
        <p:spPr>
          <a:xfrm>
            <a:off x="609480" y="3682080"/>
            <a:ext cx="3533040" cy="1896840"/>
          </a:xfrm>
          <a:prstGeom prst="rect">
            <a:avLst/>
          </a:prstGeom>
        </p:spPr>
        <p:txBody>
          <a:bodyPr lIns="0" tIns="0" rIns="0" bIns="0">
            <a:normAutofit/>
          </a:bodyPr>
          <a:lstStyle/>
          <a:p>
            <a:endParaRPr lang="en-US" sz="3200" b="0" strike="noStrike" spc="-1">
              <a:latin typeface="Arial"/>
            </a:endParaRPr>
          </a:p>
        </p:txBody>
      </p:sp>
      <p:sp>
        <p:nvSpPr>
          <p:cNvPr id="46" name="PlaceHolder 6"/>
          <p:cNvSpPr>
            <a:spLocks noGrp="1"/>
          </p:cNvSpPr>
          <p:nvPr>
            <p:ph type="body"/>
          </p:nvPr>
        </p:nvSpPr>
        <p:spPr>
          <a:xfrm>
            <a:off x="4319640" y="3682080"/>
            <a:ext cx="3533040" cy="1896840"/>
          </a:xfrm>
          <a:prstGeom prst="rect">
            <a:avLst/>
          </a:prstGeom>
        </p:spPr>
        <p:txBody>
          <a:bodyPr lIns="0" tIns="0" rIns="0" bIns="0">
            <a:normAutofit/>
          </a:bodyPr>
          <a:lstStyle/>
          <a:p>
            <a:endParaRPr lang="en-US" sz="3200" b="0" strike="noStrike" spc="-1">
              <a:latin typeface="Arial"/>
            </a:endParaRPr>
          </a:p>
        </p:txBody>
      </p:sp>
      <p:sp>
        <p:nvSpPr>
          <p:cNvPr id="47" name="PlaceHolder 7"/>
          <p:cNvSpPr>
            <a:spLocks noGrp="1"/>
          </p:cNvSpPr>
          <p:nvPr>
            <p:ph type="body"/>
          </p:nvPr>
        </p:nvSpPr>
        <p:spPr>
          <a:xfrm>
            <a:off x="8029800" y="3682080"/>
            <a:ext cx="35330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57"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58" name="PlaceHolder 2"/>
          <p:cNvSpPr>
            <a:spLocks noGrp="1"/>
          </p:cNvSpPr>
          <p:nvPr>
            <p:ph type="subTitle"/>
          </p:nvPr>
        </p:nvSpPr>
        <p:spPr>
          <a:xfrm>
            <a:off x="609480" y="1604520"/>
            <a:ext cx="10972440" cy="3977280"/>
          </a:xfrm>
          <a:prstGeom prst="rect">
            <a:avLst/>
          </a:prstGeom>
        </p:spPr>
        <p:txBody>
          <a:bodyPr lIns="0" tIns="0" rIns="0" bIns="0" anchor="ctr">
            <a:noAutofit/>
          </a:bodyPr>
          <a:lstStyle/>
          <a:p>
            <a:pPr algn="ctr"/>
            <a:endParaRPr lang="en-US" sz="3200" b="0" strike="noStrike" spc="-1">
              <a:latin typeface="Aria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59"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60" name="PlaceHolder 2"/>
          <p:cNvSpPr>
            <a:spLocks noGrp="1"/>
          </p:cNvSpPr>
          <p:nvPr>
            <p:ph type="body"/>
          </p:nvPr>
        </p:nvSpPr>
        <p:spPr>
          <a:xfrm>
            <a:off x="609480" y="1604520"/>
            <a:ext cx="10972440" cy="397728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61"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62"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3200" b="0" strike="noStrike" spc="-1">
              <a:latin typeface="Arial"/>
            </a:endParaRPr>
          </a:p>
        </p:txBody>
      </p:sp>
      <p:sp>
        <p:nvSpPr>
          <p:cNvPr id="63" name="PlaceHolder 3"/>
          <p:cNvSpPr>
            <a:spLocks noGrp="1"/>
          </p:cNvSpPr>
          <p:nvPr>
            <p:ph type="body"/>
          </p:nvPr>
        </p:nvSpPr>
        <p:spPr>
          <a:xfrm>
            <a:off x="6231960" y="1604520"/>
            <a:ext cx="5354280" cy="397728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4"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65" name="PlaceHolder 1"/>
          <p:cNvSpPr>
            <a:spLocks noGrp="1"/>
          </p:cNvSpPr>
          <p:nvPr>
            <p:ph type="subTitle"/>
          </p:nvPr>
        </p:nvSpPr>
        <p:spPr>
          <a:xfrm>
            <a:off x="609480" y="273600"/>
            <a:ext cx="10972440" cy="5307840"/>
          </a:xfrm>
          <a:prstGeom prst="rect">
            <a:avLst/>
          </a:prstGeom>
        </p:spPr>
        <p:txBody>
          <a:bodyPr lIns="0" tIns="0" rIns="0" bIns="0" anchor="ctr">
            <a:noAutofit/>
          </a:bodyPr>
          <a:lstStyle/>
          <a:p>
            <a:pPr algn="ctr"/>
            <a:endParaRPr lang="en-US" sz="3200" b="0" strike="noStrike" spc="-1">
              <a:latin typeface="Aria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66"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67"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3200" b="0" strike="noStrike" spc="-1">
              <a:latin typeface="Arial"/>
            </a:endParaRPr>
          </a:p>
        </p:txBody>
      </p:sp>
      <p:sp>
        <p:nvSpPr>
          <p:cNvPr id="68" name="PlaceHolder 3"/>
          <p:cNvSpPr>
            <a:spLocks noGrp="1"/>
          </p:cNvSpPr>
          <p:nvPr>
            <p:ph type="body"/>
          </p:nvPr>
        </p:nvSpPr>
        <p:spPr>
          <a:xfrm>
            <a:off x="6231960" y="1604520"/>
            <a:ext cx="5354280" cy="3977280"/>
          </a:xfrm>
          <a:prstGeom prst="rect">
            <a:avLst/>
          </a:prstGeom>
        </p:spPr>
        <p:txBody>
          <a:bodyPr lIns="0" tIns="0" rIns="0" bIns="0">
            <a:normAutofit/>
          </a:bodyPr>
          <a:lstStyle/>
          <a:p>
            <a:endParaRPr lang="en-US" sz="3200" b="0" strike="noStrike" spc="-1">
              <a:latin typeface="Arial"/>
            </a:endParaRPr>
          </a:p>
        </p:txBody>
      </p:sp>
      <p:sp>
        <p:nvSpPr>
          <p:cNvPr id="69" name="PlaceHolder 4"/>
          <p:cNvSpPr>
            <a:spLocks noGrp="1"/>
          </p:cNvSpPr>
          <p:nvPr>
            <p:ph type="body"/>
          </p:nvPr>
        </p:nvSpPr>
        <p:spPr>
          <a:xfrm>
            <a:off x="609480" y="3682080"/>
            <a:ext cx="535428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12"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dirty="0">
              <a:latin typeface="Arial"/>
            </a:endParaRPr>
          </a:p>
        </p:txBody>
      </p:sp>
      <p:sp>
        <p:nvSpPr>
          <p:cNvPr id="13" name="PlaceHolder 2"/>
          <p:cNvSpPr>
            <a:spLocks noGrp="1"/>
          </p:cNvSpPr>
          <p:nvPr>
            <p:ph type="subTitle"/>
          </p:nvPr>
        </p:nvSpPr>
        <p:spPr>
          <a:xfrm>
            <a:off x="609480" y="1604520"/>
            <a:ext cx="10972440" cy="3977280"/>
          </a:xfrm>
          <a:prstGeom prst="rect">
            <a:avLst/>
          </a:prstGeom>
        </p:spPr>
        <p:txBody>
          <a:bodyPr lIns="0" tIns="0" rIns="0" bIns="0" anchor="ctr">
            <a:noAutofit/>
          </a:bodyPr>
          <a:lstStyle/>
          <a:p>
            <a:pPr algn="ctr"/>
            <a:endParaRPr lang="en-US" sz="3200" b="0" strike="noStrike" spc="-1">
              <a:latin typeface="Aria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70"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71"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3200" b="0" strike="noStrike" spc="-1">
              <a:latin typeface="Arial"/>
            </a:endParaRPr>
          </a:p>
        </p:txBody>
      </p:sp>
      <p:sp>
        <p:nvSpPr>
          <p:cNvPr id="72"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3200" b="0" strike="noStrike" spc="-1">
              <a:latin typeface="Arial"/>
            </a:endParaRPr>
          </a:p>
        </p:txBody>
      </p:sp>
      <p:sp>
        <p:nvSpPr>
          <p:cNvPr id="73" name="PlaceHolder 4"/>
          <p:cNvSpPr>
            <a:spLocks noGrp="1"/>
          </p:cNvSpPr>
          <p:nvPr>
            <p:ph type="body"/>
          </p:nvPr>
        </p:nvSpPr>
        <p:spPr>
          <a:xfrm>
            <a:off x="6231960" y="3682080"/>
            <a:ext cx="535428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74"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75"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3200" b="0" strike="noStrike" spc="-1">
              <a:latin typeface="Arial"/>
            </a:endParaRPr>
          </a:p>
        </p:txBody>
      </p:sp>
      <p:sp>
        <p:nvSpPr>
          <p:cNvPr id="76"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3200" b="0" strike="noStrike" spc="-1">
              <a:latin typeface="Arial"/>
            </a:endParaRPr>
          </a:p>
        </p:txBody>
      </p:sp>
      <p:sp>
        <p:nvSpPr>
          <p:cNvPr id="77" name="PlaceHolder 4"/>
          <p:cNvSpPr>
            <a:spLocks noGrp="1"/>
          </p:cNvSpPr>
          <p:nvPr>
            <p:ph type="body"/>
          </p:nvPr>
        </p:nvSpPr>
        <p:spPr>
          <a:xfrm>
            <a:off x="609480" y="3682080"/>
            <a:ext cx="109724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78"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79" name="PlaceHolder 2"/>
          <p:cNvSpPr>
            <a:spLocks noGrp="1"/>
          </p:cNvSpPr>
          <p:nvPr>
            <p:ph type="body"/>
          </p:nvPr>
        </p:nvSpPr>
        <p:spPr>
          <a:xfrm>
            <a:off x="609480" y="1604520"/>
            <a:ext cx="10972440" cy="1896840"/>
          </a:xfrm>
          <a:prstGeom prst="rect">
            <a:avLst/>
          </a:prstGeom>
        </p:spPr>
        <p:txBody>
          <a:bodyPr lIns="0" tIns="0" rIns="0" bIns="0">
            <a:normAutofit/>
          </a:bodyPr>
          <a:lstStyle/>
          <a:p>
            <a:endParaRPr lang="en-US" sz="3200" b="0" strike="noStrike" spc="-1">
              <a:latin typeface="Arial"/>
            </a:endParaRPr>
          </a:p>
        </p:txBody>
      </p:sp>
      <p:sp>
        <p:nvSpPr>
          <p:cNvPr id="80" name="PlaceHolder 3"/>
          <p:cNvSpPr>
            <a:spLocks noGrp="1"/>
          </p:cNvSpPr>
          <p:nvPr>
            <p:ph type="body"/>
          </p:nvPr>
        </p:nvSpPr>
        <p:spPr>
          <a:xfrm>
            <a:off x="609480" y="3682080"/>
            <a:ext cx="109724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81"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82"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3200" b="0" strike="noStrike" spc="-1">
              <a:latin typeface="Arial"/>
            </a:endParaRPr>
          </a:p>
        </p:txBody>
      </p:sp>
      <p:sp>
        <p:nvSpPr>
          <p:cNvPr id="83"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3200" b="0" strike="noStrike" spc="-1">
              <a:latin typeface="Arial"/>
            </a:endParaRPr>
          </a:p>
        </p:txBody>
      </p:sp>
      <p:sp>
        <p:nvSpPr>
          <p:cNvPr id="84" name="PlaceHolder 4"/>
          <p:cNvSpPr>
            <a:spLocks noGrp="1"/>
          </p:cNvSpPr>
          <p:nvPr>
            <p:ph type="body"/>
          </p:nvPr>
        </p:nvSpPr>
        <p:spPr>
          <a:xfrm>
            <a:off x="609480" y="3682080"/>
            <a:ext cx="5354280" cy="1896840"/>
          </a:xfrm>
          <a:prstGeom prst="rect">
            <a:avLst/>
          </a:prstGeom>
        </p:spPr>
        <p:txBody>
          <a:bodyPr lIns="0" tIns="0" rIns="0" bIns="0">
            <a:normAutofit/>
          </a:bodyPr>
          <a:lstStyle/>
          <a:p>
            <a:endParaRPr lang="en-US" sz="3200" b="0" strike="noStrike" spc="-1">
              <a:latin typeface="Arial"/>
            </a:endParaRPr>
          </a:p>
        </p:txBody>
      </p:sp>
      <p:sp>
        <p:nvSpPr>
          <p:cNvPr id="85" name="PlaceHolder 5"/>
          <p:cNvSpPr>
            <a:spLocks noGrp="1"/>
          </p:cNvSpPr>
          <p:nvPr>
            <p:ph type="body"/>
          </p:nvPr>
        </p:nvSpPr>
        <p:spPr>
          <a:xfrm>
            <a:off x="6231960" y="3682080"/>
            <a:ext cx="535428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86"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87" name="PlaceHolder 2"/>
          <p:cNvSpPr>
            <a:spLocks noGrp="1"/>
          </p:cNvSpPr>
          <p:nvPr>
            <p:ph type="body"/>
          </p:nvPr>
        </p:nvSpPr>
        <p:spPr>
          <a:xfrm>
            <a:off x="609480" y="1604520"/>
            <a:ext cx="3533040" cy="1896840"/>
          </a:xfrm>
          <a:prstGeom prst="rect">
            <a:avLst/>
          </a:prstGeom>
        </p:spPr>
        <p:txBody>
          <a:bodyPr lIns="0" tIns="0" rIns="0" bIns="0">
            <a:normAutofit/>
          </a:bodyPr>
          <a:lstStyle/>
          <a:p>
            <a:endParaRPr lang="en-US" sz="3200" b="0" strike="noStrike" spc="-1">
              <a:latin typeface="Arial"/>
            </a:endParaRPr>
          </a:p>
        </p:txBody>
      </p:sp>
      <p:sp>
        <p:nvSpPr>
          <p:cNvPr id="88" name="PlaceHolder 3"/>
          <p:cNvSpPr>
            <a:spLocks noGrp="1"/>
          </p:cNvSpPr>
          <p:nvPr>
            <p:ph type="body"/>
          </p:nvPr>
        </p:nvSpPr>
        <p:spPr>
          <a:xfrm>
            <a:off x="4319640" y="1604520"/>
            <a:ext cx="3533040" cy="1896840"/>
          </a:xfrm>
          <a:prstGeom prst="rect">
            <a:avLst/>
          </a:prstGeom>
        </p:spPr>
        <p:txBody>
          <a:bodyPr lIns="0" tIns="0" rIns="0" bIns="0">
            <a:normAutofit/>
          </a:bodyPr>
          <a:lstStyle/>
          <a:p>
            <a:endParaRPr lang="en-US" sz="3200" b="0" strike="noStrike" spc="-1">
              <a:latin typeface="Arial"/>
            </a:endParaRPr>
          </a:p>
        </p:txBody>
      </p:sp>
      <p:sp>
        <p:nvSpPr>
          <p:cNvPr id="89" name="PlaceHolder 4"/>
          <p:cNvSpPr>
            <a:spLocks noGrp="1"/>
          </p:cNvSpPr>
          <p:nvPr>
            <p:ph type="body"/>
          </p:nvPr>
        </p:nvSpPr>
        <p:spPr>
          <a:xfrm>
            <a:off x="8029800" y="1604520"/>
            <a:ext cx="3533040" cy="1896840"/>
          </a:xfrm>
          <a:prstGeom prst="rect">
            <a:avLst/>
          </a:prstGeom>
        </p:spPr>
        <p:txBody>
          <a:bodyPr lIns="0" tIns="0" rIns="0" bIns="0">
            <a:normAutofit/>
          </a:bodyPr>
          <a:lstStyle/>
          <a:p>
            <a:endParaRPr lang="en-US" sz="3200" b="0" strike="noStrike" spc="-1">
              <a:latin typeface="Arial"/>
            </a:endParaRPr>
          </a:p>
        </p:txBody>
      </p:sp>
      <p:sp>
        <p:nvSpPr>
          <p:cNvPr id="90" name="PlaceHolder 5"/>
          <p:cNvSpPr>
            <a:spLocks noGrp="1"/>
          </p:cNvSpPr>
          <p:nvPr>
            <p:ph type="body"/>
          </p:nvPr>
        </p:nvSpPr>
        <p:spPr>
          <a:xfrm>
            <a:off x="609480" y="3682080"/>
            <a:ext cx="3533040" cy="1896840"/>
          </a:xfrm>
          <a:prstGeom prst="rect">
            <a:avLst/>
          </a:prstGeom>
        </p:spPr>
        <p:txBody>
          <a:bodyPr lIns="0" tIns="0" rIns="0" bIns="0">
            <a:normAutofit/>
          </a:bodyPr>
          <a:lstStyle/>
          <a:p>
            <a:endParaRPr lang="en-US" sz="3200" b="0" strike="noStrike" spc="-1">
              <a:latin typeface="Arial"/>
            </a:endParaRPr>
          </a:p>
        </p:txBody>
      </p:sp>
      <p:sp>
        <p:nvSpPr>
          <p:cNvPr id="91" name="PlaceHolder 6"/>
          <p:cNvSpPr>
            <a:spLocks noGrp="1"/>
          </p:cNvSpPr>
          <p:nvPr>
            <p:ph type="body"/>
          </p:nvPr>
        </p:nvSpPr>
        <p:spPr>
          <a:xfrm>
            <a:off x="4319640" y="3682080"/>
            <a:ext cx="3533040" cy="1896840"/>
          </a:xfrm>
          <a:prstGeom prst="rect">
            <a:avLst/>
          </a:prstGeom>
        </p:spPr>
        <p:txBody>
          <a:bodyPr lIns="0" tIns="0" rIns="0" bIns="0">
            <a:normAutofit/>
          </a:bodyPr>
          <a:lstStyle/>
          <a:p>
            <a:endParaRPr lang="en-US" sz="3200" b="0" strike="noStrike" spc="-1">
              <a:latin typeface="Arial"/>
            </a:endParaRPr>
          </a:p>
        </p:txBody>
      </p:sp>
      <p:sp>
        <p:nvSpPr>
          <p:cNvPr id="92" name="PlaceHolder 7"/>
          <p:cNvSpPr>
            <a:spLocks noGrp="1"/>
          </p:cNvSpPr>
          <p:nvPr>
            <p:ph type="body"/>
          </p:nvPr>
        </p:nvSpPr>
        <p:spPr>
          <a:xfrm>
            <a:off x="8029800" y="3682080"/>
            <a:ext cx="35330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97"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98" name="PlaceHolder 2"/>
          <p:cNvSpPr>
            <a:spLocks noGrp="1"/>
          </p:cNvSpPr>
          <p:nvPr>
            <p:ph type="subTitle"/>
          </p:nvPr>
        </p:nvSpPr>
        <p:spPr>
          <a:xfrm>
            <a:off x="609480" y="1604520"/>
            <a:ext cx="10972440" cy="3977280"/>
          </a:xfrm>
          <a:prstGeom prst="rect">
            <a:avLst/>
          </a:prstGeom>
        </p:spPr>
        <p:txBody>
          <a:bodyPr lIns="0" tIns="0" rIns="0" bIns="0" anchor="ctr">
            <a:noAutofit/>
          </a:bodyPr>
          <a:lstStyle/>
          <a:p>
            <a:pPr algn="ctr"/>
            <a:endParaRPr lang="en-US" sz="3200" b="0" strike="noStrike" spc="-1">
              <a:latin typeface="Arial"/>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99"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00" name="PlaceHolder 2"/>
          <p:cNvSpPr>
            <a:spLocks noGrp="1"/>
          </p:cNvSpPr>
          <p:nvPr>
            <p:ph type="body"/>
          </p:nvPr>
        </p:nvSpPr>
        <p:spPr>
          <a:xfrm>
            <a:off x="609480" y="1604520"/>
            <a:ext cx="10972440" cy="397728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101"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02"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3200" b="0" strike="noStrike" spc="-1">
              <a:latin typeface="Arial"/>
            </a:endParaRPr>
          </a:p>
        </p:txBody>
      </p:sp>
      <p:sp>
        <p:nvSpPr>
          <p:cNvPr id="103" name="PlaceHolder 3"/>
          <p:cNvSpPr>
            <a:spLocks noGrp="1"/>
          </p:cNvSpPr>
          <p:nvPr>
            <p:ph type="body"/>
          </p:nvPr>
        </p:nvSpPr>
        <p:spPr>
          <a:xfrm>
            <a:off x="6231960" y="1604520"/>
            <a:ext cx="5354280" cy="397728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04"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14"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5" name="PlaceHolder 2"/>
          <p:cNvSpPr>
            <a:spLocks noGrp="1"/>
          </p:cNvSpPr>
          <p:nvPr>
            <p:ph type="body"/>
          </p:nvPr>
        </p:nvSpPr>
        <p:spPr>
          <a:xfrm>
            <a:off x="609480" y="1604520"/>
            <a:ext cx="10972440" cy="397728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05" name="PlaceHolder 1"/>
          <p:cNvSpPr>
            <a:spLocks noGrp="1"/>
          </p:cNvSpPr>
          <p:nvPr>
            <p:ph type="subTitle"/>
          </p:nvPr>
        </p:nvSpPr>
        <p:spPr>
          <a:xfrm>
            <a:off x="609480" y="273600"/>
            <a:ext cx="10972440" cy="5307840"/>
          </a:xfrm>
          <a:prstGeom prst="rect">
            <a:avLst/>
          </a:prstGeom>
        </p:spPr>
        <p:txBody>
          <a:bodyPr lIns="0" tIns="0" rIns="0" bIns="0" anchor="ctr">
            <a:noAutofit/>
          </a:bodyPr>
          <a:lstStyle/>
          <a:p>
            <a:pPr algn="ctr"/>
            <a:endParaRPr lang="en-US" sz="3200" b="0" strike="noStrike" spc="-1">
              <a:latin typeface="Aria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06"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07"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3200" b="0" strike="noStrike" spc="-1">
              <a:latin typeface="Arial"/>
            </a:endParaRPr>
          </a:p>
        </p:txBody>
      </p:sp>
      <p:sp>
        <p:nvSpPr>
          <p:cNvPr id="108" name="PlaceHolder 3"/>
          <p:cNvSpPr>
            <a:spLocks noGrp="1"/>
          </p:cNvSpPr>
          <p:nvPr>
            <p:ph type="body"/>
          </p:nvPr>
        </p:nvSpPr>
        <p:spPr>
          <a:xfrm>
            <a:off x="6231960" y="1604520"/>
            <a:ext cx="5354280" cy="3977280"/>
          </a:xfrm>
          <a:prstGeom prst="rect">
            <a:avLst/>
          </a:prstGeom>
        </p:spPr>
        <p:txBody>
          <a:bodyPr lIns="0" tIns="0" rIns="0" bIns="0">
            <a:normAutofit/>
          </a:bodyPr>
          <a:lstStyle/>
          <a:p>
            <a:endParaRPr lang="en-US" sz="3200" b="0" strike="noStrike" spc="-1">
              <a:latin typeface="Arial"/>
            </a:endParaRPr>
          </a:p>
        </p:txBody>
      </p:sp>
      <p:sp>
        <p:nvSpPr>
          <p:cNvPr id="109" name="PlaceHolder 4"/>
          <p:cNvSpPr>
            <a:spLocks noGrp="1"/>
          </p:cNvSpPr>
          <p:nvPr>
            <p:ph type="body"/>
          </p:nvPr>
        </p:nvSpPr>
        <p:spPr>
          <a:xfrm>
            <a:off x="609480" y="3682080"/>
            <a:ext cx="535428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10"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11"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3200" b="0" strike="noStrike" spc="-1">
              <a:latin typeface="Arial"/>
            </a:endParaRPr>
          </a:p>
        </p:txBody>
      </p:sp>
      <p:sp>
        <p:nvSpPr>
          <p:cNvPr id="112"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3200" b="0" strike="noStrike" spc="-1">
              <a:latin typeface="Arial"/>
            </a:endParaRPr>
          </a:p>
        </p:txBody>
      </p:sp>
      <p:sp>
        <p:nvSpPr>
          <p:cNvPr id="113" name="PlaceHolder 4"/>
          <p:cNvSpPr>
            <a:spLocks noGrp="1"/>
          </p:cNvSpPr>
          <p:nvPr>
            <p:ph type="body"/>
          </p:nvPr>
        </p:nvSpPr>
        <p:spPr>
          <a:xfrm>
            <a:off x="6231960" y="3682080"/>
            <a:ext cx="535428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114"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15"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3200" b="0" strike="noStrike" spc="-1">
              <a:latin typeface="Arial"/>
            </a:endParaRPr>
          </a:p>
        </p:txBody>
      </p:sp>
      <p:sp>
        <p:nvSpPr>
          <p:cNvPr id="116"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3200" b="0" strike="noStrike" spc="-1">
              <a:latin typeface="Arial"/>
            </a:endParaRPr>
          </a:p>
        </p:txBody>
      </p:sp>
      <p:sp>
        <p:nvSpPr>
          <p:cNvPr id="117" name="PlaceHolder 4"/>
          <p:cNvSpPr>
            <a:spLocks noGrp="1"/>
          </p:cNvSpPr>
          <p:nvPr>
            <p:ph type="body"/>
          </p:nvPr>
        </p:nvSpPr>
        <p:spPr>
          <a:xfrm>
            <a:off x="609480" y="3682080"/>
            <a:ext cx="109724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118"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19" name="PlaceHolder 2"/>
          <p:cNvSpPr>
            <a:spLocks noGrp="1"/>
          </p:cNvSpPr>
          <p:nvPr>
            <p:ph type="body"/>
          </p:nvPr>
        </p:nvSpPr>
        <p:spPr>
          <a:xfrm>
            <a:off x="609480" y="1604520"/>
            <a:ext cx="10972440" cy="1896840"/>
          </a:xfrm>
          <a:prstGeom prst="rect">
            <a:avLst/>
          </a:prstGeom>
        </p:spPr>
        <p:txBody>
          <a:bodyPr lIns="0" tIns="0" rIns="0" bIns="0">
            <a:normAutofit/>
          </a:bodyPr>
          <a:lstStyle/>
          <a:p>
            <a:endParaRPr lang="en-US" sz="3200" b="0" strike="noStrike" spc="-1">
              <a:latin typeface="Arial"/>
            </a:endParaRPr>
          </a:p>
        </p:txBody>
      </p:sp>
      <p:sp>
        <p:nvSpPr>
          <p:cNvPr id="120" name="PlaceHolder 3"/>
          <p:cNvSpPr>
            <a:spLocks noGrp="1"/>
          </p:cNvSpPr>
          <p:nvPr>
            <p:ph type="body"/>
          </p:nvPr>
        </p:nvSpPr>
        <p:spPr>
          <a:xfrm>
            <a:off x="609480" y="3682080"/>
            <a:ext cx="109724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121"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22"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3200" b="0" strike="noStrike" spc="-1">
              <a:latin typeface="Arial"/>
            </a:endParaRPr>
          </a:p>
        </p:txBody>
      </p:sp>
      <p:sp>
        <p:nvSpPr>
          <p:cNvPr id="123"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3200" b="0" strike="noStrike" spc="-1">
              <a:latin typeface="Arial"/>
            </a:endParaRPr>
          </a:p>
        </p:txBody>
      </p:sp>
      <p:sp>
        <p:nvSpPr>
          <p:cNvPr id="124" name="PlaceHolder 4"/>
          <p:cNvSpPr>
            <a:spLocks noGrp="1"/>
          </p:cNvSpPr>
          <p:nvPr>
            <p:ph type="body"/>
          </p:nvPr>
        </p:nvSpPr>
        <p:spPr>
          <a:xfrm>
            <a:off x="609480" y="3682080"/>
            <a:ext cx="5354280" cy="1896840"/>
          </a:xfrm>
          <a:prstGeom prst="rect">
            <a:avLst/>
          </a:prstGeom>
        </p:spPr>
        <p:txBody>
          <a:bodyPr lIns="0" tIns="0" rIns="0" bIns="0">
            <a:normAutofit/>
          </a:bodyPr>
          <a:lstStyle/>
          <a:p>
            <a:endParaRPr lang="en-US" sz="3200" b="0" strike="noStrike" spc="-1">
              <a:latin typeface="Arial"/>
            </a:endParaRPr>
          </a:p>
        </p:txBody>
      </p:sp>
      <p:sp>
        <p:nvSpPr>
          <p:cNvPr id="125" name="PlaceHolder 5"/>
          <p:cNvSpPr>
            <a:spLocks noGrp="1"/>
          </p:cNvSpPr>
          <p:nvPr>
            <p:ph type="body"/>
          </p:nvPr>
        </p:nvSpPr>
        <p:spPr>
          <a:xfrm>
            <a:off x="6231960" y="3682080"/>
            <a:ext cx="535428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126"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27" name="PlaceHolder 2"/>
          <p:cNvSpPr>
            <a:spLocks noGrp="1"/>
          </p:cNvSpPr>
          <p:nvPr>
            <p:ph type="body"/>
          </p:nvPr>
        </p:nvSpPr>
        <p:spPr>
          <a:xfrm>
            <a:off x="609480" y="1604520"/>
            <a:ext cx="3533040" cy="1896840"/>
          </a:xfrm>
          <a:prstGeom prst="rect">
            <a:avLst/>
          </a:prstGeom>
        </p:spPr>
        <p:txBody>
          <a:bodyPr lIns="0" tIns="0" rIns="0" bIns="0">
            <a:normAutofit/>
          </a:bodyPr>
          <a:lstStyle/>
          <a:p>
            <a:endParaRPr lang="en-US" sz="3200" b="0" strike="noStrike" spc="-1">
              <a:latin typeface="Arial"/>
            </a:endParaRPr>
          </a:p>
        </p:txBody>
      </p:sp>
      <p:sp>
        <p:nvSpPr>
          <p:cNvPr id="128" name="PlaceHolder 3"/>
          <p:cNvSpPr>
            <a:spLocks noGrp="1"/>
          </p:cNvSpPr>
          <p:nvPr>
            <p:ph type="body"/>
          </p:nvPr>
        </p:nvSpPr>
        <p:spPr>
          <a:xfrm>
            <a:off x="4319640" y="1604520"/>
            <a:ext cx="3533040" cy="1896840"/>
          </a:xfrm>
          <a:prstGeom prst="rect">
            <a:avLst/>
          </a:prstGeom>
        </p:spPr>
        <p:txBody>
          <a:bodyPr lIns="0" tIns="0" rIns="0" bIns="0">
            <a:normAutofit/>
          </a:bodyPr>
          <a:lstStyle/>
          <a:p>
            <a:endParaRPr lang="en-US" sz="3200" b="0" strike="noStrike" spc="-1">
              <a:latin typeface="Arial"/>
            </a:endParaRPr>
          </a:p>
        </p:txBody>
      </p:sp>
      <p:sp>
        <p:nvSpPr>
          <p:cNvPr id="129" name="PlaceHolder 4"/>
          <p:cNvSpPr>
            <a:spLocks noGrp="1"/>
          </p:cNvSpPr>
          <p:nvPr>
            <p:ph type="body"/>
          </p:nvPr>
        </p:nvSpPr>
        <p:spPr>
          <a:xfrm>
            <a:off x="8029800" y="1604520"/>
            <a:ext cx="3533040" cy="1896840"/>
          </a:xfrm>
          <a:prstGeom prst="rect">
            <a:avLst/>
          </a:prstGeom>
        </p:spPr>
        <p:txBody>
          <a:bodyPr lIns="0" tIns="0" rIns="0" bIns="0">
            <a:normAutofit/>
          </a:bodyPr>
          <a:lstStyle/>
          <a:p>
            <a:endParaRPr lang="en-US" sz="3200" b="0" strike="noStrike" spc="-1">
              <a:latin typeface="Arial"/>
            </a:endParaRPr>
          </a:p>
        </p:txBody>
      </p:sp>
      <p:sp>
        <p:nvSpPr>
          <p:cNvPr id="130" name="PlaceHolder 5"/>
          <p:cNvSpPr>
            <a:spLocks noGrp="1"/>
          </p:cNvSpPr>
          <p:nvPr>
            <p:ph type="body"/>
          </p:nvPr>
        </p:nvSpPr>
        <p:spPr>
          <a:xfrm>
            <a:off x="609480" y="3682080"/>
            <a:ext cx="3533040" cy="1896840"/>
          </a:xfrm>
          <a:prstGeom prst="rect">
            <a:avLst/>
          </a:prstGeom>
        </p:spPr>
        <p:txBody>
          <a:bodyPr lIns="0" tIns="0" rIns="0" bIns="0">
            <a:normAutofit/>
          </a:bodyPr>
          <a:lstStyle/>
          <a:p>
            <a:endParaRPr lang="en-US" sz="3200" b="0" strike="noStrike" spc="-1">
              <a:latin typeface="Arial"/>
            </a:endParaRPr>
          </a:p>
        </p:txBody>
      </p:sp>
      <p:sp>
        <p:nvSpPr>
          <p:cNvPr id="131" name="PlaceHolder 6"/>
          <p:cNvSpPr>
            <a:spLocks noGrp="1"/>
          </p:cNvSpPr>
          <p:nvPr>
            <p:ph type="body"/>
          </p:nvPr>
        </p:nvSpPr>
        <p:spPr>
          <a:xfrm>
            <a:off x="4319640" y="3682080"/>
            <a:ext cx="3533040" cy="1896840"/>
          </a:xfrm>
          <a:prstGeom prst="rect">
            <a:avLst/>
          </a:prstGeom>
        </p:spPr>
        <p:txBody>
          <a:bodyPr lIns="0" tIns="0" rIns="0" bIns="0">
            <a:normAutofit/>
          </a:bodyPr>
          <a:lstStyle/>
          <a:p>
            <a:endParaRPr lang="en-US" sz="3200" b="0" strike="noStrike" spc="-1">
              <a:latin typeface="Arial"/>
            </a:endParaRPr>
          </a:p>
        </p:txBody>
      </p:sp>
      <p:sp>
        <p:nvSpPr>
          <p:cNvPr id="132" name="PlaceHolder 7"/>
          <p:cNvSpPr>
            <a:spLocks noGrp="1"/>
          </p:cNvSpPr>
          <p:nvPr>
            <p:ph type="body"/>
          </p:nvPr>
        </p:nvSpPr>
        <p:spPr>
          <a:xfrm>
            <a:off x="8029800" y="3682080"/>
            <a:ext cx="35330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137"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38" name="PlaceHolder 2"/>
          <p:cNvSpPr>
            <a:spLocks noGrp="1"/>
          </p:cNvSpPr>
          <p:nvPr>
            <p:ph type="subTitle"/>
          </p:nvPr>
        </p:nvSpPr>
        <p:spPr>
          <a:xfrm>
            <a:off x="609480" y="1604520"/>
            <a:ext cx="10972440" cy="3977280"/>
          </a:xfrm>
          <a:prstGeom prst="rect">
            <a:avLst/>
          </a:prstGeom>
        </p:spPr>
        <p:txBody>
          <a:bodyPr lIns="0" tIns="0" rIns="0" bIns="0" anchor="ctr">
            <a:noAutofit/>
          </a:bodyPr>
          <a:lstStyle/>
          <a:p>
            <a:pPr algn="ctr"/>
            <a:endParaRPr lang="en-US" sz="3200" b="0" strike="noStrike" spc="-1">
              <a:latin typeface="Aria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139"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40" name="PlaceHolder 2"/>
          <p:cNvSpPr>
            <a:spLocks noGrp="1"/>
          </p:cNvSpPr>
          <p:nvPr>
            <p:ph type="body"/>
          </p:nvPr>
        </p:nvSpPr>
        <p:spPr>
          <a:xfrm>
            <a:off x="609480" y="1604520"/>
            <a:ext cx="10972440" cy="397728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16"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7"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3200" b="0" strike="noStrike" spc="-1">
              <a:latin typeface="Arial"/>
            </a:endParaRPr>
          </a:p>
        </p:txBody>
      </p:sp>
      <p:sp>
        <p:nvSpPr>
          <p:cNvPr id="18" name="PlaceHolder 3"/>
          <p:cNvSpPr>
            <a:spLocks noGrp="1"/>
          </p:cNvSpPr>
          <p:nvPr>
            <p:ph type="body"/>
          </p:nvPr>
        </p:nvSpPr>
        <p:spPr>
          <a:xfrm>
            <a:off x="6231960" y="1604520"/>
            <a:ext cx="5354280" cy="397728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141"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42"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3200" b="0" strike="noStrike" spc="-1">
              <a:latin typeface="Arial"/>
            </a:endParaRPr>
          </a:p>
        </p:txBody>
      </p:sp>
      <p:sp>
        <p:nvSpPr>
          <p:cNvPr id="143" name="PlaceHolder 3"/>
          <p:cNvSpPr>
            <a:spLocks noGrp="1"/>
          </p:cNvSpPr>
          <p:nvPr>
            <p:ph type="body"/>
          </p:nvPr>
        </p:nvSpPr>
        <p:spPr>
          <a:xfrm>
            <a:off x="6231960" y="1604520"/>
            <a:ext cx="5354280" cy="397728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44"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45" name="PlaceHolder 1"/>
          <p:cNvSpPr>
            <a:spLocks noGrp="1"/>
          </p:cNvSpPr>
          <p:nvPr>
            <p:ph type="subTitle"/>
          </p:nvPr>
        </p:nvSpPr>
        <p:spPr>
          <a:xfrm>
            <a:off x="609480" y="273600"/>
            <a:ext cx="10972440" cy="5307840"/>
          </a:xfrm>
          <a:prstGeom prst="rect">
            <a:avLst/>
          </a:prstGeom>
        </p:spPr>
        <p:txBody>
          <a:bodyPr lIns="0" tIns="0" rIns="0" bIns="0" anchor="ctr">
            <a:noAutofit/>
          </a:bodyPr>
          <a:lstStyle/>
          <a:p>
            <a:pPr algn="ctr"/>
            <a:endParaRPr lang="en-US" sz="3200" b="0" strike="noStrike" spc="-1">
              <a:latin typeface="Aria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46"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47"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3200" b="0" strike="noStrike" spc="-1">
              <a:latin typeface="Arial"/>
            </a:endParaRPr>
          </a:p>
        </p:txBody>
      </p:sp>
      <p:sp>
        <p:nvSpPr>
          <p:cNvPr id="148" name="PlaceHolder 3"/>
          <p:cNvSpPr>
            <a:spLocks noGrp="1"/>
          </p:cNvSpPr>
          <p:nvPr>
            <p:ph type="body"/>
          </p:nvPr>
        </p:nvSpPr>
        <p:spPr>
          <a:xfrm>
            <a:off x="6231960" y="1604520"/>
            <a:ext cx="5354280" cy="3977280"/>
          </a:xfrm>
          <a:prstGeom prst="rect">
            <a:avLst/>
          </a:prstGeom>
        </p:spPr>
        <p:txBody>
          <a:bodyPr lIns="0" tIns="0" rIns="0" bIns="0">
            <a:normAutofit/>
          </a:bodyPr>
          <a:lstStyle/>
          <a:p>
            <a:endParaRPr lang="en-US" sz="3200" b="0" strike="noStrike" spc="-1">
              <a:latin typeface="Arial"/>
            </a:endParaRPr>
          </a:p>
        </p:txBody>
      </p:sp>
      <p:sp>
        <p:nvSpPr>
          <p:cNvPr id="149" name="PlaceHolder 4"/>
          <p:cNvSpPr>
            <a:spLocks noGrp="1"/>
          </p:cNvSpPr>
          <p:nvPr>
            <p:ph type="body"/>
          </p:nvPr>
        </p:nvSpPr>
        <p:spPr>
          <a:xfrm>
            <a:off x="609480" y="3682080"/>
            <a:ext cx="535428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50"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51"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3200" b="0" strike="noStrike" spc="-1">
              <a:latin typeface="Arial"/>
            </a:endParaRPr>
          </a:p>
        </p:txBody>
      </p:sp>
      <p:sp>
        <p:nvSpPr>
          <p:cNvPr id="152"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3200" b="0" strike="noStrike" spc="-1">
              <a:latin typeface="Arial"/>
            </a:endParaRPr>
          </a:p>
        </p:txBody>
      </p:sp>
      <p:sp>
        <p:nvSpPr>
          <p:cNvPr id="153" name="PlaceHolder 4"/>
          <p:cNvSpPr>
            <a:spLocks noGrp="1"/>
          </p:cNvSpPr>
          <p:nvPr>
            <p:ph type="body"/>
          </p:nvPr>
        </p:nvSpPr>
        <p:spPr>
          <a:xfrm>
            <a:off x="6231960" y="3682080"/>
            <a:ext cx="535428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154"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55"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3200" b="0" strike="noStrike" spc="-1">
              <a:latin typeface="Arial"/>
            </a:endParaRPr>
          </a:p>
        </p:txBody>
      </p:sp>
      <p:sp>
        <p:nvSpPr>
          <p:cNvPr id="156"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3200" b="0" strike="noStrike" spc="-1">
              <a:latin typeface="Arial"/>
            </a:endParaRPr>
          </a:p>
        </p:txBody>
      </p:sp>
      <p:sp>
        <p:nvSpPr>
          <p:cNvPr id="157" name="PlaceHolder 4"/>
          <p:cNvSpPr>
            <a:spLocks noGrp="1"/>
          </p:cNvSpPr>
          <p:nvPr>
            <p:ph type="body"/>
          </p:nvPr>
        </p:nvSpPr>
        <p:spPr>
          <a:xfrm>
            <a:off x="609480" y="3682080"/>
            <a:ext cx="109724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158"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59" name="PlaceHolder 2"/>
          <p:cNvSpPr>
            <a:spLocks noGrp="1"/>
          </p:cNvSpPr>
          <p:nvPr>
            <p:ph type="body"/>
          </p:nvPr>
        </p:nvSpPr>
        <p:spPr>
          <a:xfrm>
            <a:off x="609480" y="1604520"/>
            <a:ext cx="10972440" cy="1896840"/>
          </a:xfrm>
          <a:prstGeom prst="rect">
            <a:avLst/>
          </a:prstGeom>
        </p:spPr>
        <p:txBody>
          <a:bodyPr lIns="0" tIns="0" rIns="0" bIns="0">
            <a:normAutofit/>
          </a:bodyPr>
          <a:lstStyle/>
          <a:p>
            <a:endParaRPr lang="en-US" sz="3200" b="0" strike="noStrike" spc="-1">
              <a:latin typeface="Arial"/>
            </a:endParaRPr>
          </a:p>
        </p:txBody>
      </p:sp>
      <p:sp>
        <p:nvSpPr>
          <p:cNvPr id="160" name="PlaceHolder 3"/>
          <p:cNvSpPr>
            <a:spLocks noGrp="1"/>
          </p:cNvSpPr>
          <p:nvPr>
            <p:ph type="body"/>
          </p:nvPr>
        </p:nvSpPr>
        <p:spPr>
          <a:xfrm>
            <a:off x="609480" y="3682080"/>
            <a:ext cx="109724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161"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62"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3200" b="0" strike="noStrike" spc="-1">
              <a:latin typeface="Arial"/>
            </a:endParaRPr>
          </a:p>
        </p:txBody>
      </p:sp>
      <p:sp>
        <p:nvSpPr>
          <p:cNvPr id="163"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3200" b="0" strike="noStrike" spc="-1">
              <a:latin typeface="Arial"/>
            </a:endParaRPr>
          </a:p>
        </p:txBody>
      </p:sp>
      <p:sp>
        <p:nvSpPr>
          <p:cNvPr id="164" name="PlaceHolder 4"/>
          <p:cNvSpPr>
            <a:spLocks noGrp="1"/>
          </p:cNvSpPr>
          <p:nvPr>
            <p:ph type="body"/>
          </p:nvPr>
        </p:nvSpPr>
        <p:spPr>
          <a:xfrm>
            <a:off x="609480" y="3682080"/>
            <a:ext cx="5354280" cy="1896840"/>
          </a:xfrm>
          <a:prstGeom prst="rect">
            <a:avLst/>
          </a:prstGeom>
        </p:spPr>
        <p:txBody>
          <a:bodyPr lIns="0" tIns="0" rIns="0" bIns="0">
            <a:normAutofit/>
          </a:bodyPr>
          <a:lstStyle/>
          <a:p>
            <a:endParaRPr lang="en-US" sz="3200" b="0" strike="noStrike" spc="-1">
              <a:latin typeface="Arial"/>
            </a:endParaRPr>
          </a:p>
        </p:txBody>
      </p:sp>
      <p:sp>
        <p:nvSpPr>
          <p:cNvPr id="165" name="PlaceHolder 5"/>
          <p:cNvSpPr>
            <a:spLocks noGrp="1"/>
          </p:cNvSpPr>
          <p:nvPr>
            <p:ph type="body"/>
          </p:nvPr>
        </p:nvSpPr>
        <p:spPr>
          <a:xfrm>
            <a:off x="6231960" y="3682080"/>
            <a:ext cx="535428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166"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67" name="PlaceHolder 2"/>
          <p:cNvSpPr>
            <a:spLocks noGrp="1"/>
          </p:cNvSpPr>
          <p:nvPr>
            <p:ph type="body"/>
          </p:nvPr>
        </p:nvSpPr>
        <p:spPr>
          <a:xfrm>
            <a:off x="609480" y="1604520"/>
            <a:ext cx="3533040" cy="1896840"/>
          </a:xfrm>
          <a:prstGeom prst="rect">
            <a:avLst/>
          </a:prstGeom>
        </p:spPr>
        <p:txBody>
          <a:bodyPr lIns="0" tIns="0" rIns="0" bIns="0">
            <a:normAutofit/>
          </a:bodyPr>
          <a:lstStyle/>
          <a:p>
            <a:endParaRPr lang="en-US" sz="3200" b="0" strike="noStrike" spc="-1">
              <a:latin typeface="Arial"/>
            </a:endParaRPr>
          </a:p>
        </p:txBody>
      </p:sp>
      <p:sp>
        <p:nvSpPr>
          <p:cNvPr id="168" name="PlaceHolder 3"/>
          <p:cNvSpPr>
            <a:spLocks noGrp="1"/>
          </p:cNvSpPr>
          <p:nvPr>
            <p:ph type="body"/>
          </p:nvPr>
        </p:nvSpPr>
        <p:spPr>
          <a:xfrm>
            <a:off x="4319640" y="1604520"/>
            <a:ext cx="3533040" cy="1896840"/>
          </a:xfrm>
          <a:prstGeom prst="rect">
            <a:avLst/>
          </a:prstGeom>
        </p:spPr>
        <p:txBody>
          <a:bodyPr lIns="0" tIns="0" rIns="0" bIns="0">
            <a:normAutofit/>
          </a:bodyPr>
          <a:lstStyle/>
          <a:p>
            <a:endParaRPr lang="en-US" sz="3200" b="0" strike="noStrike" spc="-1">
              <a:latin typeface="Arial"/>
            </a:endParaRPr>
          </a:p>
        </p:txBody>
      </p:sp>
      <p:sp>
        <p:nvSpPr>
          <p:cNvPr id="169" name="PlaceHolder 4"/>
          <p:cNvSpPr>
            <a:spLocks noGrp="1"/>
          </p:cNvSpPr>
          <p:nvPr>
            <p:ph type="body"/>
          </p:nvPr>
        </p:nvSpPr>
        <p:spPr>
          <a:xfrm>
            <a:off x="8029800" y="1604520"/>
            <a:ext cx="3533040" cy="1896840"/>
          </a:xfrm>
          <a:prstGeom prst="rect">
            <a:avLst/>
          </a:prstGeom>
        </p:spPr>
        <p:txBody>
          <a:bodyPr lIns="0" tIns="0" rIns="0" bIns="0">
            <a:normAutofit/>
          </a:bodyPr>
          <a:lstStyle/>
          <a:p>
            <a:endParaRPr lang="en-US" sz="3200" b="0" strike="noStrike" spc="-1">
              <a:latin typeface="Arial"/>
            </a:endParaRPr>
          </a:p>
        </p:txBody>
      </p:sp>
      <p:sp>
        <p:nvSpPr>
          <p:cNvPr id="170" name="PlaceHolder 5"/>
          <p:cNvSpPr>
            <a:spLocks noGrp="1"/>
          </p:cNvSpPr>
          <p:nvPr>
            <p:ph type="body"/>
          </p:nvPr>
        </p:nvSpPr>
        <p:spPr>
          <a:xfrm>
            <a:off x="609480" y="3682080"/>
            <a:ext cx="3533040" cy="1896840"/>
          </a:xfrm>
          <a:prstGeom prst="rect">
            <a:avLst/>
          </a:prstGeom>
        </p:spPr>
        <p:txBody>
          <a:bodyPr lIns="0" tIns="0" rIns="0" bIns="0">
            <a:normAutofit/>
          </a:bodyPr>
          <a:lstStyle/>
          <a:p>
            <a:endParaRPr lang="en-US" sz="3200" b="0" strike="noStrike" spc="-1">
              <a:latin typeface="Arial"/>
            </a:endParaRPr>
          </a:p>
        </p:txBody>
      </p:sp>
      <p:sp>
        <p:nvSpPr>
          <p:cNvPr id="171" name="PlaceHolder 6"/>
          <p:cNvSpPr>
            <a:spLocks noGrp="1"/>
          </p:cNvSpPr>
          <p:nvPr>
            <p:ph type="body"/>
          </p:nvPr>
        </p:nvSpPr>
        <p:spPr>
          <a:xfrm>
            <a:off x="4319640" y="3682080"/>
            <a:ext cx="3533040" cy="1896840"/>
          </a:xfrm>
          <a:prstGeom prst="rect">
            <a:avLst/>
          </a:prstGeom>
        </p:spPr>
        <p:txBody>
          <a:bodyPr lIns="0" tIns="0" rIns="0" bIns="0">
            <a:normAutofit/>
          </a:bodyPr>
          <a:lstStyle/>
          <a:p>
            <a:endParaRPr lang="en-US" sz="3200" b="0" strike="noStrike" spc="-1">
              <a:latin typeface="Arial"/>
            </a:endParaRPr>
          </a:p>
        </p:txBody>
      </p:sp>
      <p:sp>
        <p:nvSpPr>
          <p:cNvPr id="172" name="PlaceHolder 7"/>
          <p:cNvSpPr>
            <a:spLocks noGrp="1"/>
          </p:cNvSpPr>
          <p:nvPr>
            <p:ph type="body"/>
          </p:nvPr>
        </p:nvSpPr>
        <p:spPr>
          <a:xfrm>
            <a:off x="8029800" y="3682080"/>
            <a:ext cx="35330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9"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177"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78" name="PlaceHolder 2"/>
          <p:cNvSpPr>
            <a:spLocks noGrp="1"/>
          </p:cNvSpPr>
          <p:nvPr>
            <p:ph type="subTitle"/>
          </p:nvPr>
        </p:nvSpPr>
        <p:spPr>
          <a:xfrm>
            <a:off x="609480" y="1604520"/>
            <a:ext cx="10972440" cy="3977280"/>
          </a:xfrm>
          <a:prstGeom prst="rect">
            <a:avLst/>
          </a:prstGeom>
        </p:spPr>
        <p:txBody>
          <a:bodyPr lIns="0" tIns="0" rIns="0" bIns="0" anchor="ctr">
            <a:noAutofit/>
          </a:bodyPr>
          <a:lstStyle/>
          <a:p>
            <a:pPr algn="ctr"/>
            <a:endParaRPr lang="en-US" sz="3200" b="0" strike="noStrike" spc="-1">
              <a:latin typeface="Arial"/>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179"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80" name="PlaceHolder 2"/>
          <p:cNvSpPr>
            <a:spLocks noGrp="1"/>
          </p:cNvSpPr>
          <p:nvPr>
            <p:ph type="body"/>
          </p:nvPr>
        </p:nvSpPr>
        <p:spPr>
          <a:xfrm>
            <a:off x="609480" y="1604520"/>
            <a:ext cx="10972440" cy="397728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181"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82"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3200" b="0" strike="noStrike" spc="-1">
              <a:latin typeface="Arial"/>
            </a:endParaRPr>
          </a:p>
        </p:txBody>
      </p:sp>
      <p:sp>
        <p:nvSpPr>
          <p:cNvPr id="183" name="PlaceHolder 3"/>
          <p:cNvSpPr>
            <a:spLocks noGrp="1"/>
          </p:cNvSpPr>
          <p:nvPr>
            <p:ph type="body"/>
          </p:nvPr>
        </p:nvSpPr>
        <p:spPr>
          <a:xfrm>
            <a:off x="6231960" y="1604520"/>
            <a:ext cx="5354280" cy="397728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84"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85" name="PlaceHolder 1"/>
          <p:cNvSpPr>
            <a:spLocks noGrp="1"/>
          </p:cNvSpPr>
          <p:nvPr>
            <p:ph type="subTitle"/>
          </p:nvPr>
        </p:nvSpPr>
        <p:spPr>
          <a:xfrm>
            <a:off x="609480" y="273600"/>
            <a:ext cx="10972440" cy="5307840"/>
          </a:xfrm>
          <a:prstGeom prst="rect">
            <a:avLst/>
          </a:prstGeom>
        </p:spPr>
        <p:txBody>
          <a:bodyPr lIns="0" tIns="0" rIns="0" bIns="0" anchor="ctr">
            <a:noAutofit/>
          </a:bodyPr>
          <a:lstStyle/>
          <a:p>
            <a:pPr algn="ctr"/>
            <a:endParaRPr lang="en-US" sz="3200" b="0" strike="noStrike" spc="-1">
              <a:latin typeface="Arial"/>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86"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87"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3200" b="0" strike="noStrike" spc="-1">
              <a:latin typeface="Arial"/>
            </a:endParaRPr>
          </a:p>
        </p:txBody>
      </p:sp>
      <p:sp>
        <p:nvSpPr>
          <p:cNvPr id="188" name="PlaceHolder 3"/>
          <p:cNvSpPr>
            <a:spLocks noGrp="1"/>
          </p:cNvSpPr>
          <p:nvPr>
            <p:ph type="body"/>
          </p:nvPr>
        </p:nvSpPr>
        <p:spPr>
          <a:xfrm>
            <a:off x="6231960" y="1604520"/>
            <a:ext cx="5354280" cy="3977280"/>
          </a:xfrm>
          <a:prstGeom prst="rect">
            <a:avLst/>
          </a:prstGeom>
        </p:spPr>
        <p:txBody>
          <a:bodyPr lIns="0" tIns="0" rIns="0" bIns="0">
            <a:normAutofit/>
          </a:bodyPr>
          <a:lstStyle/>
          <a:p>
            <a:endParaRPr lang="en-US" sz="3200" b="0" strike="noStrike" spc="-1">
              <a:latin typeface="Arial"/>
            </a:endParaRPr>
          </a:p>
        </p:txBody>
      </p:sp>
      <p:sp>
        <p:nvSpPr>
          <p:cNvPr id="189" name="PlaceHolder 4"/>
          <p:cNvSpPr>
            <a:spLocks noGrp="1"/>
          </p:cNvSpPr>
          <p:nvPr>
            <p:ph type="body"/>
          </p:nvPr>
        </p:nvSpPr>
        <p:spPr>
          <a:xfrm>
            <a:off x="609480" y="3682080"/>
            <a:ext cx="535428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90"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91"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3200" b="0" strike="noStrike" spc="-1">
              <a:latin typeface="Arial"/>
            </a:endParaRPr>
          </a:p>
        </p:txBody>
      </p:sp>
      <p:sp>
        <p:nvSpPr>
          <p:cNvPr id="192"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3200" b="0" strike="noStrike" spc="-1">
              <a:latin typeface="Arial"/>
            </a:endParaRPr>
          </a:p>
        </p:txBody>
      </p:sp>
      <p:sp>
        <p:nvSpPr>
          <p:cNvPr id="193" name="PlaceHolder 4"/>
          <p:cNvSpPr>
            <a:spLocks noGrp="1"/>
          </p:cNvSpPr>
          <p:nvPr>
            <p:ph type="body"/>
          </p:nvPr>
        </p:nvSpPr>
        <p:spPr>
          <a:xfrm>
            <a:off x="6231960" y="3682080"/>
            <a:ext cx="535428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194"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95"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3200" b="0" strike="noStrike" spc="-1">
              <a:latin typeface="Arial"/>
            </a:endParaRPr>
          </a:p>
        </p:txBody>
      </p:sp>
      <p:sp>
        <p:nvSpPr>
          <p:cNvPr id="196"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3200" b="0" strike="noStrike" spc="-1">
              <a:latin typeface="Arial"/>
            </a:endParaRPr>
          </a:p>
        </p:txBody>
      </p:sp>
      <p:sp>
        <p:nvSpPr>
          <p:cNvPr id="197" name="PlaceHolder 4"/>
          <p:cNvSpPr>
            <a:spLocks noGrp="1"/>
          </p:cNvSpPr>
          <p:nvPr>
            <p:ph type="body"/>
          </p:nvPr>
        </p:nvSpPr>
        <p:spPr>
          <a:xfrm>
            <a:off x="609480" y="3682080"/>
            <a:ext cx="109724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198"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199" name="PlaceHolder 2"/>
          <p:cNvSpPr>
            <a:spLocks noGrp="1"/>
          </p:cNvSpPr>
          <p:nvPr>
            <p:ph type="body"/>
          </p:nvPr>
        </p:nvSpPr>
        <p:spPr>
          <a:xfrm>
            <a:off x="609480" y="1604520"/>
            <a:ext cx="10972440" cy="1896840"/>
          </a:xfrm>
          <a:prstGeom prst="rect">
            <a:avLst/>
          </a:prstGeom>
        </p:spPr>
        <p:txBody>
          <a:bodyPr lIns="0" tIns="0" rIns="0" bIns="0">
            <a:normAutofit/>
          </a:bodyPr>
          <a:lstStyle/>
          <a:p>
            <a:endParaRPr lang="en-US" sz="3200" b="0" strike="noStrike" spc="-1">
              <a:latin typeface="Arial"/>
            </a:endParaRPr>
          </a:p>
        </p:txBody>
      </p:sp>
      <p:sp>
        <p:nvSpPr>
          <p:cNvPr id="200" name="PlaceHolder 3"/>
          <p:cNvSpPr>
            <a:spLocks noGrp="1"/>
          </p:cNvSpPr>
          <p:nvPr>
            <p:ph type="body"/>
          </p:nvPr>
        </p:nvSpPr>
        <p:spPr>
          <a:xfrm>
            <a:off x="609480" y="3682080"/>
            <a:ext cx="109724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201"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202"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3200" b="0" strike="noStrike" spc="-1">
              <a:latin typeface="Arial"/>
            </a:endParaRPr>
          </a:p>
        </p:txBody>
      </p:sp>
      <p:sp>
        <p:nvSpPr>
          <p:cNvPr id="203"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3200" b="0" strike="noStrike" spc="-1">
              <a:latin typeface="Arial"/>
            </a:endParaRPr>
          </a:p>
        </p:txBody>
      </p:sp>
      <p:sp>
        <p:nvSpPr>
          <p:cNvPr id="204" name="PlaceHolder 4"/>
          <p:cNvSpPr>
            <a:spLocks noGrp="1"/>
          </p:cNvSpPr>
          <p:nvPr>
            <p:ph type="body"/>
          </p:nvPr>
        </p:nvSpPr>
        <p:spPr>
          <a:xfrm>
            <a:off x="609480" y="3682080"/>
            <a:ext cx="5354280" cy="1896840"/>
          </a:xfrm>
          <a:prstGeom prst="rect">
            <a:avLst/>
          </a:prstGeom>
        </p:spPr>
        <p:txBody>
          <a:bodyPr lIns="0" tIns="0" rIns="0" bIns="0">
            <a:normAutofit/>
          </a:bodyPr>
          <a:lstStyle/>
          <a:p>
            <a:endParaRPr lang="en-US" sz="3200" b="0" strike="noStrike" spc="-1">
              <a:latin typeface="Arial"/>
            </a:endParaRPr>
          </a:p>
        </p:txBody>
      </p:sp>
      <p:sp>
        <p:nvSpPr>
          <p:cNvPr id="205" name="PlaceHolder 5"/>
          <p:cNvSpPr>
            <a:spLocks noGrp="1"/>
          </p:cNvSpPr>
          <p:nvPr>
            <p:ph type="body"/>
          </p:nvPr>
        </p:nvSpPr>
        <p:spPr>
          <a:xfrm>
            <a:off x="6231960" y="3682080"/>
            <a:ext cx="535428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20" name="PlaceHolder 1"/>
          <p:cNvSpPr>
            <a:spLocks noGrp="1"/>
          </p:cNvSpPr>
          <p:nvPr>
            <p:ph type="subTitle"/>
          </p:nvPr>
        </p:nvSpPr>
        <p:spPr>
          <a:xfrm>
            <a:off x="609480" y="273600"/>
            <a:ext cx="10972440" cy="5307840"/>
          </a:xfrm>
          <a:prstGeom prst="rect">
            <a:avLst/>
          </a:prstGeom>
        </p:spPr>
        <p:txBody>
          <a:bodyPr lIns="0" tIns="0" rIns="0" bIns="0" anchor="ctr">
            <a:noAutofit/>
          </a:bodyPr>
          <a:lstStyle/>
          <a:p>
            <a:pPr algn="ctr"/>
            <a:endParaRPr lang="en-US" sz="3200" b="0" strike="noStrike" spc="-1">
              <a:latin typeface="Arial"/>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206"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207" name="PlaceHolder 2"/>
          <p:cNvSpPr>
            <a:spLocks noGrp="1"/>
          </p:cNvSpPr>
          <p:nvPr>
            <p:ph type="body"/>
          </p:nvPr>
        </p:nvSpPr>
        <p:spPr>
          <a:xfrm>
            <a:off x="609480" y="1604520"/>
            <a:ext cx="3533040" cy="1896840"/>
          </a:xfrm>
          <a:prstGeom prst="rect">
            <a:avLst/>
          </a:prstGeom>
        </p:spPr>
        <p:txBody>
          <a:bodyPr lIns="0" tIns="0" rIns="0" bIns="0">
            <a:normAutofit/>
          </a:bodyPr>
          <a:lstStyle/>
          <a:p>
            <a:endParaRPr lang="en-US" sz="3200" b="0" strike="noStrike" spc="-1">
              <a:latin typeface="Arial"/>
            </a:endParaRPr>
          </a:p>
        </p:txBody>
      </p:sp>
      <p:sp>
        <p:nvSpPr>
          <p:cNvPr id="208" name="PlaceHolder 3"/>
          <p:cNvSpPr>
            <a:spLocks noGrp="1"/>
          </p:cNvSpPr>
          <p:nvPr>
            <p:ph type="body"/>
          </p:nvPr>
        </p:nvSpPr>
        <p:spPr>
          <a:xfrm>
            <a:off x="4319640" y="1604520"/>
            <a:ext cx="3533040" cy="1896840"/>
          </a:xfrm>
          <a:prstGeom prst="rect">
            <a:avLst/>
          </a:prstGeom>
        </p:spPr>
        <p:txBody>
          <a:bodyPr lIns="0" tIns="0" rIns="0" bIns="0">
            <a:normAutofit/>
          </a:bodyPr>
          <a:lstStyle/>
          <a:p>
            <a:endParaRPr lang="en-US" sz="3200" b="0" strike="noStrike" spc="-1">
              <a:latin typeface="Arial"/>
            </a:endParaRPr>
          </a:p>
        </p:txBody>
      </p:sp>
      <p:sp>
        <p:nvSpPr>
          <p:cNvPr id="209" name="PlaceHolder 4"/>
          <p:cNvSpPr>
            <a:spLocks noGrp="1"/>
          </p:cNvSpPr>
          <p:nvPr>
            <p:ph type="body"/>
          </p:nvPr>
        </p:nvSpPr>
        <p:spPr>
          <a:xfrm>
            <a:off x="8029800" y="1604520"/>
            <a:ext cx="3533040" cy="1896840"/>
          </a:xfrm>
          <a:prstGeom prst="rect">
            <a:avLst/>
          </a:prstGeom>
        </p:spPr>
        <p:txBody>
          <a:bodyPr lIns="0" tIns="0" rIns="0" bIns="0">
            <a:normAutofit/>
          </a:bodyPr>
          <a:lstStyle/>
          <a:p>
            <a:endParaRPr lang="en-US" sz="3200" b="0" strike="noStrike" spc="-1">
              <a:latin typeface="Arial"/>
            </a:endParaRPr>
          </a:p>
        </p:txBody>
      </p:sp>
      <p:sp>
        <p:nvSpPr>
          <p:cNvPr id="210" name="PlaceHolder 5"/>
          <p:cNvSpPr>
            <a:spLocks noGrp="1"/>
          </p:cNvSpPr>
          <p:nvPr>
            <p:ph type="body"/>
          </p:nvPr>
        </p:nvSpPr>
        <p:spPr>
          <a:xfrm>
            <a:off x="609480" y="3682080"/>
            <a:ext cx="3533040" cy="1896840"/>
          </a:xfrm>
          <a:prstGeom prst="rect">
            <a:avLst/>
          </a:prstGeom>
        </p:spPr>
        <p:txBody>
          <a:bodyPr lIns="0" tIns="0" rIns="0" bIns="0">
            <a:normAutofit/>
          </a:bodyPr>
          <a:lstStyle/>
          <a:p>
            <a:endParaRPr lang="en-US" sz="3200" b="0" strike="noStrike" spc="-1">
              <a:latin typeface="Arial"/>
            </a:endParaRPr>
          </a:p>
        </p:txBody>
      </p:sp>
      <p:sp>
        <p:nvSpPr>
          <p:cNvPr id="211" name="PlaceHolder 6"/>
          <p:cNvSpPr>
            <a:spLocks noGrp="1"/>
          </p:cNvSpPr>
          <p:nvPr>
            <p:ph type="body"/>
          </p:nvPr>
        </p:nvSpPr>
        <p:spPr>
          <a:xfrm>
            <a:off x="4319640" y="3682080"/>
            <a:ext cx="3533040" cy="1896840"/>
          </a:xfrm>
          <a:prstGeom prst="rect">
            <a:avLst/>
          </a:prstGeom>
        </p:spPr>
        <p:txBody>
          <a:bodyPr lIns="0" tIns="0" rIns="0" bIns="0">
            <a:normAutofit/>
          </a:bodyPr>
          <a:lstStyle/>
          <a:p>
            <a:endParaRPr lang="en-US" sz="3200" b="0" strike="noStrike" spc="-1">
              <a:latin typeface="Arial"/>
            </a:endParaRPr>
          </a:p>
        </p:txBody>
      </p:sp>
      <p:sp>
        <p:nvSpPr>
          <p:cNvPr id="212" name="PlaceHolder 7"/>
          <p:cNvSpPr>
            <a:spLocks noGrp="1"/>
          </p:cNvSpPr>
          <p:nvPr>
            <p:ph type="body"/>
          </p:nvPr>
        </p:nvSpPr>
        <p:spPr>
          <a:xfrm>
            <a:off x="8029800" y="3682080"/>
            <a:ext cx="35330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183A5A1-6189-2187-E5E5-9B37A565478C}"/>
              </a:ext>
            </a:extLst>
          </p:cNvPr>
          <p:cNvGraphicFramePr>
            <a:graphicFrameLocks noChangeAspect="1"/>
          </p:cNvGraphicFramePr>
          <p:nvPr userDrawn="1">
            <p:custDataLst>
              <p:tags r:id="rId2"/>
            </p:custDataLst>
            <p:extLst>
              <p:ext uri="{D42A27DB-BD31-4B8C-83A1-F6EECF244321}">
                <p14:modId xmlns:p14="http://schemas.microsoft.com/office/powerpoint/2010/main" val="1191395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F183A5A1-6189-2187-E5E5-9B37A56547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Google Shape;1168;p31">
            <a:extLst>
              <a:ext uri="{FF2B5EF4-FFF2-40B4-BE49-F238E27FC236}">
                <a16:creationId xmlns:a16="http://schemas.microsoft.com/office/drawing/2014/main" id="{E085B812-72ED-B766-F5E6-839180D51AF9}"/>
              </a:ext>
            </a:extLst>
          </p:cNvPr>
          <p:cNvSpPr/>
          <p:nvPr userDrawn="1"/>
        </p:nvSpPr>
        <p:spPr>
          <a:xfrm>
            <a:off x="0" y="-2"/>
            <a:ext cx="12192000" cy="6858002"/>
          </a:xfrm>
          <a:prstGeom prst="rect">
            <a:avLst/>
          </a:prstGeom>
          <a:solidFill>
            <a:srgbClr val="0134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pic>
        <p:nvPicPr>
          <p:cNvPr id="6" name="Google Shape;26;g1136d0d7768_0_919" descr="A close up of a logo&#10;&#10;Description automatically generated">
            <a:extLst>
              <a:ext uri="{FF2B5EF4-FFF2-40B4-BE49-F238E27FC236}">
                <a16:creationId xmlns:a16="http://schemas.microsoft.com/office/drawing/2014/main" id="{DB956094-1514-FBA7-150C-F30741310D48}"/>
              </a:ext>
            </a:extLst>
          </p:cNvPr>
          <p:cNvPicPr preferRelativeResize="0"/>
          <p:nvPr userDrawn="1"/>
        </p:nvPicPr>
        <p:blipFill rotWithShape="1">
          <a:blip r:embed="rId6">
            <a:alphaModFix/>
          </a:blip>
          <a:srcRect l="70000"/>
          <a:stretch/>
        </p:blipFill>
        <p:spPr>
          <a:xfrm>
            <a:off x="8534400" y="-1"/>
            <a:ext cx="3657600" cy="6858001"/>
          </a:xfrm>
          <a:prstGeom prst="rect">
            <a:avLst/>
          </a:prstGeom>
          <a:noFill/>
          <a:ln>
            <a:noFill/>
          </a:ln>
        </p:spPr>
      </p:pic>
      <p:sp>
        <p:nvSpPr>
          <p:cNvPr id="2" name="Title 1">
            <a:extLst>
              <a:ext uri="{FF2B5EF4-FFF2-40B4-BE49-F238E27FC236}">
                <a16:creationId xmlns:a16="http://schemas.microsoft.com/office/drawing/2014/main" id="{BDDD35DC-5515-99EA-C083-EEF34BC71F9E}"/>
              </a:ext>
            </a:extLst>
          </p:cNvPr>
          <p:cNvSpPr>
            <a:spLocks noGrp="1"/>
          </p:cNvSpPr>
          <p:nvPr>
            <p:ph type="title"/>
          </p:nvPr>
        </p:nvSpPr>
        <p:spPr>
          <a:xfrm>
            <a:off x="414000" y="2603033"/>
            <a:ext cx="6621800" cy="1853500"/>
          </a:xfrm>
          <a:prstGeom prst="rect">
            <a:avLst/>
          </a:prstGeom>
          <a:noFill/>
          <a:ln>
            <a:noFill/>
          </a:ln>
        </p:spPr>
        <p:txBody>
          <a:bodyPr spcFirstLastPara="1" vert="horz" wrap="square" lIns="91425" tIns="91425" rIns="91425" bIns="91425" anchor="t" anchorCtr="0">
            <a:noAutofit/>
          </a:bodyPr>
          <a:lstStyle>
            <a:lvl1pPr>
              <a:defRPr lang="en-GB" sz="2800" b="1">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lvl="0">
              <a:buClr>
                <a:schemeClr val="dk1"/>
              </a:buClr>
              <a:buSzPts val="2800"/>
              <a:buNone/>
            </a:pPr>
            <a:r>
              <a:rPr lang="en-US" dirty="0"/>
              <a:t>Click to edit Master title style</a:t>
            </a:r>
            <a:endParaRPr lang="en-GB" dirty="0"/>
          </a:p>
        </p:txBody>
      </p:sp>
      <p:pic>
        <p:nvPicPr>
          <p:cNvPr id="12" name="Google Shape;27;g1136d0d7768_0_919" descr="A close up of a logo&#10;&#10;Description automatically generated">
            <a:extLst>
              <a:ext uri="{FF2B5EF4-FFF2-40B4-BE49-F238E27FC236}">
                <a16:creationId xmlns:a16="http://schemas.microsoft.com/office/drawing/2014/main" id="{7A3B5E5E-B041-6C10-ACB3-642BF1BDE9D0}"/>
              </a:ext>
            </a:extLst>
          </p:cNvPr>
          <p:cNvPicPr preferRelativeResize="0"/>
          <p:nvPr userDrawn="1"/>
        </p:nvPicPr>
        <p:blipFill rotWithShape="1">
          <a:blip r:embed="rId6">
            <a:alphaModFix/>
          </a:blip>
          <a:srcRect l="2029" t="5223" r="87558" b="75701"/>
          <a:stretch/>
        </p:blipFill>
        <p:spPr>
          <a:xfrm>
            <a:off x="247650" y="424126"/>
            <a:ext cx="1269335" cy="1308246"/>
          </a:xfrm>
          <a:prstGeom prst="rect">
            <a:avLst/>
          </a:prstGeom>
          <a:noFill/>
          <a:ln>
            <a:noFill/>
          </a:ln>
        </p:spPr>
      </p:pic>
      <p:sp>
        <p:nvSpPr>
          <p:cNvPr id="14" name="Text Placeholder 13">
            <a:extLst>
              <a:ext uri="{FF2B5EF4-FFF2-40B4-BE49-F238E27FC236}">
                <a16:creationId xmlns:a16="http://schemas.microsoft.com/office/drawing/2014/main" id="{9B0CBFAD-D795-ECD3-6D28-E9CD5A6D09DD}"/>
              </a:ext>
            </a:extLst>
          </p:cNvPr>
          <p:cNvSpPr>
            <a:spLocks noGrp="1"/>
          </p:cNvSpPr>
          <p:nvPr>
            <p:ph type="body" sz="quarter" idx="10" hasCustomPrompt="1"/>
          </p:nvPr>
        </p:nvSpPr>
        <p:spPr>
          <a:xfrm>
            <a:off x="414000" y="4609783"/>
            <a:ext cx="6621800" cy="914400"/>
          </a:xfrm>
        </p:spPr>
        <p:txBody>
          <a:bodyPr>
            <a:normAutofit/>
          </a:bodyPr>
          <a:lstStyle>
            <a:lvl1pPr>
              <a:defRPr sz="1800">
                <a:solidFill>
                  <a:schemeClr val="bg1"/>
                </a:solidFill>
              </a:defRPr>
            </a:lvl1pPr>
            <a:lvl5pPr>
              <a:defRPr/>
            </a:lvl5pPr>
          </a:lstStyle>
          <a:p>
            <a:pPr lvl="0"/>
            <a:r>
              <a:rPr lang="el-GR" dirty="0"/>
              <a:t>Ημερομηνία</a:t>
            </a:r>
            <a:endParaRPr lang="en-GB" dirty="0"/>
          </a:p>
        </p:txBody>
      </p:sp>
      <p:sp>
        <p:nvSpPr>
          <p:cNvPr id="16" name="Google Shape;24;g1136d0d7768_0_919">
            <a:extLst>
              <a:ext uri="{FF2B5EF4-FFF2-40B4-BE49-F238E27FC236}">
                <a16:creationId xmlns:a16="http://schemas.microsoft.com/office/drawing/2014/main" id="{EB9C73DD-0DD2-D5FA-91D1-BA47E3D8F2FC}"/>
              </a:ext>
            </a:extLst>
          </p:cNvPr>
          <p:cNvSpPr/>
          <p:nvPr userDrawn="1"/>
        </p:nvSpPr>
        <p:spPr>
          <a:xfrm>
            <a:off x="1576006" y="759933"/>
            <a:ext cx="4741800" cy="302400"/>
          </a:xfrm>
          <a:prstGeom prst="snip2DiagRect">
            <a:avLst>
              <a:gd name="adj1" fmla="val 0"/>
              <a:gd name="adj2" fmla="val 16667"/>
            </a:avLst>
          </a:prstGeom>
          <a:noFill/>
          <a:ln>
            <a:noFill/>
          </a:ln>
        </p:spPr>
        <p:txBody>
          <a:bodyPr spcFirstLastPara="1" wrap="square" lIns="111175" tIns="15850" rIns="111175" bIns="15850" anchor="ctr" anchorCtr="0">
            <a:noAutofit/>
          </a:bodyPr>
          <a:lstStyle/>
          <a:p>
            <a:pPr marL="0" marR="0" lvl="0" indent="0" algn="l" rtl="0">
              <a:lnSpc>
                <a:spcPct val="100000"/>
              </a:lnSpc>
              <a:spcBef>
                <a:spcPts val="0"/>
              </a:spcBef>
              <a:spcAft>
                <a:spcPts val="0"/>
              </a:spcAft>
              <a:buClr>
                <a:srgbClr val="FFFFFF"/>
              </a:buClr>
              <a:buSzPts val="2000"/>
              <a:buFont typeface="Calibri"/>
              <a:buNone/>
            </a:pPr>
            <a:r>
              <a:rPr lang="el-GR" sz="2800" b="1" i="0" u="none" strike="noStrike" cap="none" dirty="0">
                <a:solidFill>
                  <a:schemeClr val="bg1">
                    <a:lumMod val="95000"/>
                  </a:schemeClr>
                </a:solidFill>
                <a:latin typeface="Calibri"/>
                <a:ea typeface="Calibri"/>
                <a:cs typeface="Calibri"/>
                <a:sym typeface="Calibri"/>
              </a:rPr>
              <a:t>ΕΛΛΗΝΙΚΗ ΔΗΜΟΚΡΑΤΙΑ</a:t>
            </a:r>
            <a:endParaRPr sz="2800" b="0" i="0" u="none" strike="noStrike" cap="none" dirty="0">
              <a:solidFill>
                <a:schemeClr val="bg1">
                  <a:lumMod val="95000"/>
                </a:schemeClr>
              </a:solidFill>
              <a:latin typeface="Arial"/>
              <a:ea typeface="Arial"/>
              <a:cs typeface="Arial"/>
              <a:sym typeface="Arial"/>
            </a:endParaRPr>
          </a:p>
        </p:txBody>
      </p:sp>
      <p:sp>
        <p:nvSpPr>
          <p:cNvPr id="17" name="Text Placeholder 13">
            <a:extLst>
              <a:ext uri="{FF2B5EF4-FFF2-40B4-BE49-F238E27FC236}">
                <a16:creationId xmlns:a16="http://schemas.microsoft.com/office/drawing/2014/main" id="{CCFDA6D9-03F6-FE05-C548-107E2BB18CCC}"/>
              </a:ext>
            </a:extLst>
          </p:cNvPr>
          <p:cNvSpPr>
            <a:spLocks noGrp="1"/>
          </p:cNvSpPr>
          <p:nvPr>
            <p:ph type="body" sz="quarter" idx="13" hasCustomPrompt="1"/>
          </p:nvPr>
        </p:nvSpPr>
        <p:spPr>
          <a:xfrm>
            <a:off x="1618678" y="1205619"/>
            <a:ext cx="4657521" cy="463161"/>
          </a:xfrm>
        </p:spPr>
        <p:txBody>
          <a:bodyPr lIns="111600">
            <a:normAutofit/>
          </a:bodyPr>
          <a:lstStyle>
            <a:lvl1pPr>
              <a:defRPr sz="1800">
                <a:solidFill>
                  <a:schemeClr val="bg1"/>
                </a:solidFill>
              </a:defRPr>
            </a:lvl1pPr>
            <a:lvl5pPr>
              <a:defRPr/>
            </a:lvl5pPr>
          </a:lstStyle>
          <a:p>
            <a:pPr lvl="0"/>
            <a:r>
              <a:rPr lang="el-GR" dirty="0"/>
              <a:t>Υπουργείο</a:t>
            </a:r>
            <a:endParaRPr lang="en-GB" dirty="0"/>
          </a:p>
        </p:txBody>
      </p:sp>
    </p:spTree>
    <p:extLst>
      <p:ext uri="{BB962C8B-B14F-4D97-AF65-F5344CB8AC3E}">
        <p14:creationId xmlns:p14="http://schemas.microsoft.com/office/powerpoint/2010/main" val="2124244950"/>
      </p:ext>
    </p:extLst>
  </p:cSld>
  <p:clrMapOvr>
    <a:masterClrMapping/>
  </p:clrMapOvr>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E0344CB-E023-486D-9EAD-C2BA99002559}"/>
              </a:ext>
            </a:extLst>
          </p:cNvPr>
          <p:cNvGraphicFramePr>
            <a:graphicFrameLocks noChangeAspect="1"/>
          </p:cNvGraphicFramePr>
          <p:nvPr userDrawn="1">
            <p:custDataLst>
              <p:tags r:id="rId2"/>
            </p:custDataLst>
            <p:extLst>
              <p:ext uri="{D42A27DB-BD31-4B8C-83A1-F6EECF244321}">
                <p14:modId xmlns:p14="http://schemas.microsoft.com/office/powerpoint/2010/main" val="2193796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9E0344CB-E023-486D-9EAD-C2BA990025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32A63DB-7EEB-54D2-7947-CC01E05E0546}"/>
              </a:ext>
            </a:extLst>
          </p:cNvPr>
          <p:cNvSpPr>
            <a:spLocks noGrp="1"/>
          </p:cNvSpPr>
          <p:nvPr>
            <p:ph type="title"/>
          </p:nvPr>
        </p:nvSpPr>
        <p:spPr>
          <a:xfrm>
            <a:off x="414000" y="594000"/>
            <a:ext cx="6045200" cy="1768475"/>
          </a:xfrm>
          <a:prstGeom prst="rect">
            <a:avLst/>
          </a:prstGeom>
          <a:noFill/>
          <a:ln>
            <a:noFill/>
          </a:ln>
        </p:spPr>
        <p:txBody>
          <a:bodyPr spcFirstLastPara="1" vert="horz" wrap="square" lIns="91425" tIns="91425" rIns="91425" bIns="91425" anchor="t" anchorCtr="0">
            <a:noAutofit/>
          </a:bodyPr>
          <a:lstStyle>
            <a:lvl1pPr>
              <a:defRPr lang="en-GB" sz="3600" b="1" dirty="0">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lvl="0">
              <a:buClr>
                <a:schemeClr val="dk1"/>
              </a:buClr>
              <a:buSzPts val="2800"/>
              <a:buNone/>
            </a:pPr>
            <a:r>
              <a:rPr lang="en-US" dirty="0"/>
              <a:t>Click to edit Master title style</a:t>
            </a:r>
            <a:endParaRPr lang="en-GB" dirty="0"/>
          </a:p>
        </p:txBody>
      </p:sp>
      <p:sp>
        <p:nvSpPr>
          <p:cNvPr id="5" name="Google Shape;1168;p31">
            <a:extLst>
              <a:ext uri="{FF2B5EF4-FFF2-40B4-BE49-F238E27FC236}">
                <a16:creationId xmlns:a16="http://schemas.microsoft.com/office/drawing/2014/main" id="{791818AC-1ADB-AFD0-D8DA-6663D8B5FE45}"/>
              </a:ext>
            </a:extLst>
          </p:cNvPr>
          <p:cNvSpPr/>
          <p:nvPr userDrawn="1"/>
        </p:nvSpPr>
        <p:spPr>
          <a:xfrm>
            <a:off x="7404100" y="-2"/>
            <a:ext cx="4787900" cy="6858002"/>
          </a:xfrm>
          <a:prstGeom prst="rect">
            <a:avLst/>
          </a:prstGeom>
          <a:solidFill>
            <a:srgbClr val="0134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pic>
        <p:nvPicPr>
          <p:cNvPr id="3" name="Google Shape;1170;p31" descr="ΙΚΑΡΙΟΛΟΓΟΣ: Υπόμνημα του Δήμου Ικαρίας στο Υπουργείο Υγείας">
            <a:extLst>
              <a:ext uri="{FF2B5EF4-FFF2-40B4-BE49-F238E27FC236}">
                <a16:creationId xmlns:a16="http://schemas.microsoft.com/office/drawing/2014/main" id="{9FFDCF04-88D0-CCBA-706B-AD51A48BAC6E}"/>
              </a:ext>
            </a:extLst>
          </p:cNvPr>
          <p:cNvPicPr preferRelativeResize="0"/>
          <p:nvPr userDrawn="1"/>
        </p:nvPicPr>
        <p:blipFill rotWithShape="1">
          <a:blip r:embed="rId6">
            <a:alphaModFix/>
          </a:blip>
          <a:srcRect/>
          <a:stretch/>
        </p:blipFill>
        <p:spPr>
          <a:xfrm>
            <a:off x="10800000" y="148548"/>
            <a:ext cx="1188703" cy="1193399"/>
          </a:xfrm>
          <a:prstGeom prst="rect">
            <a:avLst/>
          </a:prstGeom>
          <a:noFill/>
          <a:ln>
            <a:noFill/>
          </a:ln>
        </p:spPr>
      </p:pic>
      <p:sp>
        <p:nvSpPr>
          <p:cNvPr id="7" name="Google Shape;14;g1136d0d7768_0_1549">
            <a:extLst>
              <a:ext uri="{FF2B5EF4-FFF2-40B4-BE49-F238E27FC236}">
                <a16:creationId xmlns:a16="http://schemas.microsoft.com/office/drawing/2014/main" id="{A506C6C8-D850-7F4C-45D0-09BDC5885091}"/>
              </a:ext>
            </a:extLst>
          </p:cNvPr>
          <p:cNvSpPr txBox="1">
            <a:spLocks noGrp="1"/>
          </p:cNvSpPr>
          <p:nvPr>
            <p:ph type="sldNum" idx="12"/>
          </p:nvPr>
        </p:nvSpPr>
        <p:spPr>
          <a:xfrm>
            <a:off x="11296611" y="6377081"/>
            <a:ext cx="522000" cy="255454"/>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chemeClr val="lt1"/>
              </a:buClr>
              <a:buSzPts val="1000"/>
              <a:buFont typeface="Calibri"/>
              <a:buNone/>
              <a:defRPr sz="1000" b="0" i="0" u="none" strike="noStrike" cap="none">
                <a:solidFill>
                  <a:schemeClr val="tx1"/>
                </a:solidFill>
                <a:latin typeface="Calibri"/>
                <a:ea typeface="Calibri"/>
                <a:cs typeface="Calibri"/>
                <a:sym typeface="Calibri"/>
              </a:defRPr>
            </a:lvl1pPr>
            <a:lvl2pPr marL="0" marR="0" lvl="1"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2pPr>
            <a:lvl3pPr marL="0" marR="0" lvl="2"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3pPr>
            <a:lvl4pPr marL="0" marR="0" lvl="3"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4pPr>
            <a:lvl5pPr marL="0" marR="0" lvl="4"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5pPr>
            <a:lvl6pPr marL="0" marR="0" lvl="5"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6pPr>
            <a:lvl7pPr marL="0" marR="0" lvl="6"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7pPr>
            <a:lvl8pPr marL="0" marR="0" lvl="7"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8pPr>
            <a:lvl9pPr marL="0" marR="0" lvl="8"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9pPr>
          </a:lstStyle>
          <a:p>
            <a:fld id="{00000000-1234-1234-1234-123412341234}" type="slidenum">
              <a:rPr lang="el-GR" smtClean="0"/>
              <a:pPr/>
              <a:t>‹#›</a:t>
            </a:fld>
            <a:endParaRPr lang="el-GR" dirty="0"/>
          </a:p>
        </p:txBody>
      </p:sp>
    </p:spTree>
    <p:extLst>
      <p:ext uri="{BB962C8B-B14F-4D97-AF65-F5344CB8AC3E}">
        <p14:creationId xmlns:p14="http://schemas.microsoft.com/office/powerpoint/2010/main" val="37054612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4F5BD7C-09C1-ADF5-4424-C3CB56593A69}"/>
              </a:ext>
            </a:extLst>
          </p:cNvPr>
          <p:cNvGraphicFramePr>
            <a:graphicFrameLocks noChangeAspect="1"/>
          </p:cNvGraphicFramePr>
          <p:nvPr userDrawn="1">
            <p:custDataLst>
              <p:tags r:id="rId2"/>
            </p:custDataLst>
            <p:extLst>
              <p:ext uri="{D42A27DB-BD31-4B8C-83A1-F6EECF244321}">
                <p14:modId xmlns:p14="http://schemas.microsoft.com/office/powerpoint/2010/main" val="2881914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74F5BD7C-09C1-ADF5-4424-C3CB56593A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Google Shape;1169;p31">
            <a:extLst>
              <a:ext uri="{FF2B5EF4-FFF2-40B4-BE49-F238E27FC236}">
                <a16:creationId xmlns:a16="http://schemas.microsoft.com/office/drawing/2014/main" id="{A7BECC37-CAFC-E104-9407-8B9A3246BD21}"/>
              </a:ext>
            </a:extLst>
          </p:cNvPr>
          <p:cNvSpPr/>
          <p:nvPr userDrawn="1"/>
        </p:nvSpPr>
        <p:spPr>
          <a:xfrm rot="5400000" flipH="1" flipV="1">
            <a:off x="4924948" y="1564748"/>
            <a:ext cx="6858003" cy="3728499"/>
          </a:xfrm>
          <a:prstGeom prst="rtTriangle">
            <a:avLst/>
          </a:prstGeom>
          <a:solidFill>
            <a:srgbClr val="0134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6" name="Google Shape;1168;p31">
            <a:extLst>
              <a:ext uri="{FF2B5EF4-FFF2-40B4-BE49-F238E27FC236}">
                <a16:creationId xmlns:a16="http://schemas.microsoft.com/office/drawing/2014/main" id="{37D6FD17-66D1-362E-4A7B-DFA25237CAE6}"/>
              </a:ext>
            </a:extLst>
          </p:cNvPr>
          <p:cNvSpPr/>
          <p:nvPr userDrawn="1"/>
        </p:nvSpPr>
        <p:spPr>
          <a:xfrm>
            <a:off x="10218198" y="-2"/>
            <a:ext cx="1973802" cy="6858003"/>
          </a:xfrm>
          <a:prstGeom prst="rect">
            <a:avLst/>
          </a:prstGeom>
          <a:solidFill>
            <a:srgbClr val="0134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2" name="Title 1">
            <a:extLst>
              <a:ext uri="{FF2B5EF4-FFF2-40B4-BE49-F238E27FC236}">
                <a16:creationId xmlns:a16="http://schemas.microsoft.com/office/drawing/2014/main" id="{1034A7D3-3499-45B2-F35F-515D8F2A265A}"/>
              </a:ext>
            </a:extLst>
          </p:cNvPr>
          <p:cNvSpPr>
            <a:spLocks noGrp="1"/>
          </p:cNvSpPr>
          <p:nvPr>
            <p:ph type="title"/>
          </p:nvPr>
        </p:nvSpPr>
        <p:spPr>
          <a:xfrm>
            <a:off x="414000" y="594000"/>
            <a:ext cx="8082300" cy="1325563"/>
          </a:xfrm>
          <a:prstGeom prst="rect">
            <a:avLst/>
          </a:prstGeom>
          <a:noFill/>
          <a:ln>
            <a:noFill/>
          </a:ln>
        </p:spPr>
        <p:txBody>
          <a:bodyPr spcFirstLastPara="1" vert="horz" wrap="square" lIns="91425" tIns="91425" rIns="91425" bIns="91425" anchor="t" anchorCtr="0">
            <a:noAutofit/>
          </a:bodyPr>
          <a:lstStyle>
            <a:lvl1pPr>
              <a:defRPr lang="en-GB" sz="3600" b="1">
                <a:solidFill>
                  <a:schemeClr val="tx1"/>
                </a:solidFill>
                <a:latin typeface="Calibri" panose="020F0502020204030204" pitchFamily="34" charset="0"/>
                <a:ea typeface="Calibri" panose="020F0502020204030204" pitchFamily="34" charset="0"/>
                <a:cs typeface="Calibri" panose="020F0502020204030204" pitchFamily="34" charset="0"/>
              </a:defRPr>
            </a:lvl1pPr>
          </a:lstStyle>
          <a:p>
            <a:pPr lvl="0">
              <a:buClr>
                <a:schemeClr val="dk1"/>
              </a:buClr>
              <a:buSzPts val="2800"/>
              <a:buNone/>
            </a:pPr>
            <a:r>
              <a:rPr lang="en-US"/>
              <a:t>Click to edit Master title style</a:t>
            </a:r>
            <a:endParaRPr lang="en-GB"/>
          </a:p>
        </p:txBody>
      </p:sp>
      <p:pic>
        <p:nvPicPr>
          <p:cNvPr id="3" name="Google Shape;1170;p31" descr="ΙΚΑΡΙΟΛΟΓΟΣ: Υπόμνημα του Δήμου Ικαρίας στο Υπουργείο Υγείας">
            <a:extLst>
              <a:ext uri="{FF2B5EF4-FFF2-40B4-BE49-F238E27FC236}">
                <a16:creationId xmlns:a16="http://schemas.microsoft.com/office/drawing/2014/main" id="{DE2F77A0-EA5C-4360-3CDB-711ACC91A7DB}"/>
              </a:ext>
            </a:extLst>
          </p:cNvPr>
          <p:cNvPicPr preferRelativeResize="0"/>
          <p:nvPr userDrawn="1"/>
        </p:nvPicPr>
        <p:blipFill rotWithShape="1">
          <a:blip r:embed="rId6">
            <a:alphaModFix/>
          </a:blip>
          <a:srcRect/>
          <a:stretch/>
        </p:blipFill>
        <p:spPr>
          <a:xfrm>
            <a:off x="10800000" y="148548"/>
            <a:ext cx="1188703" cy="1193399"/>
          </a:xfrm>
          <a:prstGeom prst="rect">
            <a:avLst/>
          </a:prstGeom>
          <a:noFill/>
          <a:ln>
            <a:noFill/>
          </a:ln>
        </p:spPr>
      </p:pic>
      <p:sp>
        <p:nvSpPr>
          <p:cNvPr id="7" name="Google Shape;14;g1136d0d7768_0_1549">
            <a:extLst>
              <a:ext uri="{FF2B5EF4-FFF2-40B4-BE49-F238E27FC236}">
                <a16:creationId xmlns:a16="http://schemas.microsoft.com/office/drawing/2014/main" id="{5FC92199-FE80-8BA7-7BF8-33EE3275A24D}"/>
              </a:ext>
            </a:extLst>
          </p:cNvPr>
          <p:cNvSpPr txBox="1">
            <a:spLocks noGrp="1"/>
          </p:cNvSpPr>
          <p:nvPr>
            <p:ph type="sldNum" idx="12"/>
          </p:nvPr>
        </p:nvSpPr>
        <p:spPr>
          <a:xfrm>
            <a:off x="11296611" y="6377081"/>
            <a:ext cx="522000" cy="255454"/>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chemeClr val="lt1"/>
              </a:buClr>
              <a:buSzPts val="1000"/>
              <a:buFont typeface="Calibri"/>
              <a:buNone/>
              <a:defRPr sz="1000" b="0" i="0" u="none" strike="noStrike" cap="none">
                <a:solidFill>
                  <a:schemeClr val="tx1"/>
                </a:solidFill>
                <a:latin typeface="Calibri"/>
                <a:ea typeface="Calibri"/>
                <a:cs typeface="Calibri"/>
                <a:sym typeface="Calibri"/>
              </a:defRPr>
            </a:lvl1pPr>
            <a:lvl2pPr marL="0" marR="0" lvl="1"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2pPr>
            <a:lvl3pPr marL="0" marR="0" lvl="2"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3pPr>
            <a:lvl4pPr marL="0" marR="0" lvl="3"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4pPr>
            <a:lvl5pPr marL="0" marR="0" lvl="4"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5pPr>
            <a:lvl6pPr marL="0" marR="0" lvl="5"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6pPr>
            <a:lvl7pPr marL="0" marR="0" lvl="6"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7pPr>
            <a:lvl8pPr marL="0" marR="0" lvl="7"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8pPr>
            <a:lvl9pPr marL="0" marR="0" lvl="8"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9pPr>
          </a:lstStyle>
          <a:p>
            <a:fld id="{00000000-1234-1234-1234-123412341234}" type="slidenum">
              <a:rPr lang="el-GR" smtClean="0"/>
              <a:pPr/>
              <a:t>‹#›</a:t>
            </a:fld>
            <a:endParaRPr lang="el-GR" dirty="0"/>
          </a:p>
        </p:txBody>
      </p:sp>
    </p:spTree>
    <p:extLst>
      <p:ext uri="{BB962C8B-B14F-4D97-AF65-F5344CB8AC3E}">
        <p14:creationId xmlns:p14="http://schemas.microsoft.com/office/powerpoint/2010/main" val="10654054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914284-C347-6F15-7B16-FEA8B0300908}"/>
              </a:ext>
            </a:extLst>
          </p:cNvPr>
          <p:cNvGraphicFramePr>
            <a:graphicFrameLocks noChangeAspect="1"/>
          </p:cNvGraphicFramePr>
          <p:nvPr userDrawn="1">
            <p:custDataLst>
              <p:tags r:id="rId2"/>
            </p:custDataLst>
            <p:extLst>
              <p:ext uri="{D42A27DB-BD31-4B8C-83A1-F6EECF244321}">
                <p14:modId xmlns:p14="http://schemas.microsoft.com/office/powerpoint/2010/main" val="412293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2A914284-C347-6F15-7B16-FEA8B03009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Google Shape;1168;p31">
            <a:extLst>
              <a:ext uri="{FF2B5EF4-FFF2-40B4-BE49-F238E27FC236}">
                <a16:creationId xmlns:a16="http://schemas.microsoft.com/office/drawing/2014/main" id="{C3DD119A-E3D7-03F2-BEA8-589E5AD1C934}"/>
              </a:ext>
            </a:extLst>
          </p:cNvPr>
          <p:cNvSpPr/>
          <p:nvPr userDrawn="1"/>
        </p:nvSpPr>
        <p:spPr>
          <a:xfrm>
            <a:off x="0" y="-2"/>
            <a:ext cx="12192000" cy="6858001"/>
          </a:xfrm>
          <a:prstGeom prst="rect">
            <a:avLst/>
          </a:prstGeom>
          <a:solidFill>
            <a:srgbClr val="0134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2" name="Title 1">
            <a:extLst>
              <a:ext uri="{FF2B5EF4-FFF2-40B4-BE49-F238E27FC236}">
                <a16:creationId xmlns:a16="http://schemas.microsoft.com/office/drawing/2014/main" id="{806ED742-035D-13E4-43C7-CF02078D12D0}"/>
              </a:ext>
            </a:extLst>
          </p:cNvPr>
          <p:cNvSpPr>
            <a:spLocks noGrp="1"/>
          </p:cNvSpPr>
          <p:nvPr>
            <p:ph type="title"/>
          </p:nvPr>
        </p:nvSpPr>
        <p:spPr>
          <a:xfrm>
            <a:off x="414000" y="594000"/>
            <a:ext cx="10515600" cy="1325563"/>
          </a:xfrm>
          <a:prstGeom prst="rect">
            <a:avLst/>
          </a:prstGeom>
          <a:noFill/>
          <a:ln>
            <a:noFill/>
          </a:ln>
        </p:spPr>
        <p:txBody>
          <a:bodyPr spcFirstLastPara="1" vert="horz" wrap="square" lIns="91425" tIns="91425" rIns="91425" bIns="91425" anchor="t" anchorCtr="0">
            <a:noAutofit/>
          </a:bodyPr>
          <a:lstStyle>
            <a:lvl1pPr>
              <a:defRPr lang="en-GB" sz="3600" b="1">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lvl="0">
              <a:buClr>
                <a:schemeClr val="dk1"/>
              </a:buClr>
              <a:buSzPts val="2800"/>
              <a:buNone/>
            </a:pPr>
            <a:r>
              <a:rPr lang="en-US"/>
              <a:t>Click to edit Master title style</a:t>
            </a:r>
            <a:endParaRPr lang="en-GB"/>
          </a:p>
        </p:txBody>
      </p:sp>
      <p:pic>
        <p:nvPicPr>
          <p:cNvPr id="4" name="Google Shape;1170;p31" descr="ΙΚΑΡΙΟΛΟΓΟΣ: Υπόμνημα του Δήμου Ικαρίας στο Υπουργείο Υγείας">
            <a:extLst>
              <a:ext uri="{FF2B5EF4-FFF2-40B4-BE49-F238E27FC236}">
                <a16:creationId xmlns:a16="http://schemas.microsoft.com/office/drawing/2014/main" id="{9D872855-BB16-BB5D-4210-6AC7BBA7B65B}"/>
              </a:ext>
            </a:extLst>
          </p:cNvPr>
          <p:cNvPicPr preferRelativeResize="0"/>
          <p:nvPr userDrawn="1"/>
        </p:nvPicPr>
        <p:blipFill rotWithShape="1">
          <a:blip r:embed="rId6">
            <a:alphaModFix/>
          </a:blip>
          <a:srcRect/>
          <a:stretch/>
        </p:blipFill>
        <p:spPr>
          <a:xfrm>
            <a:off x="10800000" y="148548"/>
            <a:ext cx="1188703" cy="1193399"/>
          </a:xfrm>
          <a:prstGeom prst="rect">
            <a:avLst/>
          </a:prstGeom>
          <a:noFill/>
          <a:ln>
            <a:noFill/>
          </a:ln>
        </p:spPr>
      </p:pic>
      <p:sp>
        <p:nvSpPr>
          <p:cNvPr id="6" name="Google Shape;14;g1136d0d7768_0_1549">
            <a:extLst>
              <a:ext uri="{FF2B5EF4-FFF2-40B4-BE49-F238E27FC236}">
                <a16:creationId xmlns:a16="http://schemas.microsoft.com/office/drawing/2014/main" id="{69D1D1C2-1B2D-9442-02FE-FBDAC9140A24}"/>
              </a:ext>
            </a:extLst>
          </p:cNvPr>
          <p:cNvSpPr txBox="1">
            <a:spLocks noGrp="1"/>
          </p:cNvSpPr>
          <p:nvPr>
            <p:ph type="sldNum" idx="12"/>
          </p:nvPr>
        </p:nvSpPr>
        <p:spPr>
          <a:xfrm>
            <a:off x="11296611" y="6377081"/>
            <a:ext cx="522000" cy="255454"/>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chemeClr val="lt1"/>
              </a:buClr>
              <a:buSzPts val="1000"/>
              <a:buFont typeface="Calibri"/>
              <a:buNone/>
              <a:defRPr sz="1000" b="0" i="0" u="none" strike="noStrike" cap="none">
                <a:solidFill>
                  <a:schemeClr val="tx1"/>
                </a:solidFill>
                <a:latin typeface="Calibri"/>
                <a:ea typeface="Calibri"/>
                <a:cs typeface="Calibri"/>
                <a:sym typeface="Calibri"/>
              </a:defRPr>
            </a:lvl1pPr>
            <a:lvl2pPr marL="0" marR="0" lvl="1"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2pPr>
            <a:lvl3pPr marL="0" marR="0" lvl="2"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3pPr>
            <a:lvl4pPr marL="0" marR="0" lvl="3"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4pPr>
            <a:lvl5pPr marL="0" marR="0" lvl="4"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5pPr>
            <a:lvl6pPr marL="0" marR="0" lvl="5"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6pPr>
            <a:lvl7pPr marL="0" marR="0" lvl="6"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7pPr>
            <a:lvl8pPr marL="0" marR="0" lvl="7"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8pPr>
            <a:lvl9pPr marL="0" marR="0" lvl="8"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9pPr>
          </a:lstStyle>
          <a:p>
            <a:fld id="{00000000-1234-1234-1234-123412341234}" type="slidenum">
              <a:rPr lang="el-GR" smtClean="0"/>
              <a:pPr/>
              <a:t>‹#›</a:t>
            </a:fld>
            <a:endParaRPr lang="el-GR" dirty="0"/>
          </a:p>
        </p:txBody>
      </p:sp>
    </p:spTree>
    <p:extLst>
      <p:ext uri="{BB962C8B-B14F-4D97-AF65-F5344CB8AC3E}">
        <p14:creationId xmlns:p14="http://schemas.microsoft.com/office/powerpoint/2010/main" val="7319005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DDE5969-0B8F-1739-B86C-FEB6BB090428}"/>
              </a:ext>
            </a:extLst>
          </p:cNvPr>
          <p:cNvGraphicFramePr>
            <a:graphicFrameLocks noChangeAspect="1"/>
          </p:cNvGraphicFramePr>
          <p:nvPr userDrawn="1">
            <p:custDataLst>
              <p:tags r:id="rId2"/>
            </p:custDataLst>
            <p:extLst>
              <p:ext uri="{D42A27DB-BD31-4B8C-83A1-F6EECF244321}">
                <p14:modId xmlns:p14="http://schemas.microsoft.com/office/powerpoint/2010/main" val="4120137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CDDE5969-0B8F-1739-B86C-FEB6BB0904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Google Shape;1168;p31">
            <a:extLst>
              <a:ext uri="{FF2B5EF4-FFF2-40B4-BE49-F238E27FC236}">
                <a16:creationId xmlns:a16="http://schemas.microsoft.com/office/drawing/2014/main" id="{DEA0E292-89A0-7E1D-378D-DA9176A11E07}"/>
              </a:ext>
            </a:extLst>
          </p:cNvPr>
          <p:cNvSpPr/>
          <p:nvPr userDrawn="1"/>
        </p:nvSpPr>
        <p:spPr>
          <a:xfrm>
            <a:off x="0" y="4618565"/>
            <a:ext cx="8265112" cy="2239435"/>
          </a:xfrm>
          <a:prstGeom prst="rect">
            <a:avLst/>
          </a:prstGeom>
          <a:solidFill>
            <a:srgbClr val="7EA3C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1" i="0" u="none" strike="noStrike" cap="none" dirty="0">
              <a:solidFill>
                <a:schemeClr val="lt1"/>
              </a:solidFill>
              <a:latin typeface="Arial"/>
              <a:ea typeface="Arial"/>
              <a:cs typeface="Arial"/>
              <a:sym typeface="Arial"/>
            </a:endParaRPr>
          </a:p>
        </p:txBody>
      </p:sp>
      <p:sp>
        <p:nvSpPr>
          <p:cNvPr id="28" name="Google Shape;47;p7">
            <a:extLst>
              <a:ext uri="{FF2B5EF4-FFF2-40B4-BE49-F238E27FC236}">
                <a16:creationId xmlns:a16="http://schemas.microsoft.com/office/drawing/2014/main" id="{A2BE2E5E-48A2-7628-8344-A93141B37C57}"/>
              </a:ext>
            </a:extLst>
          </p:cNvPr>
          <p:cNvSpPr/>
          <p:nvPr userDrawn="1"/>
        </p:nvSpPr>
        <p:spPr>
          <a:xfrm>
            <a:off x="-1" y="-1"/>
            <a:ext cx="8265113" cy="4618568"/>
          </a:xfrm>
          <a:prstGeom prst="rect">
            <a:avLst/>
          </a:prstGeom>
          <a:solidFill>
            <a:srgbClr val="4472C4">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endParaRPr>
          </a:p>
        </p:txBody>
      </p:sp>
      <p:sp>
        <p:nvSpPr>
          <p:cNvPr id="29" name="Google Shape;46;p7">
            <a:extLst>
              <a:ext uri="{FF2B5EF4-FFF2-40B4-BE49-F238E27FC236}">
                <a16:creationId xmlns:a16="http://schemas.microsoft.com/office/drawing/2014/main" id="{4AA23C99-0A1E-44BE-0B9F-AEE8A1447D87}"/>
              </a:ext>
            </a:extLst>
          </p:cNvPr>
          <p:cNvSpPr/>
          <p:nvPr userDrawn="1"/>
        </p:nvSpPr>
        <p:spPr>
          <a:xfrm>
            <a:off x="8271910" y="4618565"/>
            <a:ext cx="3920090" cy="2239436"/>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white"/>
              </a:solidFill>
              <a:effectLst/>
              <a:uLnTx/>
              <a:uFillTx/>
            </a:endParaRPr>
          </a:p>
        </p:txBody>
      </p:sp>
      <p:sp>
        <p:nvSpPr>
          <p:cNvPr id="32" name="Google Shape;24;g1136d0d7768_0_919">
            <a:extLst>
              <a:ext uri="{FF2B5EF4-FFF2-40B4-BE49-F238E27FC236}">
                <a16:creationId xmlns:a16="http://schemas.microsoft.com/office/drawing/2014/main" id="{061E25A5-7E05-45EA-70AC-3AAEE4694ADC}"/>
              </a:ext>
            </a:extLst>
          </p:cNvPr>
          <p:cNvSpPr/>
          <p:nvPr userDrawn="1"/>
        </p:nvSpPr>
        <p:spPr>
          <a:xfrm>
            <a:off x="2405062" y="759933"/>
            <a:ext cx="4741800" cy="302400"/>
          </a:xfrm>
          <a:prstGeom prst="snip2DiagRect">
            <a:avLst>
              <a:gd name="adj1" fmla="val 0"/>
              <a:gd name="adj2" fmla="val 16667"/>
            </a:avLst>
          </a:prstGeom>
          <a:noFill/>
          <a:ln>
            <a:noFill/>
          </a:ln>
        </p:spPr>
        <p:txBody>
          <a:bodyPr spcFirstLastPara="1" wrap="square" lIns="111175" tIns="15850" rIns="111175" bIns="15850" anchor="ctr" anchorCtr="0">
            <a:noAutofit/>
          </a:bodyPr>
          <a:lstStyle/>
          <a:p>
            <a:pPr marL="0" marR="0" lvl="0" indent="0" algn="l" rtl="0">
              <a:lnSpc>
                <a:spcPct val="100000"/>
              </a:lnSpc>
              <a:spcBef>
                <a:spcPts val="0"/>
              </a:spcBef>
              <a:spcAft>
                <a:spcPts val="0"/>
              </a:spcAft>
              <a:buClr>
                <a:srgbClr val="FFFFFF"/>
              </a:buClr>
              <a:buSzPts val="2000"/>
              <a:buFont typeface="Calibri"/>
              <a:buNone/>
            </a:pPr>
            <a:r>
              <a:rPr lang="el-GR" sz="2800" b="1" i="0" u="none" strike="noStrike" cap="none" dirty="0">
                <a:solidFill>
                  <a:schemeClr val="bg1">
                    <a:lumMod val="95000"/>
                  </a:schemeClr>
                </a:solidFill>
                <a:latin typeface="Calibri"/>
                <a:ea typeface="Calibri"/>
                <a:cs typeface="Calibri"/>
                <a:sym typeface="Calibri"/>
              </a:rPr>
              <a:t>ΕΛΛΗΝΙΚΗ ΔΗΜΟΚΡΑΤΙΑ</a:t>
            </a:r>
            <a:endParaRPr sz="2800" b="0" i="0" u="none" strike="noStrike" cap="none" dirty="0">
              <a:solidFill>
                <a:schemeClr val="bg1">
                  <a:lumMod val="95000"/>
                </a:schemeClr>
              </a:solidFill>
              <a:latin typeface="Arial"/>
              <a:ea typeface="Arial"/>
              <a:cs typeface="Arial"/>
              <a:sym typeface="Arial"/>
            </a:endParaRPr>
          </a:p>
        </p:txBody>
      </p:sp>
      <p:sp>
        <p:nvSpPr>
          <p:cNvPr id="34" name="Google Shape;46;p7">
            <a:extLst>
              <a:ext uri="{FF2B5EF4-FFF2-40B4-BE49-F238E27FC236}">
                <a16:creationId xmlns:a16="http://schemas.microsoft.com/office/drawing/2014/main" id="{8D6C6B4E-C626-41A2-9E08-3D9D9799F415}"/>
              </a:ext>
            </a:extLst>
          </p:cNvPr>
          <p:cNvSpPr/>
          <p:nvPr userDrawn="1"/>
        </p:nvSpPr>
        <p:spPr>
          <a:xfrm>
            <a:off x="8268511" y="-1"/>
            <a:ext cx="3920090" cy="4618565"/>
          </a:xfrm>
          <a:prstGeom prst="rect">
            <a:avLst/>
          </a:prstGeom>
          <a:solidFill>
            <a:srgbClr val="CFCFC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white"/>
              </a:solidFill>
              <a:effectLst/>
              <a:uLnTx/>
              <a:uFillTx/>
            </a:endParaRPr>
          </a:p>
        </p:txBody>
      </p:sp>
      <p:pic>
        <p:nvPicPr>
          <p:cNvPr id="35" name="Picture 34">
            <a:extLst>
              <a:ext uri="{FF2B5EF4-FFF2-40B4-BE49-F238E27FC236}">
                <a16:creationId xmlns:a16="http://schemas.microsoft.com/office/drawing/2014/main" id="{EC76E7E1-439E-BE40-D78B-ADD940CD2DC2}"/>
              </a:ext>
            </a:extLst>
          </p:cNvPr>
          <p:cNvPicPr>
            <a:picLocks noChangeAspect="1"/>
          </p:cNvPicPr>
          <p:nvPr userDrawn="1"/>
        </p:nvPicPr>
        <p:blipFill rotWithShape="1">
          <a:blip r:embed="rId6"/>
          <a:srcRect l="25287" t="19870" r="25674" b="17483"/>
          <a:stretch/>
        </p:blipFill>
        <p:spPr>
          <a:xfrm>
            <a:off x="281033" y="299486"/>
            <a:ext cx="2120630" cy="1867711"/>
          </a:xfrm>
          <a:prstGeom prst="rect">
            <a:avLst/>
          </a:prstGeom>
        </p:spPr>
      </p:pic>
      <p:sp>
        <p:nvSpPr>
          <p:cNvPr id="2" name="Title 1">
            <a:extLst>
              <a:ext uri="{FF2B5EF4-FFF2-40B4-BE49-F238E27FC236}">
                <a16:creationId xmlns:a16="http://schemas.microsoft.com/office/drawing/2014/main" id="{FE73297D-E7CC-BC1D-B20F-B29641BB043C}"/>
              </a:ext>
            </a:extLst>
          </p:cNvPr>
          <p:cNvSpPr>
            <a:spLocks noGrp="1"/>
          </p:cNvSpPr>
          <p:nvPr>
            <p:ph type="title"/>
          </p:nvPr>
        </p:nvSpPr>
        <p:spPr>
          <a:xfrm>
            <a:off x="414000" y="2892180"/>
            <a:ext cx="6732862" cy="1325563"/>
          </a:xfrm>
          <a:prstGeom prst="rect">
            <a:avLst/>
          </a:prstGeom>
          <a:noFill/>
          <a:ln>
            <a:noFill/>
          </a:ln>
        </p:spPr>
        <p:txBody>
          <a:bodyPr spcFirstLastPara="1" vert="horz" wrap="square" lIns="91425" tIns="91425" rIns="91425" bIns="91425" anchor="t" anchorCtr="0">
            <a:noAutofit/>
          </a:bodyPr>
          <a:lstStyle>
            <a:lvl1pPr>
              <a:defRPr lang="en-GB" sz="3600" b="1" i="0" u="none" strike="noStrike" cap="none" dirty="0">
                <a:solidFill>
                  <a:schemeClr val="bg1">
                    <a:lumMod val="95000"/>
                  </a:schemeClr>
                </a:solidFill>
                <a:latin typeface="Calibri" panose="020F0502020204030204" pitchFamily="34" charset="0"/>
                <a:ea typeface="Calibri" panose="020F0502020204030204" pitchFamily="34" charset="0"/>
                <a:cs typeface="Calibri" panose="020F0502020204030204" pitchFamily="34" charset="0"/>
                <a:sym typeface="Arial"/>
              </a:defRPr>
            </a:lvl1pPr>
          </a:lstStyle>
          <a:p>
            <a:pPr lvl="0">
              <a:buClr>
                <a:schemeClr val="dk1"/>
              </a:buClr>
              <a:buSzPts val="2800"/>
              <a:buNone/>
            </a:pPr>
            <a:r>
              <a:rPr lang="en-US" dirty="0"/>
              <a:t>Click to edit Master title style</a:t>
            </a:r>
            <a:endParaRPr lang="en-GB" dirty="0"/>
          </a:p>
        </p:txBody>
      </p:sp>
      <p:sp>
        <p:nvSpPr>
          <p:cNvPr id="5" name="Google Shape;14;g1136d0d7768_0_1549">
            <a:extLst>
              <a:ext uri="{FF2B5EF4-FFF2-40B4-BE49-F238E27FC236}">
                <a16:creationId xmlns:a16="http://schemas.microsoft.com/office/drawing/2014/main" id="{F9BACF77-9FE1-2469-62B1-3C6C07E535E2}"/>
              </a:ext>
            </a:extLst>
          </p:cNvPr>
          <p:cNvSpPr txBox="1">
            <a:spLocks noGrp="1"/>
          </p:cNvSpPr>
          <p:nvPr>
            <p:ph type="sldNum" idx="12"/>
          </p:nvPr>
        </p:nvSpPr>
        <p:spPr>
          <a:xfrm>
            <a:off x="11296611" y="6377081"/>
            <a:ext cx="522000" cy="255454"/>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chemeClr val="lt1"/>
              </a:buClr>
              <a:buSzPts val="1000"/>
              <a:buFont typeface="Calibri"/>
              <a:buNone/>
              <a:defRPr sz="1000" b="0" i="0" u="none" strike="noStrike" cap="none">
                <a:solidFill>
                  <a:schemeClr val="bg1">
                    <a:lumMod val="65000"/>
                  </a:schemeClr>
                </a:solidFill>
                <a:latin typeface="Calibri"/>
                <a:ea typeface="Calibri"/>
                <a:cs typeface="Calibri"/>
                <a:sym typeface="Calibri"/>
              </a:defRPr>
            </a:lvl1pPr>
            <a:lvl2pPr marL="0" marR="0" lvl="1"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2pPr>
            <a:lvl3pPr marL="0" marR="0" lvl="2"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3pPr>
            <a:lvl4pPr marL="0" marR="0" lvl="3"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4pPr>
            <a:lvl5pPr marL="0" marR="0" lvl="4"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5pPr>
            <a:lvl6pPr marL="0" marR="0" lvl="5"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6pPr>
            <a:lvl7pPr marL="0" marR="0" lvl="6"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7pPr>
            <a:lvl8pPr marL="0" marR="0" lvl="7"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8pPr>
            <a:lvl9pPr marL="0" marR="0" lvl="8"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9pPr>
          </a:lstStyle>
          <a:p>
            <a:fld id="{00000000-1234-1234-1234-123412341234}" type="slidenum">
              <a:rPr lang="el-GR" smtClean="0"/>
              <a:pPr/>
              <a:t>‹#›</a:t>
            </a:fld>
            <a:endParaRPr lang="el-GR" dirty="0"/>
          </a:p>
        </p:txBody>
      </p:sp>
      <p:sp>
        <p:nvSpPr>
          <p:cNvPr id="6" name="Text Placeholder 13">
            <a:extLst>
              <a:ext uri="{FF2B5EF4-FFF2-40B4-BE49-F238E27FC236}">
                <a16:creationId xmlns:a16="http://schemas.microsoft.com/office/drawing/2014/main" id="{D7ED1215-9DD4-FF64-EAD8-9001EC0E5B6C}"/>
              </a:ext>
            </a:extLst>
          </p:cNvPr>
          <p:cNvSpPr>
            <a:spLocks noGrp="1"/>
          </p:cNvSpPr>
          <p:nvPr>
            <p:ph type="body" sz="quarter" idx="10" hasCustomPrompt="1"/>
          </p:nvPr>
        </p:nvSpPr>
        <p:spPr>
          <a:xfrm>
            <a:off x="414000" y="4886350"/>
            <a:ext cx="6732862" cy="914400"/>
          </a:xfrm>
        </p:spPr>
        <p:txBody>
          <a:bodyPr>
            <a:normAutofit/>
          </a:bodyPr>
          <a:lstStyle>
            <a:lvl1pPr>
              <a:defRPr sz="1800">
                <a:solidFill>
                  <a:schemeClr val="bg1"/>
                </a:solidFill>
              </a:defRPr>
            </a:lvl1pPr>
            <a:lvl5pPr>
              <a:defRPr/>
            </a:lvl5pPr>
          </a:lstStyle>
          <a:p>
            <a:pPr lvl="0"/>
            <a:r>
              <a:rPr lang="el-GR" dirty="0"/>
              <a:t>Ημερομηνία</a:t>
            </a:r>
            <a:endParaRPr lang="en-GB" dirty="0"/>
          </a:p>
        </p:txBody>
      </p:sp>
      <p:sp>
        <p:nvSpPr>
          <p:cNvPr id="7" name="Text Placeholder 13">
            <a:extLst>
              <a:ext uri="{FF2B5EF4-FFF2-40B4-BE49-F238E27FC236}">
                <a16:creationId xmlns:a16="http://schemas.microsoft.com/office/drawing/2014/main" id="{D0164F7F-C5D9-209D-CB57-B12B078A1BFE}"/>
              </a:ext>
            </a:extLst>
          </p:cNvPr>
          <p:cNvSpPr>
            <a:spLocks noGrp="1"/>
          </p:cNvSpPr>
          <p:nvPr>
            <p:ph type="body" sz="quarter" idx="13" hasCustomPrompt="1"/>
          </p:nvPr>
        </p:nvSpPr>
        <p:spPr>
          <a:xfrm>
            <a:off x="2447734" y="1205619"/>
            <a:ext cx="4657521" cy="463161"/>
          </a:xfrm>
        </p:spPr>
        <p:txBody>
          <a:bodyPr lIns="111600">
            <a:normAutofit/>
          </a:bodyPr>
          <a:lstStyle>
            <a:lvl1pPr>
              <a:defRPr sz="1800">
                <a:solidFill>
                  <a:schemeClr val="bg1"/>
                </a:solidFill>
              </a:defRPr>
            </a:lvl1pPr>
            <a:lvl5pPr>
              <a:defRPr/>
            </a:lvl5pPr>
          </a:lstStyle>
          <a:p>
            <a:pPr lvl="0"/>
            <a:r>
              <a:rPr lang="el-GR" dirty="0"/>
              <a:t>Υπουργείο</a:t>
            </a:r>
            <a:endParaRPr lang="en-GB" dirty="0"/>
          </a:p>
        </p:txBody>
      </p:sp>
    </p:spTree>
    <p:extLst>
      <p:ext uri="{BB962C8B-B14F-4D97-AF65-F5344CB8AC3E}">
        <p14:creationId xmlns:p14="http://schemas.microsoft.com/office/powerpoint/2010/main" val="147398668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C579F7C2-3447-50B3-0BAB-2E405630C904}"/>
              </a:ext>
            </a:extLst>
          </p:cNvPr>
          <p:cNvGraphicFramePr>
            <a:graphicFrameLocks noChangeAspect="1"/>
          </p:cNvGraphicFramePr>
          <p:nvPr userDrawn="1">
            <p:custDataLst>
              <p:tags r:id="rId2"/>
            </p:custDataLst>
            <p:extLst>
              <p:ext uri="{D42A27DB-BD31-4B8C-83A1-F6EECF244321}">
                <p14:modId xmlns:p14="http://schemas.microsoft.com/office/powerpoint/2010/main" val="517600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4" imgW="404" imgH="405" progId="TCLayout.ActiveDocument.1">
                  <p:embed/>
                </p:oleObj>
              </mc:Choice>
              <mc:Fallback>
                <p:oleObj name="think-cell Slide" r:id="rId4" imgW="404" imgH="405" progId="TCLayout.ActiveDocument.1">
                  <p:embed/>
                  <p:pic>
                    <p:nvPicPr>
                      <p:cNvPr id="13" name="think-cell data - do not delete" hidden="1">
                        <a:extLst>
                          <a:ext uri="{FF2B5EF4-FFF2-40B4-BE49-F238E27FC236}">
                            <a16:creationId xmlns:a16="http://schemas.microsoft.com/office/drawing/2014/main" id="{C579F7C2-3447-50B3-0BAB-2E405630C9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Google Shape;1168;p31">
            <a:extLst>
              <a:ext uri="{FF2B5EF4-FFF2-40B4-BE49-F238E27FC236}">
                <a16:creationId xmlns:a16="http://schemas.microsoft.com/office/drawing/2014/main" id="{53410CBA-4879-58AF-6A86-2DDF0C4ADCF9}"/>
              </a:ext>
            </a:extLst>
          </p:cNvPr>
          <p:cNvSpPr/>
          <p:nvPr userDrawn="1"/>
        </p:nvSpPr>
        <p:spPr>
          <a:xfrm>
            <a:off x="0" y="-2"/>
            <a:ext cx="5272775" cy="6858001"/>
          </a:xfrm>
          <a:prstGeom prst="rect">
            <a:avLst/>
          </a:prstGeom>
          <a:solidFill>
            <a:srgbClr val="2F559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4" name="Google Shape;1169;p31">
            <a:extLst>
              <a:ext uri="{FF2B5EF4-FFF2-40B4-BE49-F238E27FC236}">
                <a16:creationId xmlns:a16="http://schemas.microsoft.com/office/drawing/2014/main" id="{F3CFE81D-268B-287D-DCA9-76452EF27ED0}"/>
              </a:ext>
            </a:extLst>
          </p:cNvPr>
          <p:cNvSpPr/>
          <p:nvPr userDrawn="1"/>
        </p:nvSpPr>
        <p:spPr>
          <a:xfrm rot="5400000">
            <a:off x="3937635" y="1304318"/>
            <a:ext cx="6858000" cy="4249363"/>
          </a:xfrm>
          <a:prstGeom prst="rtTriangle">
            <a:avLst/>
          </a:prstGeom>
          <a:solidFill>
            <a:srgbClr val="2F559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 name="Google Shape;1168;p31">
            <a:extLst>
              <a:ext uri="{FF2B5EF4-FFF2-40B4-BE49-F238E27FC236}">
                <a16:creationId xmlns:a16="http://schemas.microsoft.com/office/drawing/2014/main" id="{91BF32EE-28B2-EE4B-CDB6-F26E6E63F5BB}"/>
              </a:ext>
            </a:extLst>
          </p:cNvPr>
          <p:cNvSpPr/>
          <p:nvPr userDrawn="1"/>
        </p:nvSpPr>
        <p:spPr>
          <a:xfrm>
            <a:off x="-1" y="4444999"/>
            <a:ext cx="5241953" cy="2413001"/>
          </a:xfrm>
          <a:prstGeom prst="rect">
            <a:avLst/>
          </a:prstGeom>
          <a:solidFill>
            <a:srgbClr val="7EA3C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6" name="Google Shape;1169;p31">
            <a:extLst>
              <a:ext uri="{FF2B5EF4-FFF2-40B4-BE49-F238E27FC236}">
                <a16:creationId xmlns:a16="http://schemas.microsoft.com/office/drawing/2014/main" id="{AAF01DD4-7455-3925-63B6-7A8AA9C29845}"/>
              </a:ext>
            </a:extLst>
          </p:cNvPr>
          <p:cNvSpPr/>
          <p:nvPr userDrawn="1"/>
        </p:nvSpPr>
        <p:spPr>
          <a:xfrm rot="5400000">
            <a:off x="4789501" y="4897450"/>
            <a:ext cx="2412999" cy="1508098"/>
          </a:xfrm>
          <a:prstGeom prst="rtTriangle">
            <a:avLst/>
          </a:prstGeom>
          <a:solidFill>
            <a:srgbClr val="7EA3C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7" name="Google Shape;1169;p31">
            <a:extLst>
              <a:ext uri="{FF2B5EF4-FFF2-40B4-BE49-F238E27FC236}">
                <a16:creationId xmlns:a16="http://schemas.microsoft.com/office/drawing/2014/main" id="{E2D1C349-DAD2-0008-FD13-D0C5BF7BD136}"/>
              </a:ext>
            </a:extLst>
          </p:cNvPr>
          <p:cNvSpPr/>
          <p:nvPr userDrawn="1"/>
        </p:nvSpPr>
        <p:spPr>
          <a:xfrm rot="16200000">
            <a:off x="3906810" y="1304317"/>
            <a:ext cx="6858000" cy="4249363"/>
          </a:xfrm>
          <a:prstGeom prst="rtTriangle">
            <a:avLst/>
          </a:prstGeom>
          <a:solidFill>
            <a:srgbClr val="CFCFCF"/>
          </a:solidFill>
          <a:ln>
            <a:noFill/>
          </a:ln>
        </p:spPr>
        <p:txBody>
          <a:bodyPr spcFirstLastPara="1" wrap="square" lIns="91425" tIns="45700" rIns="91425" bIns="45700" anchor="ctr" anchorCtr="0">
            <a:noAutofit/>
          </a:bodyPr>
          <a:lstStyle/>
          <a:p>
            <a:pPr marL="0" lvl="0" indent="0" algn="ctr" defTabSz="914400" eaLnBrk="1" fontAlgn="auto" latinLnBrk="0" hangingPunct="1">
              <a:buClrTx/>
              <a:buSzTx/>
              <a:buFontTx/>
              <a:buNone/>
              <a:tabLst/>
            </a:pPr>
            <a:endParaRPr kumimoji="0" sz="1600" kern="1200" spc="0" normalizeH="0" baseline="0">
              <a:ln>
                <a:noFill/>
              </a:ln>
              <a:solidFill>
                <a:prstClr val="white"/>
              </a:solidFill>
              <a:effectLst/>
              <a:uLnTx/>
              <a:uFillTx/>
              <a:sym typeface="Arial"/>
            </a:endParaRPr>
          </a:p>
        </p:txBody>
      </p:sp>
      <p:sp>
        <p:nvSpPr>
          <p:cNvPr id="8" name="Google Shape;1169;p31">
            <a:extLst>
              <a:ext uri="{FF2B5EF4-FFF2-40B4-BE49-F238E27FC236}">
                <a16:creationId xmlns:a16="http://schemas.microsoft.com/office/drawing/2014/main" id="{BFF5529D-F28A-250A-1CA9-BDE0B5FC8029}"/>
              </a:ext>
            </a:extLst>
          </p:cNvPr>
          <p:cNvSpPr/>
          <p:nvPr userDrawn="1"/>
        </p:nvSpPr>
        <p:spPr>
          <a:xfrm rot="16200000">
            <a:off x="4762865" y="4907156"/>
            <a:ext cx="2413000" cy="1488687"/>
          </a:xfrm>
          <a:prstGeom prst="rtTriangle">
            <a:avLst/>
          </a:prstGeom>
          <a:solidFill>
            <a:srgbClr val="EEEEEE"/>
          </a:solidFill>
          <a:ln>
            <a:noFill/>
          </a:ln>
        </p:spPr>
        <p:txBody>
          <a:bodyPr spcFirstLastPara="1" wrap="square" lIns="91425" tIns="45700" rIns="91425" bIns="45700" anchor="ctr" anchorCtr="0">
            <a:noAutofit/>
          </a:bodyPr>
          <a:lstStyle/>
          <a:p>
            <a:pPr marL="0" lvl="0" indent="0" algn="ctr" defTabSz="914400" eaLnBrk="1" fontAlgn="auto" latinLnBrk="0" hangingPunct="1">
              <a:buClrTx/>
              <a:buSzTx/>
              <a:buFontTx/>
              <a:buNone/>
              <a:tabLst/>
            </a:pPr>
            <a:endParaRPr kumimoji="0" sz="1600" kern="1200" spc="0" normalizeH="0" baseline="0">
              <a:ln>
                <a:noFill/>
              </a:ln>
              <a:solidFill>
                <a:prstClr val="white"/>
              </a:solidFill>
              <a:effectLst/>
              <a:uLnTx/>
              <a:uFillTx/>
              <a:sym typeface="Arial"/>
            </a:endParaRPr>
          </a:p>
        </p:txBody>
      </p:sp>
      <p:sp>
        <p:nvSpPr>
          <p:cNvPr id="9" name="Google Shape;46;p7">
            <a:extLst>
              <a:ext uri="{FF2B5EF4-FFF2-40B4-BE49-F238E27FC236}">
                <a16:creationId xmlns:a16="http://schemas.microsoft.com/office/drawing/2014/main" id="{301B745C-9DFC-CE73-2070-38443A666C90}"/>
              </a:ext>
            </a:extLst>
          </p:cNvPr>
          <p:cNvSpPr/>
          <p:nvPr userDrawn="1"/>
        </p:nvSpPr>
        <p:spPr>
          <a:xfrm>
            <a:off x="6705600" y="4444994"/>
            <a:ext cx="5486399" cy="2413005"/>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white"/>
              </a:solidFill>
              <a:effectLst/>
              <a:uLnTx/>
              <a:uFillTx/>
            </a:endParaRPr>
          </a:p>
        </p:txBody>
      </p:sp>
      <p:sp>
        <p:nvSpPr>
          <p:cNvPr id="10" name="Google Shape;46;p7">
            <a:extLst>
              <a:ext uri="{FF2B5EF4-FFF2-40B4-BE49-F238E27FC236}">
                <a16:creationId xmlns:a16="http://schemas.microsoft.com/office/drawing/2014/main" id="{75B88F08-2349-EBFD-5C13-5C43D0B406C2}"/>
              </a:ext>
            </a:extLst>
          </p:cNvPr>
          <p:cNvSpPr/>
          <p:nvPr userDrawn="1"/>
        </p:nvSpPr>
        <p:spPr>
          <a:xfrm>
            <a:off x="9448800" y="0"/>
            <a:ext cx="2743200" cy="4444990"/>
          </a:xfrm>
          <a:prstGeom prst="rect">
            <a:avLst/>
          </a:prstGeom>
          <a:solidFill>
            <a:srgbClr val="CFCFC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white"/>
              </a:solidFill>
              <a:effectLst/>
              <a:uLnTx/>
              <a:uFillTx/>
            </a:endParaRPr>
          </a:p>
        </p:txBody>
      </p:sp>
      <p:sp>
        <p:nvSpPr>
          <p:cNvPr id="2" name="Title 1">
            <a:extLst>
              <a:ext uri="{FF2B5EF4-FFF2-40B4-BE49-F238E27FC236}">
                <a16:creationId xmlns:a16="http://schemas.microsoft.com/office/drawing/2014/main" id="{2F95B7F1-1C8D-9ED8-A160-CB0E4832EA0D}"/>
              </a:ext>
            </a:extLst>
          </p:cNvPr>
          <p:cNvSpPr>
            <a:spLocks noGrp="1"/>
          </p:cNvSpPr>
          <p:nvPr userDrawn="1">
            <p:ph type="title"/>
          </p:nvPr>
        </p:nvSpPr>
        <p:spPr>
          <a:xfrm>
            <a:off x="414000" y="2348654"/>
            <a:ext cx="6275914" cy="1867710"/>
          </a:xfrm>
          <a:prstGeom prst="rect">
            <a:avLst/>
          </a:prstGeom>
          <a:noFill/>
          <a:ln>
            <a:noFill/>
          </a:ln>
        </p:spPr>
        <p:txBody>
          <a:bodyPr spcFirstLastPara="1" vert="horz" wrap="square" lIns="91425" tIns="91425" rIns="91425" bIns="91425" anchor="t" anchorCtr="0">
            <a:noAutofit/>
          </a:bodyPr>
          <a:lstStyle>
            <a:lvl1pPr>
              <a:defRPr lang="en-GB" sz="3600" b="1">
                <a:solidFill>
                  <a:schemeClr val="bg1">
                    <a:lumMod val="95000"/>
                  </a:schemeClr>
                </a:solidFill>
                <a:latin typeface="Calibri" panose="020F0502020204030204" pitchFamily="34" charset="0"/>
                <a:ea typeface="Calibri" panose="020F0502020204030204" pitchFamily="34" charset="0"/>
                <a:cs typeface="Calibri" panose="020F0502020204030204" pitchFamily="34" charset="0"/>
              </a:defRPr>
            </a:lvl1pPr>
          </a:lstStyle>
          <a:p>
            <a:pPr lvl="0">
              <a:buClr>
                <a:schemeClr val="dk1"/>
              </a:buClr>
              <a:buSzPts val="2800"/>
              <a:buNone/>
            </a:pPr>
            <a:r>
              <a:rPr lang="en-US"/>
              <a:t>Click to edit Master title style</a:t>
            </a:r>
            <a:endParaRPr lang="en-GB"/>
          </a:p>
        </p:txBody>
      </p:sp>
      <p:sp>
        <p:nvSpPr>
          <p:cNvPr id="14" name="Google Shape;24;g1136d0d7768_0_919">
            <a:extLst>
              <a:ext uri="{FF2B5EF4-FFF2-40B4-BE49-F238E27FC236}">
                <a16:creationId xmlns:a16="http://schemas.microsoft.com/office/drawing/2014/main" id="{D86C72CC-C7BB-1449-B246-CBA47D1A172A}"/>
              </a:ext>
            </a:extLst>
          </p:cNvPr>
          <p:cNvSpPr/>
          <p:nvPr userDrawn="1"/>
        </p:nvSpPr>
        <p:spPr>
          <a:xfrm>
            <a:off x="2405062" y="759933"/>
            <a:ext cx="4741800" cy="302400"/>
          </a:xfrm>
          <a:prstGeom prst="snip2DiagRect">
            <a:avLst>
              <a:gd name="adj1" fmla="val 0"/>
              <a:gd name="adj2" fmla="val 16667"/>
            </a:avLst>
          </a:prstGeom>
          <a:noFill/>
          <a:ln>
            <a:noFill/>
          </a:ln>
        </p:spPr>
        <p:txBody>
          <a:bodyPr spcFirstLastPara="1" wrap="square" lIns="111175" tIns="15850" rIns="111175" bIns="15850" anchor="ctr" anchorCtr="0">
            <a:noAutofit/>
          </a:bodyPr>
          <a:lstStyle/>
          <a:p>
            <a:pPr marL="0" marR="0" lvl="0" indent="0" algn="l" rtl="0">
              <a:lnSpc>
                <a:spcPct val="100000"/>
              </a:lnSpc>
              <a:spcBef>
                <a:spcPts val="0"/>
              </a:spcBef>
              <a:spcAft>
                <a:spcPts val="0"/>
              </a:spcAft>
              <a:buClr>
                <a:srgbClr val="FFFFFF"/>
              </a:buClr>
              <a:buSzPts val="2000"/>
              <a:buFont typeface="Calibri"/>
              <a:buNone/>
            </a:pPr>
            <a:r>
              <a:rPr lang="el-GR" sz="2800" b="1" i="0" u="none" strike="noStrike" cap="none" dirty="0">
                <a:solidFill>
                  <a:schemeClr val="bg1">
                    <a:lumMod val="95000"/>
                  </a:schemeClr>
                </a:solidFill>
                <a:latin typeface="Calibri"/>
                <a:ea typeface="Calibri"/>
                <a:cs typeface="Calibri"/>
                <a:sym typeface="Calibri"/>
              </a:rPr>
              <a:t>ΕΛΛΗΝΙΚΗ ΔΗΜΟΚΡΑΤΙΑ</a:t>
            </a:r>
            <a:endParaRPr sz="2800" b="0" i="0" u="none" strike="noStrike" cap="none" dirty="0">
              <a:solidFill>
                <a:schemeClr val="bg1">
                  <a:lumMod val="95000"/>
                </a:schemeClr>
              </a:solidFill>
              <a:latin typeface="Arial"/>
              <a:ea typeface="Arial"/>
              <a:cs typeface="Arial"/>
              <a:sym typeface="Arial"/>
            </a:endParaRPr>
          </a:p>
        </p:txBody>
      </p:sp>
      <p:pic>
        <p:nvPicPr>
          <p:cNvPr id="16" name="Picture 15">
            <a:extLst>
              <a:ext uri="{FF2B5EF4-FFF2-40B4-BE49-F238E27FC236}">
                <a16:creationId xmlns:a16="http://schemas.microsoft.com/office/drawing/2014/main" id="{77B50EFD-2160-BFD3-8ADB-C95E205A62B7}"/>
              </a:ext>
            </a:extLst>
          </p:cNvPr>
          <p:cNvPicPr>
            <a:picLocks noChangeAspect="1"/>
          </p:cNvPicPr>
          <p:nvPr userDrawn="1"/>
        </p:nvPicPr>
        <p:blipFill rotWithShape="1">
          <a:blip r:embed="rId6"/>
          <a:srcRect l="25287" t="19870" r="25674" b="17483"/>
          <a:stretch/>
        </p:blipFill>
        <p:spPr>
          <a:xfrm>
            <a:off x="281033" y="299486"/>
            <a:ext cx="2120630" cy="1867711"/>
          </a:xfrm>
          <a:prstGeom prst="rect">
            <a:avLst/>
          </a:prstGeom>
        </p:spPr>
      </p:pic>
      <p:sp>
        <p:nvSpPr>
          <p:cNvPr id="11" name="Google Shape;14;g1136d0d7768_0_1549">
            <a:extLst>
              <a:ext uri="{FF2B5EF4-FFF2-40B4-BE49-F238E27FC236}">
                <a16:creationId xmlns:a16="http://schemas.microsoft.com/office/drawing/2014/main" id="{B9AD7443-8552-FB3A-9DB7-1AB6F9ED63CB}"/>
              </a:ext>
            </a:extLst>
          </p:cNvPr>
          <p:cNvSpPr txBox="1">
            <a:spLocks noGrp="1"/>
          </p:cNvSpPr>
          <p:nvPr>
            <p:ph type="sldNum" idx="12"/>
          </p:nvPr>
        </p:nvSpPr>
        <p:spPr>
          <a:xfrm>
            <a:off x="11296611" y="6377081"/>
            <a:ext cx="522000" cy="255454"/>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chemeClr val="lt1"/>
              </a:buClr>
              <a:buSzPts val="1000"/>
              <a:buFont typeface="Calibri"/>
              <a:buNone/>
              <a:defRPr sz="1000" b="0" i="0" u="none" strike="noStrike" cap="none">
                <a:solidFill>
                  <a:schemeClr val="bg1">
                    <a:lumMod val="65000"/>
                  </a:schemeClr>
                </a:solidFill>
                <a:latin typeface="Calibri"/>
                <a:ea typeface="Calibri"/>
                <a:cs typeface="Calibri"/>
                <a:sym typeface="Calibri"/>
              </a:defRPr>
            </a:lvl1pPr>
            <a:lvl2pPr marL="0" marR="0" lvl="1"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2pPr>
            <a:lvl3pPr marL="0" marR="0" lvl="2"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3pPr>
            <a:lvl4pPr marL="0" marR="0" lvl="3"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4pPr>
            <a:lvl5pPr marL="0" marR="0" lvl="4"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5pPr>
            <a:lvl6pPr marL="0" marR="0" lvl="5"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6pPr>
            <a:lvl7pPr marL="0" marR="0" lvl="6"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7pPr>
            <a:lvl8pPr marL="0" marR="0" lvl="7"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8pPr>
            <a:lvl9pPr marL="0" marR="0" lvl="8"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9pPr>
          </a:lstStyle>
          <a:p>
            <a:fld id="{00000000-1234-1234-1234-123412341234}" type="slidenum">
              <a:rPr lang="el-GR" smtClean="0"/>
              <a:pPr/>
              <a:t>‹#›</a:t>
            </a:fld>
            <a:endParaRPr lang="el-GR" dirty="0"/>
          </a:p>
        </p:txBody>
      </p:sp>
      <p:sp>
        <p:nvSpPr>
          <p:cNvPr id="12" name="Text Placeholder 13">
            <a:extLst>
              <a:ext uri="{FF2B5EF4-FFF2-40B4-BE49-F238E27FC236}">
                <a16:creationId xmlns:a16="http://schemas.microsoft.com/office/drawing/2014/main" id="{B4B22653-3CF1-8B3B-9365-63CDFFE074E2}"/>
              </a:ext>
            </a:extLst>
          </p:cNvPr>
          <p:cNvSpPr>
            <a:spLocks noGrp="1"/>
          </p:cNvSpPr>
          <p:nvPr>
            <p:ph type="body" sz="quarter" idx="10" hasCustomPrompt="1"/>
          </p:nvPr>
        </p:nvSpPr>
        <p:spPr>
          <a:xfrm>
            <a:off x="414000" y="4886350"/>
            <a:ext cx="6255259" cy="914400"/>
          </a:xfrm>
        </p:spPr>
        <p:txBody>
          <a:bodyPr>
            <a:normAutofit/>
          </a:bodyPr>
          <a:lstStyle>
            <a:lvl1pPr>
              <a:defRPr sz="1800">
                <a:solidFill>
                  <a:schemeClr val="bg1"/>
                </a:solidFill>
              </a:defRPr>
            </a:lvl1pPr>
            <a:lvl5pPr>
              <a:defRPr/>
            </a:lvl5pPr>
          </a:lstStyle>
          <a:p>
            <a:pPr lvl="0"/>
            <a:r>
              <a:rPr lang="el-GR" dirty="0"/>
              <a:t>Ημερομηνία</a:t>
            </a:r>
            <a:endParaRPr lang="en-GB" dirty="0"/>
          </a:p>
        </p:txBody>
      </p:sp>
      <p:sp>
        <p:nvSpPr>
          <p:cNvPr id="15" name="Text Placeholder 13">
            <a:extLst>
              <a:ext uri="{FF2B5EF4-FFF2-40B4-BE49-F238E27FC236}">
                <a16:creationId xmlns:a16="http://schemas.microsoft.com/office/drawing/2014/main" id="{7D56B2B7-FD93-5209-4C3D-598BFDC346C2}"/>
              </a:ext>
            </a:extLst>
          </p:cNvPr>
          <p:cNvSpPr>
            <a:spLocks noGrp="1"/>
          </p:cNvSpPr>
          <p:nvPr>
            <p:ph type="body" sz="quarter" idx="13" hasCustomPrompt="1"/>
          </p:nvPr>
        </p:nvSpPr>
        <p:spPr>
          <a:xfrm>
            <a:off x="2447734" y="1205619"/>
            <a:ext cx="4657521" cy="463161"/>
          </a:xfrm>
        </p:spPr>
        <p:txBody>
          <a:bodyPr lIns="111600">
            <a:normAutofit/>
          </a:bodyPr>
          <a:lstStyle>
            <a:lvl1pPr>
              <a:defRPr sz="1800">
                <a:solidFill>
                  <a:schemeClr val="bg1"/>
                </a:solidFill>
              </a:defRPr>
            </a:lvl1pPr>
            <a:lvl5pPr>
              <a:defRPr/>
            </a:lvl5pPr>
          </a:lstStyle>
          <a:p>
            <a:pPr lvl="0"/>
            <a:r>
              <a:rPr lang="el-GR" dirty="0"/>
              <a:t>Υπουργείο</a:t>
            </a:r>
            <a:endParaRPr lang="en-GB" dirty="0"/>
          </a:p>
        </p:txBody>
      </p:sp>
    </p:spTree>
    <p:extLst>
      <p:ext uri="{BB962C8B-B14F-4D97-AF65-F5344CB8AC3E}">
        <p14:creationId xmlns:p14="http://schemas.microsoft.com/office/powerpoint/2010/main" val="120861023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047BF8C-0CD6-F449-51D8-589A899B3E1A}"/>
              </a:ext>
            </a:extLst>
          </p:cNvPr>
          <p:cNvGraphicFramePr>
            <a:graphicFrameLocks noChangeAspect="1"/>
          </p:cNvGraphicFramePr>
          <p:nvPr userDrawn="1">
            <p:custDataLst>
              <p:tags r:id="rId2"/>
            </p:custDataLst>
            <p:extLst>
              <p:ext uri="{D42A27DB-BD31-4B8C-83A1-F6EECF244321}">
                <p14:modId xmlns:p14="http://schemas.microsoft.com/office/powerpoint/2010/main" val="3813665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6047BF8C-0CD6-F449-51D8-589A899B3E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Google Shape;1168;p31">
            <a:extLst>
              <a:ext uri="{FF2B5EF4-FFF2-40B4-BE49-F238E27FC236}">
                <a16:creationId xmlns:a16="http://schemas.microsoft.com/office/drawing/2014/main" id="{03ADE81C-968A-6620-5465-1216163E1436}"/>
              </a:ext>
            </a:extLst>
          </p:cNvPr>
          <p:cNvSpPr/>
          <p:nvPr userDrawn="1"/>
        </p:nvSpPr>
        <p:spPr>
          <a:xfrm>
            <a:off x="0" y="-2"/>
            <a:ext cx="5241953" cy="6858001"/>
          </a:xfrm>
          <a:prstGeom prst="rect">
            <a:avLst/>
          </a:prstGeom>
          <a:solidFill>
            <a:srgbClr val="7EA3C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4" name="Google Shape;1169;p31">
            <a:extLst>
              <a:ext uri="{FF2B5EF4-FFF2-40B4-BE49-F238E27FC236}">
                <a16:creationId xmlns:a16="http://schemas.microsoft.com/office/drawing/2014/main" id="{3E12984E-6038-72B9-7A7F-72C9AEF51161}"/>
              </a:ext>
            </a:extLst>
          </p:cNvPr>
          <p:cNvSpPr/>
          <p:nvPr userDrawn="1"/>
        </p:nvSpPr>
        <p:spPr>
          <a:xfrm rot="5400000">
            <a:off x="3937635" y="1304318"/>
            <a:ext cx="6858000" cy="4249363"/>
          </a:xfrm>
          <a:prstGeom prst="rtTriangle">
            <a:avLst/>
          </a:prstGeom>
          <a:solidFill>
            <a:srgbClr val="7EA3C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2" name="Title 1">
            <a:extLst>
              <a:ext uri="{FF2B5EF4-FFF2-40B4-BE49-F238E27FC236}">
                <a16:creationId xmlns:a16="http://schemas.microsoft.com/office/drawing/2014/main" id="{FF9A6520-A49A-1AFA-D174-CF32236EBB83}"/>
              </a:ext>
            </a:extLst>
          </p:cNvPr>
          <p:cNvSpPr>
            <a:spLocks noGrp="1"/>
          </p:cNvSpPr>
          <p:nvPr>
            <p:ph type="title"/>
          </p:nvPr>
        </p:nvSpPr>
        <p:spPr>
          <a:xfrm>
            <a:off x="414000" y="593999"/>
            <a:ext cx="6739200" cy="2836800"/>
          </a:xfrm>
          <a:prstGeom prst="rect">
            <a:avLst/>
          </a:prstGeom>
          <a:noFill/>
          <a:ln>
            <a:noFill/>
          </a:ln>
        </p:spPr>
        <p:txBody>
          <a:bodyPr spcFirstLastPara="1" vert="horz" wrap="square" lIns="91425" tIns="91425" rIns="91425" bIns="91425" anchor="t" anchorCtr="0">
            <a:noAutofit/>
          </a:bodyPr>
          <a:lstStyle>
            <a:lvl1pPr>
              <a:defRPr lang="en-GB" sz="3600" b="1">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lvl="0">
              <a:buClr>
                <a:schemeClr val="dk1"/>
              </a:buClr>
              <a:buSzPts val="2800"/>
              <a:buNone/>
            </a:pPr>
            <a:r>
              <a:rPr lang="en-US"/>
              <a:t>Click to edit Master title style</a:t>
            </a:r>
            <a:endParaRPr lang="en-GB"/>
          </a:p>
        </p:txBody>
      </p:sp>
      <p:pic>
        <p:nvPicPr>
          <p:cNvPr id="6" name="Google Shape;1170;p31" descr="ΙΚΑΡΙΟΛΟΓΟΣ: Υπόμνημα του Δήμου Ικαρίας στο Υπουργείο Υγείας">
            <a:extLst>
              <a:ext uri="{FF2B5EF4-FFF2-40B4-BE49-F238E27FC236}">
                <a16:creationId xmlns:a16="http://schemas.microsoft.com/office/drawing/2014/main" id="{EBD80E99-6900-A1E0-C993-E1DAC1EACC32}"/>
              </a:ext>
            </a:extLst>
          </p:cNvPr>
          <p:cNvPicPr preferRelativeResize="0"/>
          <p:nvPr userDrawn="1"/>
        </p:nvPicPr>
        <p:blipFill rotWithShape="1">
          <a:blip r:embed="rId6">
            <a:alphaModFix/>
          </a:blip>
          <a:srcRect/>
          <a:stretch/>
        </p:blipFill>
        <p:spPr>
          <a:xfrm>
            <a:off x="10800000" y="148548"/>
            <a:ext cx="1188703" cy="1193399"/>
          </a:xfrm>
          <a:prstGeom prst="rect">
            <a:avLst/>
          </a:prstGeom>
          <a:noFill/>
          <a:ln>
            <a:noFill/>
          </a:ln>
        </p:spPr>
      </p:pic>
      <p:sp>
        <p:nvSpPr>
          <p:cNvPr id="7" name="Google Shape;14;g1136d0d7768_0_1549">
            <a:extLst>
              <a:ext uri="{FF2B5EF4-FFF2-40B4-BE49-F238E27FC236}">
                <a16:creationId xmlns:a16="http://schemas.microsoft.com/office/drawing/2014/main" id="{BDBE605E-66C9-A749-B78A-C08499F3DBD4}"/>
              </a:ext>
            </a:extLst>
          </p:cNvPr>
          <p:cNvSpPr txBox="1">
            <a:spLocks noGrp="1"/>
          </p:cNvSpPr>
          <p:nvPr>
            <p:ph type="sldNum" idx="12"/>
          </p:nvPr>
        </p:nvSpPr>
        <p:spPr>
          <a:xfrm>
            <a:off x="11296611" y="6377081"/>
            <a:ext cx="522000" cy="255454"/>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chemeClr val="lt1"/>
              </a:buClr>
              <a:buSzPts val="1000"/>
              <a:buFont typeface="Calibri"/>
              <a:buNone/>
              <a:defRPr sz="1000" b="0" i="0" u="none" strike="noStrike" cap="none">
                <a:solidFill>
                  <a:schemeClr val="bg1">
                    <a:lumMod val="65000"/>
                  </a:schemeClr>
                </a:solidFill>
                <a:latin typeface="Calibri"/>
                <a:ea typeface="Calibri"/>
                <a:cs typeface="Calibri"/>
                <a:sym typeface="Calibri"/>
              </a:defRPr>
            </a:lvl1pPr>
            <a:lvl2pPr marL="0" marR="0" lvl="1"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2pPr>
            <a:lvl3pPr marL="0" marR="0" lvl="2"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3pPr>
            <a:lvl4pPr marL="0" marR="0" lvl="3"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4pPr>
            <a:lvl5pPr marL="0" marR="0" lvl="4"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5pPr>
            <a:lvl6pPr marL="0" marR="0" lvl="5"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6pPr>
            <a:lvl7pPr marL="0" marR="0" lvl="6"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7pPr>
            <a:lvl8pPr marL="0" marR="0" lvl="7"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8pPr>
            <a:lvl9pPr marL="0" marR="0" lvl="8"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9pPr>
          </a:lstStyle>
          <a:p>
            <a:fld id="{00000000-1234-1234-1234-123412341234}" type="slidenum">
              <a:rPr lang="el-GR" smtClean="0"/>
              <a:pPr/>
              <a:t>‹#›</a:t>
            </a:fld>
            <a:endParaRPr lang="el-GR" dirty="0"/>
          </a:p>
        </p:txBody>
      </p:sp>
    </p:spTree>
    <p:extLst>
      <p:ext uri="{BB962C8B-B14F-4D97-AF65-F5344CB8AC3E}">
        <p14:creationId xmlns:p14="http://schemas.microsoft.com/office/powerpoint/2010/main" val="17035994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129E45-15AD-9FF2-0BB1-F25AFDD07742}"/>
              </a:ext>
            </a:extLst>
          </p:cNvPr>
          <p:cNvGraphicFramePr>
            <a:graphicFrameLocks noChangeAspect="1"/>
          </p:cNvGraphicFramePr>
          <p:nvPr userDrawn="1">
            <p:custDataLst>
              <p:tags r:id="rId2"/>
            </p:custDataLst>
            <p:extLst>
              <p:ext uri="{D42A27DB-BD31-4B8C-83A1-F6EECF244321}">
                <p14:modId xmlns:p14="http://schemas.microsoft.com/office/powerpoint/2010/main" val="1319664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F5129E45-15AD-9FF2-0BB1-F25AFDD077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DE61916-F3F8-50D5-AF1C-7B37174DE50A}"/>
              </a:ext>
            </a:extLst>
          </p:cNvPr>
          <p:cNvSpPr>
            <a:spLocks noGrp="1"/>
          </p:cNvSpPr>
          <p:nvPr>
            <p:ph type="title" hasCustomPrompt="1"/>
          </p:nvPr>
        </p:nvSpPr>
        <p:spPr>
          <a:xfrm>
            <a:off x="327600" y="399600"/>
            <a:ext cx="11343600" cy="835200"/>
          </a:xfrm>
          <a:prstGeom prst="rect">
            <a:avLst/>
          </a:prstGeom>
          <a:noFill/>
          <a:ln>
            <a:noFill/>
          </a:ln>
        </p:spPr>
        <p:txBody>
          <a:bodyPr spcFirstLastPara="1" vert="horz" wrap="square" lIns="108000" tIns="45700" rIns="91425" bIns="45700" anchor="t" anchorCtr="0">
            <a:noAutofit/>
          </a:bodyPr>
          <a:lstStyle>
            <a:lvl1pPr marR="0" algn="l" rtl="0">
              <a:lnSpc>
                <a:spcPct val="90000"/>
              </a:lnSpc>
              <a:spcBef>
                <a:spcPts val="0"/>
              </a:spcBef>
              <a:spcAft>
                <a:spcPts val="0"/>
              </a:spcAft>
              <a:buClr>
                <a:srgbClr val="000000"/>
              </a:buClr>
              <a:buSzPts val="3200"/>
              <a:buFont typeface="Arial"/>
              <a:buNone/>
              <a:defRPr lang="en-GB" sz="2600" b="1" i="0" u="none" strike="noStrike" cap="none" dirty="0">
                <a:solidFill>
                  <a:srgbClr val="31506D"/>
                </a:solidFill>
                <a:latin typeface="Calibri" panose="020F0502020204030204" pitchFamily="34" charset="0"/>
                <a:ea typeface="Calibri" panose="020F0502020204030204" pitchFamily="34" charset="0"/>
                <a:cs typeface="Calibri" panose="020F0502020204030204" pitchFamily="34" charset="0"/>
                <a:sym typeface="Arial"/>
              </a:defRPr>
            </a:lvl1pPr>
          </a:lstStyle>
          <a:p>
            <a:pPr lvl="0">
              <a:lnSpc>
                <a:spcPct val="90000"/>
              </a:lnSpc>
              <a:buSzPts val="3200"/>
              <a:buNone/>
            </a:pPr>
            <a:r>
              <a:rPr lang="en-US" dirty="0"/>
              <a:t>Click here to add text</a:t>
            </a:r>
            <a:endParaRPr lang="en-GB" dirty="0"/>
          </a:p>
        </p:txBody>
      </p:sp>
      <p:sp>
        <p:nvSpPr>
          <p:cNvPr id="3" name="Google Shape;16;g1136d0d7768_0_1549">
            <a:extLst>
              <a:ext uri="{FF2B5EF4-FFF2-40B4-BE49-F238E27FC236}">
                <a16:creationId xmlns:a16="http://schemas.microsoft.com/office/drawing/2014/main" id="{AFD97889-D12E-24CD-E5B1-84CC74586C8D}"/>
              </a:ext>
            </a:extLst>
          </p:cNvPr>
          <p:cNvSpPr/>
          <p:nvPr userDrawn="1"/>
        </p:nvSpPr>
        <p:spPr>
          <a:xfrm>
            <a:off x="363013" y="225465"/>
            <a:ext cx="5473800" cy="91500"/>
          </a:xfrm>
          <a:prstGeom prst="rect">
            <a:avLst/>
          </a:prstGeom>
          <a:solidFill>
            <a:srgbClr val="7EA3C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600"/>
              <a:buFont typeface="Calibri"/>
              <a:buNone/>
            </a:pPr>
            <a:endParaRPr sz="1600" b="0" i="0" u="none" strike="noStrike" cap="none">
              <a:solidFill>
                <a:schemeClr val="lt1"/>
              </a:solidFill>
              <a:latin typeface="Arial"/>
              <a:ea typeface="Arial"/>
              <a:cs typeface="Arial"/>
              <a:sym typeface="Arial"/>
            </a:endParaRPr>
          </a:p>
        </p:txBody>
      </p:sp>
      <p:sp>
        <p:nvSpPr>
          <p:cNvPr id="11" name="Google Shape;14;g1136d0d7768_0_1549">
            <a:extLst>
              <a:ext uri="{FF2B5EF4-FFF2-40B4-BE49-F238E27FC236}">
                <a16:creationId xmlns:a16="http://schemas.microsoft.com/office/drawing/2014/main" id="{0E9892E4-A612-040E-7A7D-0D46CEEDCDD8}"/>
              </a:ext>
            </a:extLst>
          </p:cNvPr>
          <p:cNvSpPr txBox="1">
            <a:spLocks noGrp="1"/>
          </p:cNvSpPr>
          <p:nvPr>
            <p:ph type="sldNum" idx="12"/>
          </p:nvPr>
        </p:nvSpPr>
        <p:spPr>
          <a:xfrm>
            <a:off x="11296611" y="6377081"/>
            <a:ext cx="522000" cy="255454"/>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chemeClr val="lt1"/>
              </a:buClr>
              <a:buSzPts val="1000"/>
              <a:buFont typeface="Calibri"/>
              <a:buNone/>
              <a:defRPr sz="1000" b="0" i="0" u="none" strike="noStrike" cap="none">
                <a:solidFill>
                  <a:schemeClr val="tx1"/>
                </a:solidFill>
                <a:latin typeface="Calibri"/>
                <a:ea typeface="Calibri"/>
                <a:cs typeface="Calibri"/>
                <a:sym typeface="Calibri"/>
              </a:defRPr>
            </a:lvl1pPr>
            <a:lvl2pPr marL="0" marR="0" lvl="1"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2pPr>
            <a:lvl3pPr marL="0" marR="0" lvl="2"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3pPr>
            <a:lvl4pPr marL="0" marR="0" lvl="3"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4pPr>
            <a:lvl5pPr marL="0" marR="0" lvl="4"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5pPr>
            <a:lvl6pPr marL="0" marR="0" lvl="5"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6pPr>
            <a:lvl7pPr marL="0" marR="0" lvl="6"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7pPr>
            <a:lvl8pPr marL="0" marR="0" lvl="7"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8pPr>
            <a:lvl9pPr marL="0" marR="0" lvl="8"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9pPr>
          </a:lstStyle>
          <a:p>
            <a:fld id="{00000000-1234-1234-1234-123412341234}" type="slidenum">
              <a:rPr lang="el-GR" smtClean="0"/>
              <a:pPr/>
              <a:t>‹#›</a:t>
            </a:fld>
            <a:endParaRPr lang="el-GR" dirty="0"/>
          </a:p>
        </p:txBody>
      </p:sp>
      <p:sp>
        <p:nvSpPr>
          <p:cNvPr id="12" name="Footer Placeholder 5">
            <a:extLst>
              <a:ext uri="{FF2B5EF4-FFF2-40B4-BE49-F238E27FC236}">
                <a16:creationId xmlns:a16="http://schemas.microsoft.com/office/drawing/2014/main" id="{C6C70BCA-680C-810F-1796-8CAE6B7314D4}"/>
              </a:ext>
            </a:extLst>
          </p:cNvPr>
          <p:cNvSpPr>
            <a:spLocks noGrp="1"/>
          </p:cNvSpPr>
          <p:nvPr>
            <p:ph type="ftr" sz="quarter" idx="3"/>
          </p:nvPr>
        </p:nvSpPr>
        <p:spPr>
          <a:xfrm>
            <a:off x="809897" y="6377081"/>
            <a:ext cx="10315303" cy="255454"/>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Add footer at: Insert -&gt; Header &amp; Footer -&gt; Footer</a:t>
            </a:r>
            <a:endParaRPr lang="el-GR" dirty="0"/>
          </a:p>
        </p:txBody>
      </p:sp>
      <p:pic>
        <p:nvPicPr>
          <p:cNvPr id="6" name="Google Shape;1170;p31" descr="ΙΚΑΡΙΟΛΟΓΟΣ: Υπόμνημα του Δήμου Ικαρίας στο Υπουργείο Υγείας">
            <a:extLst>
              <a:ext uri="{FF2B5EF4-FFF2-40B4-BE49-F238E27FC236}">
                <a16:creationId xmlns:a16="http://schemas.microsoft.com/office/drawing/2014/main" id="{E2296C07-1351-2A4C-8C52-1DE3C9FB73DB}"/>
              </a:ext>
            </a:extLst>
          </p:cNvPr>
          <p:cNvPicPr preferRelativeResize="0">
            <a:picLocks noChangeAspect="1"/>
          </p:cNvPicPr>
          <p:nvPr userDrawn="1"/>
        </p:nvPicPr>
        <p:blipFill rotWithShape="1">
          <a:blip r:embed="rId6">
            <a:alphaModFix/>
          </a:blip>
          <a:srcRect/>
          <a:stretch/>
        </p:blipFill>
        <p:spPr>
          <a:xfrm>
            <a:off x="173611" y="6271312"/>
            <a:ext cx="465154" cy="466992"/>
          </a:xfrm>
          <a:prstGeom prst="rect">
            <a:avLst/>
          </a:prstGeom>
          <a:noFill/>
          <a:ln>
            <a:noFill/>
          </a:ln>
        </p:spPr>
      </p:pic>
      <p:sp>
        <p:nvSpPr>
          <p:cNvPr id="13" name="Text Placeholder 9">
            <a:extLst>
              <a:ext uri="{FF2B5EF4-FFF2-40B4-BE49-F238E27FC236}">
                <a16:creationId xmlns:a16="http://schemas.microsoft.com/office/drawing/2014/main" id="{1EE61424-53E2-A865-2DA4-B7AD698E198C}"/>
              </a:ext>
            </a:extLst>
          </p:cNvPr>
          <p:cNvSpPr>
            <a:spLocks noGrp="1"/>
          </p:cNvSpPr>
          <p:nvPr>
            <p:ph type="body" sz="quarter" idx="14"/>
          </p:nvPr>
        </p:nvSpPr>
        <p:spPr>
          <a:xfrm>
            <a:off x="326267" y="1251889"/>
            <a:ext cx="11343600" cy="367200"/>
          </a:xfrm>
        </p:spPr>
        <p:txBody>
          <a:bodyPr vert="horz" lIns="108000" tIns="45720" rIns="91440" bIns="45720" rtlCol="0" anchor="ctr" anchorCtr="0">
            <a:noAutofit/>
          </a:bodyPr>
          <a:lstStyle>
            <a:lvl1pPr>
              <a:defRPr lang="en-US" sz="1800" b="1" smtClean="0">
                <a:solidFill>
                  <a:srgbClr val="363636"/>
                </a:solidFill>
                <a:latin typeface="Calibri" panose="020F0502020204030204" pitchFamily="34" charset="0"/>
                <a:ea typeface="Calibri" panose="020F0502020204030204" pitchFamily="34" charset="0"/>
                <a:cs typeface="Calibri" panose="020F0502020204030204" pitchFamily="34" charset="0"/>
              </a:defRPr>
            </a:lvl1pPr>
            <a:lvl2pPr>
              <a:defRPr lang="en-US" smtClean="0"/>
            </a:lvl2pPr>
            <a:lvl3pPr>
              <a:defRPr lang="en-US" smtClean="0"/>
            </a:lvl3pPr>
            <a:lvl4pPr>
              <a:defRPr lang="en-US" smtClean="0"/>
            </a:lvl4pPr>
            <a:lvl5pPr>
              <a:defRPr lang="en-GB"/>
            </a:lvl5pPr>
          </a:lstStyle>
          <a:p>
            <a:pPr lvl="0"/>
            <a:r>
              <a:rPr lang="en-US" dirty="0"/>
              <a:t>Click to edit Master text styles</a:t>
            </a:r>
          </a:p>
        </p:txBody>
      </p:sp>
    </p:spTree>
    <p:extLst>
      <p:ext uri="{BB962C8B-B14F-4D97-AF65-F5344CB8AC3E}">
        <p14:creationId xmlns:p14="http://schemas.microsoft.com/office/powerpoint/2010/main" val="325347966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101DEC8-A010-C67A-6BE9-C18FDD36BF48}"/>
              </a:ext>
            </a:extLst>
          </p:cNvPr>
          <p:cNvGraphicFramePr>
            <a:graphicFrameLocks noChangeAspect="1"/>
          </p:cNvGraphicFramePr>
          <p:nvPr userDrawn="1">
            <p:custDataLst>
              <p:tags r:id="rId2"/>
            </p:custDataLst>
            <p:extLst>
              <p:ext uri="{D42A27DB-BD31-4B8C-83A1-F6EECF244321}">
                <p14:modId xmlns:p14="http://schemas.microsoft.com/office/powerpoint/2010/main" val="4095405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4" imgW="404" imgH="405" progId="TCLayout.ActiveDocument.1">
                  <p:embed/>
                </p:oleObj>
              </mc:Choice>
              <mc:Fallback>
                <p:oleObj name="think-cell Slide" r:id="rId4" imgW="404" imgH="405" progId="TCLayout.ActiveDocument.1">
                  <p:embed/>
                  <p:pic>
                    <p:nvPicPr>
                      <p:cNvPr id="6" name="think-cell data - do not delete" hidden="1">
                        <a:extLst>
                          <a:ext uri="{FF2B5EF4-FFF2-40B4-BE49-F238E27FC236}">
                            <a16:creationId xmlns:a16="http://schemas.microsoft.com/office/drawing/2014/main" id="{D101DEC8-A010-C67A-6BE9-C18FDD36BF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EC904A-F9D8-5E65-C31B-D7BC825E9132}"/>
              </a:ext>
            </a:extLst>
          </p:cNvPr>
          <p:cNvSpPr>
            <a:spLocks noGrp="1"/>
          </p:cNvSpPr>
          <p:nvPr>
            <p:ph type="title"/>
          </p:nvPr>
        </p:nvSpPr>
        <p:spPr>
          <a:xfrm>
            <a:off x="414000" y="593999"/>
            <a:ext cx="6044400" cy="1796400"/>
          </a:xfrm>
          <a:prstGeom prst="rect">
            <a:avLst/>
          </a:prstGeom>
          <a:noFill/>
          <a:ln>
            <a:noFill/>
          </a:ln>
        </p:spPr>
        <p:txBody>
          <a:bodyPr spcFirstLastPara="1" vert="horz" wrap="square" lIns="91425" tIns="91425" rIns="91425" bIns="91425" anchor="t" anchorCtr="0">
            <a:noAutofit/>
          </a:bodyPr>
          <a:lstStyle>
            <a:lvl1pPr>
              <a:defRPr lang="en-GB" sz="3600" b="1">
                <a:solidFill>
                  <a:srgbClr val="31506D"/>
                </a:solidFill>
                <a:latin typeface="Calibri" panose="020F0502020204030204" pitchFamily="34" charset="0"/>
                <a:ea typeface="Calibri" panose="020F0502020204030204" pitchFamily="34" charset="0"/>
                <a:cs typeface="Calibri" panose="020F0502020204030204" pitchFamily="34" charset="0"/>
              </a:defRPr>
            </a:lvl1pPr>
          </a:lstStyle>
          <a:p>
            <a:pPr lvl="0">
              <a:buClr>
                <a:schemeClr val="dk1"/>
              </a:buClr>
              <a:buSzPts val="2800"/>
              <a:buNone/>
            </a:pPr>
            <a:r>
              <a:rPr lang="en-US" dirty="0"/>
              <a:t>Click to edit Master title style</a:t>
            </a:r>
            <a:endParaRPr lang="en-GB" dirty="0"/>
          </a:p>
        </p:txBody>
      </p:sp>
      <p:sp>
        <p:nvSpPr>
          <p:cNvPr id="3" name="Google Shape;1168;p31">
            <a:extLst>
              <a:ext uri="{FF2B5EF4-FFF2-40B4-BE49-F238E27FC236}">
                <a16:creationId xmlns:a16="http://schemas.microsoft.com/office/drawing/2014/main" id="{9C9FE7B1-CA72-E890-E29A-568BDF704D77}"/>
              </a:ext>
            </a:extLst>
          </p:cNvPr>
          <p:cNvSpPr/>
          <p:nvPr userDrawn="1"/>
        </p:nvSpPr>
        <p:spPr>
          <a:xfrm>
            <a:off x="7404100" y="-2"/>
            <a:ext cx="4787900" cy="6858001"/>
          </a:xfrm>
          <a:prstGeom prst="rect">
            <a:avLst/>
          </a:prstGeom>
          <a:solidFill>
            <a:srgbClr val="7EA3C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Calibri"/>
              <a:cs typeface="Arial"/>
              <a:sym typeface="Arial"/>
            </a:endParaRPr>
          </a:p>
        </p:txBody>
      </p:sp>
      <p:pic>
        <p:nvPicPr>
          <p:cNvPr id="15" name="Picture 14">
            <a:extLst>
              <a:ext uri="{FF2B5EF4-FFF2-40B4-BE49-F238E27FC236}">
                <a16:creationId xmlns:a16="http://schemas.microsoft.com/office/drawing/2014/main" id="{EFEF1CD8-F99A-0B96-34A0-3C05505EBDF3}"/>
              </a:ext>
            </a:extLst>
          </p:cNvPr>
          <p:cNvPicPr>
            <a:picLocks noChangeAspect="1"/>
          </p:cNvPicPr>
          <p:nvPr userDrawn="1"/>
        </p:nvPicPr>
        <p:blipFill rotWithShape="1">
          <a:blip r:embed="rId6"/>
          <a:srcRect l="30384" t="19870" r="29528" b="21656"/>
          <a:stretch/>
        </p:blipFill>
        <p:spPr>
          <a:xfrm>
            <a:off x="10784840" y="105369"/>
            <a:ext cx="1236980" cy="1233212"/>
          </a:xfrm>
          <a:prstGeom prst="rect">
            <a:avLst/>
          </a:prstGeom>
        </p:spPr>
      </p:pic>
      <p:sp>
        <p:nvSpPr>
          <p:cNvPr id="5" name="Google Shape;14;g1136d0d7768_0_1549">
            <a:extLst>
              <a:ext uri="{FF2B5EF4-FFF2-40B4-BE49-F238E27FC236}">
                <a16:creationId xmlns:a16="http://schemas.microsoft.com/office/drawing/2014/main" id="{8EFD7170-9DF6-B937-822A-561497AA0A34}"/>
              </a:ext>
            </a:extLst>
          </p:cNvPr>
          <p:cNvSpPr txBox="1">
            <a:spLocks noGrp="1"/>
          </p:cNvSpPr>
          <p:nvPr>
            <p:ph type="sldNum" idx="12"/>
          </p:nvPr>
        </p:nvSpPr>
        <p:spPr>
          <a:xfrm>
            <a:off x="11296611" y="6377081"/>
            <a:ext cx="522000" cy="255454"/>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chemeClr val="lt1"/>
              </a:buClr>
              <a:buSzPts val="1000"/>
              <a:buFont typeface="Calibri"/>
              <a:buNone/>
              <a:defRPr sz="1000" b="0" i="0" u="none" strike="noStrike" cap="none">
                <a:solidFill>
                  <a:schemeClr val="tx1">
                    <a:lumMod val="50000"/>
                    <a:lumOff val="50000"/>
                  </a:schemeClr>
                </a:solidFill>
                <a:latin typeface="Calibri"/>
                <a:ea typeface="Calibri"/>
                <a:cs typeface="Calibri"/>
                <a:sym typeface="Calibri"/>
              </a:defRPr>
            </a:lvl1pPr>
            <a:lvl2pPr marL="0" marR="0" lvl="1"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2pPr>
            <a:lvl3pPr marL="0" marR="0" lvl="2"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3pPr>
            <a:lvl4pPr marL="0" marR="0" lvl="3"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4pPr>
            <a:lvl5pPr marL="0" marR="0" lvl="4"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5pPr>
            <a:lvl6pPr marL="0" marR="0" lvl="5"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6pPr>
            <a:lvl7pPr marL="0" marR="0" lvl="6"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7pPr>
            <a:lvl8pPr marL="0" marR="0" lvl="7"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8pPr>
            <a:lvl9pPr marL="0" marR="0" lvl="8"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9pPr>
          </a:lstStyle>
          <a:p>
            <a:fld id="{00000000-1234-1234-1234-123412341234}" type="slidenum">
              <a:rPr lang="el-GR" smtClean="0"/>
              <a:pPr/>
              <a:t>‹#›</a:t>
            </a:fld>
            <a:endParaRPr lang="el-GR" dirty="0"/>
          </a:p>
        </p:txBody>
      </p:sp>
    </p:spTree>
    <p:extLst>
      <p:ext uri="{BB962C8B-B14F-4D97-AF65-F5344CB8AC3E}">
        <p14:creationId xmlns:p14="http://schemas.microsoft.com/office/powerpoint/2010/main" val="27517629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1"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22"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3200" b="0" strike="noStrike" spc="-1">
              <a:latin typeface="Arial"/>
            </a:endParaRPr>
          </a:p>
        </p:txBody>
      </p:sp>
      <p:sp>
        <p:nvSpPr>
          <p:cNvPr id="23" name="PlaceHolder 3"/>
          <p:cNvSpPr>
            <a:spLocks noGrp="1"/>
          </p:cNvSpPr>
          <p:nvPr>
            <p:ph type="body"/>
          </p:nvPr>
        </p:nvSpPr>
        <p:spPr>
          <a:xfrm>
            <a:off x="6231960" y="1604520"/>
            <a:ext cx="5354280" cy="3977280"/>
          </a:xfrm>
          <a:prstGeom prst="rect">
            <a:avLst/>
          </a:prstGeom>
        </p:spPr>
        <p:txBody>
          <a:bodyPr lIns="0" tIns="0" rIns="0" bIns="0">
            <a:normAutofit/>
          </a:bodyPr>
          <a:lstStyle/>
          <a:p>
            <a:endParaRPr lang="en-US" sz="3200" b="0" strike="noStrike" spc="-1">
              <a:latin typeface="Arial"/>
            </a:endParaRPr>
          </a:p>
        </p:txBody>
      </p:sp>
      <p:sp>
        <p:nvSpPr>
          <p:cNvPr id="24" name="PlaceHolder 4"/>
          <p:cNvSpPr>
            <a:spLocks noGrp="1"/>
          </p:cNvSpPr>
          <p:nvPr>
            <p:ph type="body"/>
          </p:nvPr>
        </p:nvSpPr>
        <p:spPr>
          <a:xfrm>
            <a:off x="609480" y="3682080"/>
            <a:ext cx="535428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129E45-15AD-9FF2-0BB1-F25AFDD07742}"/>
              </a:ext>
            </a:extLst>
          </p:cNvPr>
          <p:cNvGraphicFramePr>
            <a:graphicFrameLocks noChangeAspect="1"/>
          </p:cNvGraphicFramePr>
          <p:nvPr userDrawn="1">
            <p:custDataLst>
              <p:tags r:id="rId2"/>
            </p:custDataLst>
            <p:extLst>
              <p:ext uri="{D42A27DB-BD31-4B8C-83A1-F6EECF244321}">
                <p14:modId xmlns:p14="http://schemas.microsoft.com/office/powerpoint/2010/main" val="220433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4" imgW="404" imgH="405" progId="TCLayout.ActiveDocument.1">
                  <p:embed/>
                </p:oleObj>
              </mc:Choice>
              <mc:Fallback>
                <p:oleObj name="think-cell Slide" r:id="rId4" imgW="404" imgH="405" progId="TCLayout.ActiveDocument.1">
                  <p:embed/>
                  <p:pic>
                    <p:nvPicPr>
                      <p:cNvPr id="5" name="think-cell data - do not delete" hidden="1">
                        <a:extLst>
                          <a:ext uri="{FF2B5EF4-FFF2-40B4-BE49-F238E27FC236}">
                            <a16:creationId xmlns:a16="http://schemas.microsoft.com/office/drawing/2014/main" id="{F5129E45-15AD-9FF2-0BB1-F25AFDD077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DE61916-F3F8-50D5-AF1C-7B37174DE50A}"/>
              </a:ext>
            </a:extLst>
          </p:cNvPr>
          <p:cNvSpPr>
            <a:spLocks noGrp="1"/>
          </p:cNvSpPr>
          <p:nvPr>
            <p:ph type="title" hasCustomPrompt="1"/>
          </p:nvPr>
        </p:nvSpPr>
        <p:spPr>
          <a:xfrm>
            <a:off x="414000" y="594000"/>
            <a:ext cx="6044400" cy="1796400"/>
          </a:xfrm>
          <a:prstGeom prst="rect">
            <a:avLst/>
          </a:prstGeom>
          <a:noFill/>
          <a:ln>
            <a:noFill/>
          </a:ln>
        </p:spPr>
        <p:txBody>
          <a:bodyPr spcFirstLastPara="1" vert="horz" wrap="square" lIns="91425" tIns="91425" rIns="91425" bIns="91425" anchor="t" anchorCtr="0">
            <a:noAutofit/>
          </a:bodyPr>
          <a:lstStyle>
            <a:lvl1pPr>
              <a:defRPr lang="en-GB" sz="3600" b="1" dirty="0">
                <a:solidFill>
                  <a:srgbClr val="31506D"/>
                </a:solidFill>
                <a:latin typeface="Calibri" panose="020F0502020204030204" pitchFamily="34" charset="0"/>
                <a:ea typeface="Calibri" panose="020F0502020204030204" pitchFamily="34" charset="0"/>
                <a:cs typeface="Calibri" panose="020F0502020204030204" pitchFamily="34" charset="0"/>
              </a:defRPr>
            </a:lvl1pPr>
          </a:lstStyle>
          <a:p>
            <a:pPr lvl="0">
              <a:buClr>
                <a:schemeClr val="dk1"/>
              </a:buClr>
              <a:buSzPts val="2800"/>
              <a:buNone/>
            </a:pPr>
            <a:r>
              <a:rPr lang="en-US" dirty="0"/>
              <a:t>Click here to add text</a:t>
            </a:r>
            <a:endParaRPr lang="en-GB" dirty="0"/>
          </a:p>
        </p:txBody>
      </p:sp>
      <p:grpSp>
        <p:nvGrpSpPr>
          <p:cNvPr id="6" name="Group 5">
            <a:extLst>
              <a:ext uri="{FF2B5EF4-FFF2-40B4-BE49-F238E27FC236}">
                <a16:creationId xmlns:a16="http://schemas.microsoft.com/office/drawing/2014/main" id="{CA6CA224-31AA-4919-E143-17E4A456BC41}"/>
              </a:ext>
            </a:extLst>
          </p:cNvPr>
          <p:cNvGrpSpPr/>
          <p:nvPr userDrawn="1"/>
        </p:nvGrpSpPr>
        <p:grpSpPr>
          <a:xfrm>
            <a:off x="7404099" y="-2"/>
            <a:ext cx="4787901" cy="6858006"/>
            <a:chOff x="7404099" y="-2"/>
            <a:chExt cx="4787901" cy="6858006"/>
          </a:xfrm>
        </p:grpSpPr>
        <p:sp>
          <p:nvSpPr>
            <p:cNvPr id="50" name="Google Shape;1168;p31">
              <a:extLst>
                <a:ext uri="{FF2B5EF4-FFF2-40B4-BE49-F238E27FC236}">
                  <a16:creationId xmlns:a16="http://schemas.microsoft.com/office/drawing/2014/main" id="{37E59C4D-7087-192B-8F76-AEF66668A125}"/>
                </a:ext>
              </a:extLst>
            </p:cNvPr>
            <p:cNvSpPr/>
            <p:nvPr userDrawn="1"/>
          </p:nvSpPr>
          <p:spPr>
            <a:xfrm>
              <a:off x="7404099" y="-2"/>
              <a:ext cx="2154553" cy="6858001"/>
            </a:xfrm>
            <a:prstGeom prst="rect">
              <a:avLst/>
            </a:prstGeom>
            <a:solidFill>
              <a:srgbClr val="2F559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51" name="Google Shape;1169;p31">
              <a:extLst>
                <a:ext uri="{FF2B5EF4-FFF2-40B4-BE49-F238E27FC236}">
                  <a16:creationId xmlns:a16="http://schemas.microsoft.com/office/drawing/2014/main" id="{0FBE16FA-16EF-1DF3-A033-C77DD2B10296}"/>
                </a:ext>
              </a:extLst>
            </p:cNvPr>
            <p:cNvSpPr/>
            <p:nvPr userDrawn="1"/>
          </p:nvSpPr>
          <p:spPr>
            <a:xfrm rot="5400000">
              <a:off x="6868039" y="2594619"/>
              <a:ext cx="6858000" cy="1668760"/>
            </a:xfrm>
            <a:prstGeom prst="rtTriangle">
              <a:avLst/>
            </a:prstGeom>
            <a:solidFill>
              <a:srgbClr val="2F559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2" name="Google Shape;1168;p31">
              <a:extLst>
                <a:ext uri="{FF2B5EF4-FFF2-40B4-BE49-F238E27FC236}">
                  <a16:creationId xmlns:a16="http://schemas.microsoft.com/office/drawing/2014/main" id="{621768F8-D856-252C-1578-55EA97EE4542}"/>
                </a:ext>
              </a:extLst>
            </p:cNvPr>
            <p:cNvSpPr/>
            <p:nvPr userDrawn="1"/>
          </p:nvSpPr>
          <p:spPr>
            <a:xfrm>
              <a:off x="7404100" y="4444999"/>
              <a:ext cx="2058558" cy="2413001"/>
            </a:xfrm>
            <a:prstGeom prst="rect">
              <a:avLst/>
            </a:prstGeom>
            <a:solidFill>
              <a:srgbClr val="7EA3C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53" name="Google Shape;1169;p31">
              <a:extLst>
                <a:ext uri="{FF2B5EF4-FFF2-40B4-BE49-F238E27FC236}">
                  <a16:creationId xmlns:a16="http://schemas.microsoft.com/office/drawing/2014/main" id="{7440BE59-D8CF-2E55-CCD7-94008B6A2076}"/>
                </a:ext>
              </a:extLst>
            </p:cNvPr>
            <p:cNvSpPr/>
            <p:nvPr userDrawn="1"/>
          </p:nvSpPr>
          <p:spPr>
            <a:xfrm rot="5400000">
              <a:off x="8552280" y="5355383"/>
              <a:ext cx="2412999" cy="592243"/>
            </a:xfrm>
            <a:prstGeom prst="rtTriangle">
              <a:avLst/>
            </a:prstGeom>
            <a:solidFill>
              <a:srgbClr val="7EA3C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54" name="Google Shape;1169;p31">
              <a:extLst>
                <a:ext uri="{FF2B5EF4-FFF2-40B4-BE49-F238E27FC236}">
                  <a16:creationId xmlns:a16="http://schemas.microsoft.com/office/drawing/2014/main" id="{A9F149CC-CD93-C29E-54E0-8ADB4353F01A}"/>
                </a:ext>
              </a:extLst>
            </p:cNvPr>
            <p:cNvSpPr/>
            <p:nvPr userDrawn="1"/>
          </p:nvSpPr>
          <p:spPr>
            <a:xfrm rot="16200000">
              <a:off x="6855934" y="2594618"/>
              <a:ext cx="6858000" cy="1668760"/>
            </a:xfrm>
            <a:prstGeom prst="rtTriangle">
              <a:avLst/>
            </a:prstGeom>
            <a:solidFill>
              <a:srgbClr val="CFCFCF"/>
            </a:solidFill>
            <a:ln>
              <a:noFill/>
            </a:ln>
          </p:spPr>
          <p:txBody>
            <a:bodyPr spcFirstLastPara="1" wrap="square" lIns="91425" tIns="45700" rIns="91425" bIns="45700" anchor="ctr" anchorCtr="0">
              <a:noAutofit/>
            </a:bodyPr>
            <a:lstStyle/>
            <a:p>
              <a:pPr marL="0" lvl="0" indent="0" algn="ctr" defTabSz="914400" eaLnBrk="1" fontAlgn="auto" latinLnBrk="0" hangingPunct="1">
                <a:buClrTx/>
                <a:buSzTx/>
                <a:buFontTx/>
                <a:buNone/>
                <a:tabLst/>
              </a:pPr>
              <a:endParaRPr kumimoji="0" sz="1600" kern="1200" spc="0" normalizeH="0" baseline="0">
                <a:ln>
                  <a:noFill/>
                </a:ln>
                <a:solidFill>
                  <a:prstClr val="white"/>
                </a:solidFill>
                <a:effectLst/>
                <a:uLnTx/>
                <a:uFillTx/>
                <a:sym typeface="Arial"/>
              </a:endParaRPr>
            </a:p>
          </p:txBody>
        </p:sp>
        <p:sp>
          <p:nvSpPr>
            <p:cNvPr id="55" name="Google Shape;1169;p31">
              <a:extLst>
                <a:ext uri="{FF2B5EF4-FFF2-40B4-BE49-F238E27FC236}">
                  <a16:creationId xmlns:a16="http://schemas.microsoft.com/office/drawing/2014/main" id="{43383EB7-23A2-E4D7-0F0C-7792B2353CB9}"/>
                </a:ext>
              </a:extLst>
            </p:cNvPr>
            <p:cNvSpPr/>
            <p:nvPr userDrawn="1"/>
          </p:nvSpPr>
          <p:spPr>
            <a:xfrm rot="16200000">
              <a:off x="8541820" y="5359190"/>
              <a:ext cx="2413000" cy="584620"/>
            </a:xfrm>
            <a:prstGeom prst="rtTriangle">
              <a:avLst/>
            </a:prstGeom>
            <a:solidFill>
              <a:srgbClr val="EEEEEE"/>
            </a:solidFill>
            <a:ln>
              <a:noFill/>
            </a:ln>
          </p:spPr>
          <p:txBody>
            <a:bodyPr spcFirstLastPara="1" wrap="square" lIns="91425" tIns="45700" rIns="91425" bIns="45700" anchor="ctr" anchorCtr="0">
              <a:noAutofit/>
            </a:bodyPr>
            <a:lstStyle/>
            <a:p>
              <a:pPr marL="0" lvl="0" indent="0" algn="ctr" defTabSz="914400" eaLnBrk="1" fontAlgn="auto" latinLnBrk="0" hangingPunct="1">
                <a:buClrTx/>
                <a:buSzTx/>
                <a:buFontTx/>
                <a:buNone/>
                <a:tabLst/>
              </a:pPr>
              <a:endParaRPr kumimoji="0" sz="1600" kern="1200" spc="0" normalizeH="0" baseline="0">
                <a:ln>
                  <a:noFill/>
                </a:ln>
                <a:solidFill>
                  <a:prstClr val="white"/>
                </a:solidFill>
                <a:effectLst/>
                <a:uLnTx/>
                <a:uFillTx/>
                <a:sym typeface="Arial"/>
              </a:endParaRPr>
            </a:p>
          </p:txBody>
        </p:sp>
        <p:sp>
          <p:nvSpPr>
            <p:cNvPr id="56" name="Google Shape;46;p7">
              <a:extLst>
                <a:ext uri="{FF2B5EF4-FFF2-40B4-BE49-F238E27FC236}">
                  <a16:creationId xmlns:a16="http://schemas.microsoft.com/office/drawing/2014/main" id="{ED475ECF-A7A1-00F4-A1B8-5C189784EED0}"/>
                </a:ext>
              </a:extLst>
            </p:cNvPr>
            <p:cNvSpPr/>
            <p:nvPr userDrawn="1"/>
          </p:nvSpPr>
          <p:spPr>
            <a:xfrm>
              <a:off x="10037445" y="4444994"/>
              <a:ext cx="2154554" cy="2413005"/>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white"/>
                </a:solidFill>
                <a:effectLst/>
                <a:uLnTx/>
                <a:uFillTx/>
              </a:endParaRPr>
            </a:p>
          </p:txBody>
        </p:sp>
        <p:sp>
          <p:nvSpPr>
            <p:cNvPr id="57" name="Google Shape;46;p7">
              <a:extLst>
                <a:ext uri="{FF2B5EF4-FFF2-40B4-BE49-F238E27FC236}">
                  <a16:creationId xmlns:a16="http://schemas.microsoft.com/office/drawing/2014/main" id="{69FF5A2A-3F63-A6F0-299D-86FCDD09E9F0}"/>
                </a:ext>
              </a:extLst>
            </p:cNvPr>
            <p:cNvSpPr/>
            <p:nvPr userDrawn="1"/>
          </p:nvSpPr>
          <p:spPr>
            <a:xfrm>
              <a:off x="11114723" y="0"/>
              <a:ext cx="1077277" cy="4444990"/>
            </a:xfrm>
            <a:prstGeom prst="rect">
              <a:avLst/>
            </a:prstGeom>
            <a:solidFill>
              <a:srgbClr val="CFCFC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white"/>
                </a:solidFill>
                <a:effectLst/>
                <a:uLnTx/>
                <a:uFillTx/>
              </a:endParaRPr>
            </a:p>
          </p:txBody>
        </p:sp>
      </p:grpSp>
      <p:pic>
        <p:nvPicPr>
          <p:cNvPr id="3" name="Picture 2">
            <a:extLst>
              <a:ext uri="{FF2B5EF4-FFF2-40B4-BE49-F238E27FC236}">
                <a16:creationId xmlns:a16="http://schemas.microsoft.com/office/drawing/2014/main" id="{F87B73A0-F437-BB9A-FF22-E1C852A2450F}"/>
              </a:ext>
            </a:extLst>
          </p:cNvPr>
          <p:cNvPicPr>
            <a:picLocks noChangeAspect="1"/>
          </p:cNvPicPr>
          <p:nvPr userDrawn="1"/>
        </p:nvPicPr>
        <p:blipFill rotWithShape="1">
          <a:blip r:embed="rId6"/>
          <a:srcRect l="30384" t="19870" r="29528" b="21656"/>
          <a:stretch/>
        </p:blipFill>
        <p:spPr>
          <a:xfrm>
            <a:off x="10784840" y="3069549"/>
            <a:ext cx="1236980" cy="1233212"/>
          </a:xfrm>
          <a:prstGeom prst="rect">
            <a:avLst/>
          </a:prstGeom>
        </p:spPr>
      </p:pic>
      <p:sp>
        <p:nvSpPr>
          <p:cNvPr id="4" name="Google Shape;14;g1136d0d7768_0_1549">
            <a:extLst>
              <a:ext uri="{FF2B5EF4-FFF2-40B4-BE49-F238E27FC236}">
                <a16:creationId xmlns:a16="http://schemas.microsoft.com/office/drawing/2014/main" id="{0298143B-3CA7-A378-95CF-3466D38F01C2}"/>
              </a:ext>
            </a:extLst>
          </p:cNvPr>
          <p:cNvSpPr txBox="1">
            <a:spLocks noGrp="1"/>
          </p:cNvSpPr>
          <p:nvPr userDrawn="1">
            <p:ph type="sldNum" idx="12"/>
          </p:nvPr>
        </p:nvSpPr>
        <p:spPr>
          <a:xfrm>
            <a:off x="11296611" y="6377081"/>
            <a:ext cx="522000" cy="255454"/>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chemeClr val="lt1"/>
              </a:buClr>
              <a:buSzPts val="1000"/>
              <a:buFont typeface="Calibri"/>
              <a:buNone/>
              <a:defRPr sz="1000" b="0" i="0" u="none" strike="noStrike" cap="none">
                <a:solidFill>
                  <a:schemeClr val="bg1">
                    <a:lumMod val="65000"/>
                  </a:schemeClr>
                </a:solidFill>
                <a:latin typeface="Calibri"/>
                <a:ea typeface="Calibri"/>
                <a:cs typeface="Calibri"/>
                <a:sym typeface="Calibri"/>
              </a:defRPr>
            </a:lvl1pPr>
            <a:lvl2pPr marL="0" marR="0" lvl="1"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2pPr>
            <a:lvl3pPr marL="0" marR="0" lvl="2"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3pPr>
            <a:lvl4pPr marL="0" marR="0" lvl="3"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4pPr>
            <a:lvl5pPr marL="0" marR="0" lvl="4"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5pPr>
            <a:lvl6pPr marL="0" marR="0" lvl="5"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6pPr>
            <a:lvl7pPr marL="0" marR="0" lvl="6"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7pPr>
            <a:lvl8pPr marL="0" marR="0" lvl="7"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8pPr>
            <a:lvl9pPr marL="0" marR="0" lvl="8"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9pPr>
          </a:lstStyle>
          <a:p>
            <a:fld id="{00000000-1234-1234-1234-123412341234}" type="slidenum">
              <a:rPr lang="el-GR" smtClean="0"/>
              <a:pPr/>
              <a:t>‹#›</a:t>
            </a:fld>
            <a:endParaRPr lang="el-GR" dirty="0"/>
          </a:p>
        </p:txBody>
      </p:sp>
    </p:spTree>
    <p:extLst>
      <p:ext uri="{BB962C8B-B14F-4D97-AF65-F5344CB8AC3E}">
        <p14:creationId xmlns:p14="http://schemas.microsoft.com/office/powerpoint/2010/main" val="112784941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07B75A8-ADA3-FB1F-7B14-EB937177928B}"/>
              </a:ext>
            </a:extLst>
          </p:cNvPr>
          <p:cNvGraphicFramePr>
            <a:graphicFrameLocks noChangeAspect="1"/>
          </p:cNvGraphicFramePr>
          <p:nvPr userDrawn="1">
            <p:custDataLst>
              <p:tags r:id="rId2"/>
            </p:custDataLst>
            <p:extLst>
              <p:ext uri="{D42A27DB-BD31-4B8C-83A1-F6EECF244321}">
                <p14:modId xmlns:p14="http://schemas.microsoft.com/office/powerpoint/2010/main" val="3417134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607B75A8-ADA3-FB1F-7B14-EB93717792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Google Shape;46;p7">
            <a:extLst>
              <a:ext uri="{FF2B5EF4-FFF2-40B4-BE49-F238E27FC236}">
                <a16:creationId xmlns:a16="http://schemas.microsoft.com/office/drawing/2014/main" id="{749C75F6-DA7F-DDEE-CB70-9C056FFF7B3C}"/>
              </a:ext>
            </a:extLst>
          </p:cNvPr>
          <p:cNvSpPr/>
          <p:nvPr userDrawn="1"/>
        </p:nvSpPr>
        <p:spPr>
          <a:xfrm>
            <a:off x="4775037" y="-21233"/>
            <a:ext cx="7416963" cy="6879232"/>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white"/>
              </a:solidFill>
              <a:effectLst/>
              <a:uLnTx/>
              <a:uFillTx/>
            </a:endParaRPr>
          </a:p>
        </p:txBody>
      </p:sp>
      <p:sp>
        <p:nvSpPr>
          <p:cNvPr id="7" name="Google Shape;1168;p31">
            <a:extLst>
              <a:ext uri="{FF2B5EF4-FFF2-40B4-BE49-F238E27FC236}">
                <a16:creationId xmlns:a16="http://schemas.microsoft.com/office/drawing/2014/main" id="{6BBCF502-8841-93D1-73C0-4753D2E02435}"/>
              </a:ext>
            </a:extLst>
          </p:cNvPr>
          <p:cNvSpPr/>
          <p:nvPr userDrawn="1"/>
        </p:nvSpPr>
        <p:spPr>
          <a:xfrm>
            <a:off x="-1" y="-2"/>
            <a:ext cx="4775037" cy="6858001"/>
          </a:xfrm>
          <a:prstGeom prst="rect">
            <a:avLst/>
          </a:prstGeom>
          <a:solidFill>
            <a:srgbClr val="2F559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9" name="Google Shape;1168;p31">
            <a:extLst>
              <a:ext uri="{FF2B5EF4-FFF2-40B4-BE49-F238E27FC236}">
                <a16:creationId xmlns:a16="http://schemas.microsoft.com/office/drawing/2014/main" id="{5855995D-A538-C0E8-D5FF-46B2ACE5AB61}"/>
              </a:ext>
            </a:extLst>
          </p:cNvPr>
          <p:cNvSpPr/>
          <p:nvPr userDrawn="1"/>
        </p:nvSpPr>
        <p:spPr>
          <a:xfrm>
            <a:off x="-1" y="4444999"/>
            <a:ext cx="4775037" cy="2413001"/>
          </a:xfrm>
          <a:prstGeom prst="rect">
            <a:avLst/>
          </a:prstGeom>
          <a:solidFill>
            <a:srgbClr val="7EA3C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pic>
        <p:nvPicPr>
          <p:cNvPr id="15" name="Picture 14">
            <a:extLst>
              <a:ext uri="{FF2B5EF4-FFF2-40B4-BE49-F238E27FC236}">
                <a16:creationId xmlns:a16="http://schemas.microsoft.com/office/drawing/2014/main" id="{5B22386A-B55F-A9F7-003C-B1F161FC7613}"/>
              </a:ext>
            </a:extLst>
          </p:cNvPr>
          <p:cNvPicPr>
            <a:picLocks noChangeAspect="1"/>
          </p:cNvPicPr>
          <p:nvPr userDrawn="1"/>
        </p:nvPicPr>
        <p:blipFill rotWithShape="1">
          <a:blip r:embed="rId6"/>
          <a:srcRect l="30384" t="19870" r="29528" b="21656"/>
          <a:stretch/>
        </p:blipFill>
        <p:spPr>
          <a:xfrm>
            <a:off x="152368" y="5473700"/>
            <a:ext cx="1188511" cy="1249243"/>
          </a:xfrm>
          <a:prstGeom prst="rect">
            <a:avLst/>
          </a:prstGeom>
        </p:spPr>
      </p:pic>
      <p:sp>
        <p:nvSpPr>
          <p:cNvPr id="20" name="Oval 19">
            <a:extLst>
              <a:ext uri="{FF2B5EF4-FFF2-40B4-BE49-F238E27FC236}">
                <a16:creationId xmlns:a16="http://schemas.microsoft.com/office/drawing/2014/main" id="{49A2C919-CE3E-0B57-1FA6-FCBB5C092180}"/>
              </a:ext>
            </a:extLst>
          </p:cNvPr>
          <p:cNvSpPr/>
          <p:nvPr userDrawn="1"/>
        </p:nvSpPr>
        <p:spPr>
          <a:xfrm>
            <a:off x="4317833" y="365126"/>
            <a:ext cx="914400" cy="914400"/>
          </a:xfrm>
          <a:prstGeom prst="ellipse">
            <a:avLst/>
          </a:prstGeom>
          <a:solidFill>
            <a:srgbClr val="EEEEEE"/>
          </a:solidFill>
          <a:ln>
            <a:noFill/>
          </a:ln>
        </p:spPr>
        <p:txBody>
          <a:bodyPr spcFirstLastPara="1" wrap="square" lIns="91425" tIns="45700" rIns="91425" bIns="45700" anchor="ctr" anchorCtr="0">
            <a:noAutofit/>
          </a:bodyPr>
          <a:lstStyle/>
          <a:p>
            <a:pPr marL="0" lvl="0" indent="0" algn="ctr" defTabSz="914400" eaLnBrk="1" fontAlgn="auto" latinLnBrk="0" hangingPunct="1">
              <a:buClrTx/>
              <a:buSzTx/>
              <a:buFontTx/>
              <a:buNone/>
              <a:tabLst/>
            </a:pPr>
            <a:endParaRPr kumimoji="0" lang="en-GB" sz="1600" kern="1200" spc="0" normalizeH="0" baseline="0">
              <a:ln>
                <a:noFill/>
              </a:ln>
              <a:solidFill>
                <a:prstClr val="white"/>
              </a:solidFill>
              <a:effectLst/>
              <a:uLnTx/>
              <a:uFillTx/>
              <a:latin typeface="Arial"/>
              <a:cs typeface="Arial"/>
            </a:endParaRPr>
          </a:p>
        </p:txBody>
      </p:sp>
      <p:sp>
        <p:nvSpPr>
          <p:cNvPr id="21" name="Oval 20">
            <a:extLst>
              <a:ext uri="{FF2B5EF4-FFF2-40B4-BE49-F238E27FC236}">
                <a16:creationId xmlns:a16="http://schemas.microsoft.com/office/drawing/2014/main" id="{CB17C7AB-1B97-221D-31AB-4DDD1EB063C6}"/>
              </a:ext>
            </a:extLst>
          </p:cNvPr>
          <p:cNvSpPr/>
          <p:nvPr userDrawn="1"/>
        </p:nvSpPr>
        <p:spPr>
          <a:xfrm>
            <a:off x="4497833" y="545126"/>
            <a:ext cx="554400" cy="554400"/>
          </a:xfrm>
          <a:prstGeom prst="ellipse">
            <a:avLst/>
          </a:prstGeom>
          <a:solidFill>
            <a:srgbClr val="2F5597"/>
          </a:solidFill>
          <a:ln>
            <a:noFill/>
          </a:ln>
        </p:spPr>
        <p:txBody>
          <a:bodyPr spcFirstLastPara="1" wrap="square" lIns="91425" tIns="45700" rIns="91425" bIns="45700" anchor="ctr" anchorCtr="0">
            <a:noAutofit/>
          </a:bodyPr>
          <a:lstStyle/>
          <a:p>
            <a:pPr marL="0" lvl="0" indent="0" algn="ctr" defTabSz="914400" eaLnBrk="1" fontAlgn="auto" latinLnBrk="0" hangingPunct="1">
              <a:buClrTx/>
              <a:buSzTx/>
              <a:buFontTx/>
              <a:buNone/>
              <a:tabLst/>
            </a:pPr>
            <a:endParaRPr kumimoji="0" lang="en-GB" sz="1600" kern="1200" spc="0" normalizeH="0" baseline="0">
              <a:ln>
                <a:noFill/>
              </a:ln>
              <a:solidFill>
                <a:prstClr val="white"/>
              </a:solidFill>
              <a:effectLst/>
              <a:uLnTx/>
              <a:uFillTx/>
              <a:latin typeface="Arial"/>
              <a:cs typeface="Arial"/>
            </a:endParaRPr>
          </a:p>
        </p:txBody>
      </p:sp>
      <p:sp>
        <p:nvSpPr>
          <p:cNvPr id="29" name="Title 1">
            <a:extLst>
              <a:ext uri="{FF2B5EF4-FFF2-40B4-BE49-F238E27FC236}">
                <a16:creationId xmlns:a16="http://schemas.microsoft.com/office/drawing/2014/main" id="{DDB50272-9DF5-DAE6-FA2D-F385F80A65B6}"/>
              </a:ext>
            </a:extLst>
          </p:cNvPr>
          <p:cNvSpPr>
            <a:spLocks noGrp="1"/>
          </p:cNvSpPr>
          <p:nvPr>
            <p:ph type="title"/>
          </p:nvPr>
        </p:nvSpPr>
        <p:spPr>
          <a:xfrm>
            <a:off x="152368" y="375160"/>
            <a:ext cx="4013232" cy="894332"/>
          </a:xfrm>
          <a:prstGeom prst="rect">
            <a:avLst/>
          </a:prstGeom>
          <a:noFill/>
          <a:ln>
            <a:noFill/>
          </a:ln>
        </p:spPr>
        <p:txBody>
          <a:bodyPr spcFirstLastPara="1" vert="horz" wrap="square" lIns="91425" tIns="144000" rIns="91425" bIns="91425" anchor="t" anchorCtr="0">
            <a:noAutofit/>
          </a:bodyPr>
          <a:lstStyle>
            <a:lvl1pPr algn="r">
              <a:defRPr lang="en-GB" sz="3600" b="1">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lvl="0">
              <a:buClr>
                <a:schemeClr val="dk1"/>
              </a:buClr>
              <a:buSzPts val="2800"/>
              <a:buNone/>
            </a:pPr>
            <a:r>
              <a:rPr lang="en-US" dirty="0"/>
              <a:t>Click to edit</a:t>
            </a:r>
            <a:endParaRPr lang="en-GB" dirty="0"/>
          </a:p>
        </p:txBody>
      </p:sp>
      <p:sp>
        <p:nvSpPr>
          <p:cNvPr id="2" name="Google Shape;14;g1136d0d7768_0_1549">
            <a:extLst>
              <a:ext uri="{FF2B5EF4-FFF2-40B4-BE49-F238E27FC236}">
                <a16:creationId xmlns:a16="http://schemas.microsoft.com/office/drawing/2014/main" id="{AC26E4BB-4177-C83F-B584-E4545CDA8A47}"/>
              </a:ext>
            </a:extLst>
          </p:cNvPr>
          <p:cNvSpPr txBox="1">
            <a:spLocks/>
          </p:cNvSpPr>
          <p:nvPr userDrawn="1"/>
        </p:nvSpPr>
        <p:spPr>
          <a:xfrm>
            <a:off x="11296611" y="6377081"/>
            <a:ext cx="522000" cy="255454"/>
          </a:xfrm>
          <a:prstGeom prst="rect">
            <a:avLst/>
          </a:prstGeom>
          <a:noFill/>
          <a:ln>
            <a:noFill/>
          </a:ln>
        </p:spPr>
        <p:txBody>
          <a:bodyPr spcFirstLastPara="1" vert="horz" wrap="square" lIns="91425" tIns="91425" rIns="91425" bIns="91425" rtlCol="0" anchor="ctr"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lt1"/>
              </a:buClr>
              <a:buSzPts val="1000"/>
              <a:buFont typeface="Calibri"/>
              <a:buNone/>
              <a:defRPr sz="1000" b="0" i="0" u="none" strike="noStrike" cap="none">
                <a:solidFill>
                  <a:schemeClr val="tx1"/>
                </a:solidFill>
                <a:latin typeface="Calibri"/>
                <a:ea typeface="Calibri"/>
                <a:cs typeface="Calibri"/>
                <a:sym typeface="Calibri"/>
              </a:defRPr>
            </a:lvl1pPr>
            <a:lvl2pPr marL="0" marR="0" lvl="1"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2pPr>
            <a:lvl3pPr marL="0" marR="0" lvl="2"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3pPr>
            <a:lvl4pPr marL="0" marR="0" lvl="3"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4pPr>
            <a:lvl5pPr marL="0" marR="0" lvl="4"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5pPr>
            <a:lvl6pPr marL="0" marR="0" lvl="5"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6pPr>
            <a:lvl7pPr marL="0" marR="0" lvl="6"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7pPr>
            <a:lvl8pPr marL="0" marR="0" lvl="7"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8pPr>
            <a:lvl9pPr marL="0" marR="0" lvl="8"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9pPr>
          </a:lstStyle>
          <a:p>
            <a:fld id="{00000000-1234-1234-1234-123412341234}" type="slidenum">
              <a:rPr lang="el-GR" smtClean="0">
                <a:solidFill>
                  <a:schemeClr val="bg1">
                    <a:lumMod val="65000"/>
                  </a:schemeClr>
                </a:solidFill>
              </a:rPr>
              <a:pPr/>
              <a:t>‹#›</a:t>
            </a:fld>
            <a:endParaRPr lang="el-GR" dirty="0">
              <a:solidFill>
                <a:schemeClr val="bg1">
                  <a:lumMod val="65000"/>
                </a:schemeClr>
              </a:solidFill>
            </a:endParaRPr>
          </a:p>
        </p:txBody>
      </p:sp>
    </p:spTree>
    <p:extLst>
      <p:ext uri="{BB962C8B-B14F-4D97-AF65-F5344CB8AC3E}">
        <p14:creationId xmlns:p14="http://schemas.microsoft.com/office/powerpoint/2010/main" val="42327451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A0F4D5F-4018-D2BE-48D5-7A487289CABE}"/>
              </a:ext>
            </a:extLst>
          </p:cNvPr>
          <p:cNvGraphicFramePr>
            <a:graphicFrameLocks noChangeAspect="1"/>
          </p:cNvGraphicFramePr>
          <p:nvPr userDrawn="1">
            <p:custDataLst>
              <p:tags r:id="rId2"/>
            </p:custDataLst>
            <p:extLst>
              <p:ext uri="{D42A27DB-BD31-4B8C-83A1-F6EECF244321}">
                <p14:modId xmlns:p14="http://schemas.microsoft.com/office/powerpoint/2010/main" val="972341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4A0F4D5F-4018-D2BE-48D5-7A487289CA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48F01A-8FF2-474F-0CBF-635F77BA0E21}"/>
              </a:ext>
            </a:extLst>
          </p:cNvPr>
          <p:cNvSpPr>
            <a:spLocks noGrp="1"/>
          </p:cNvSpPr>
          <p:nvPr>
            <p:ph type="title"/>
          </p:nvPr>
        </p:nvSpPr>
        <p:spPr>
          <a:xfrm>
            <a:off x="414000" y="594000"/>
            <a:ext cx="8082000" cy="1325563"/>
          </a:xfrm>
          <a:prstGeom prst="rect">
            <a:avLst/>
          </a:prstGeom>
          <a:noFill/>
          <a:ln>
            <a:noFill/>
          </a:ln>
        </p:spPr>
        <p:txBody>
          <a:bodyPr spcFirstLastPara="1" vert="horz" wrap="square" lIns="91425" tIns="91425" rIns="91425" bIns="91425" anchor="t" anchorCtr="0">
            <a:noAutofit/>
          </a:bodyPr>
          <a:lstStyle>
            <a:lvl1pPr>
              <a:defRPr lang="en-GB" sz="3600" b="1">
                <a:solidFill>
                  <a:srgbClr val="31506D"/>
                </a:solidFill>
                <a:latin typeface="Calibri" panose="020F0502020204030204" pitchFamily="34" charset="0"/>
                <a:ea typeface="Calibri" panose="020F0502020204030204" pitchFamily="34" charset="0"/>
                <a:cs typeface="Calibri" panose="020F0502020204030204" pitchFamily="34" charset="0"/>
              </a:defRPr>
            </a:lvl1pPr>
          </a:lstStyle>
          <a:p>
            <a:pPr lvl="0">
              <a:buClr>
                <a:schemeClr val="dk1"/>
              </a:buClr>
              <a:buSzPts val="2800"/>
              <a:buNone/>
            </a:pPr>
            <a:r>
              <a:rPr lang="en-US"/>
              <a:t>Click to edit Master title style</a:t>
            </a:r>
            <a:endParaRPr lang="en-GB"/>
          </a:p>
        </p:txBody>
      </p:sp>
      <p:sp>
        <p:nvSpPr>
          <p:cNvPr id="3" name="Google Shape;1169;p31">
            <a:extLst>
              <a:ext uri="{FF2B5EF4-FFF2-40B4-BE49-F238E27FC236}">
                <a16:creationId xmlns:a16="http://schemas.microsoft.com/office/drawing/2014/main" id="{CDF5FB7C-04CE-84CB-380B-AE75B6A538ED}"/>
              </a:ext>
            </a:extLst>
          </p:cNvPr>
          <p:cNvSpPr/>
          <p:nvPr userDrawn="1"/>
        </p:nvSpPr>
        <p:spPr>
          <a:xfrm rot="5400000" flipH="1" flipV="1">
            <a:off x="4924949" y="1564748"/>
            <a:ext cx="6858001" cy="3728499"/>
          </a:xfrm>
          <a:prstGeom prst="rtTriangle">
            <a:avLst/>
          </a:prstGeom>
          <a:solidFill>
            <a:srgbClr val="7EA3C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4" name="Google Shape;1168;p31">
            <a:extLst>
              <a:ext uri="{FF2B5EF4-FFF2-40B4-BE49-F238E27FC236}">
                <a16:creationId xmlns:a16="http://schemas.microsoft.com/office/drawing/2014/main" id="{7C461C58-F6D5-1B4B-10F0-3D88BB99CC07}"/>
              </a:ext>
            </a:extLst>
          </p:cNvPr>
          <p:cNvSpPr/>
          <p:nvPr userDrawn="1"/>
        </p:nvSpPr>
        <p:spPr>
          <a:xfrm>
            <a:off x="10218198" y="-2"/>
            <a:ext cx="1973802" cy="6858001"/>
          </a:xfrm>
          <a:prstGeom prst="rect">
            <a:avLst/>
          </a:prstGeom>
          <a:solidFill>
            <a:srgbClr val="7EA3C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pic>
        <p:nvPicPr>
          <p:cNvPr id="5" name="Picture 4">
            <a:extLst>
              <a:ext uri="{FF2B5EF4-FFF2-40B4-BE49-F238E27FC236}">
                <a16:creationId xmlns:a16="http://schemas.microsoft.com/office/drawing/2014/main" id="{5A8FFFBB-E2AD-26D9-58AB-7F04CC56459A}"/>
              </a:ext>
            </a:extLst>
          </p:cNvPr>
          <p:cNvPicPr>
            <a:picLocks noChangeAspect="1"/>
          </p:cNvPicPr>
          <p:nvPr userDrawn="1"/>
        </p:nvPicPr>
        <p:blipFill rotWithShape="1">
          <a:blip r:embed="rId6"/>
          <a:srcRect l="30384" t="19870" r="29528" b="21656"/>
          <a:stretch/>
        </p:blipFill>
        <p:spPr>
          <a:xfrm>
            <a:off x="10784840" y="105369"/>
            <a:ext cx="1236980" cy="1233212"/>
          </a:xfrm>
          <a:prstGeom prst="rect">
            <a:avLst/>
          </a:prstGeom>
        </p:spPr>
      </p:pic>
      <p:sp>
        <p:nvSpPr>
          <p:cNvPr id="7" name="Google Shape;14;g1136d0d7768_0_1549">
            <a:extLst>
              <a:ext uri="{FF2B5EF4-FFF2-40B4-BE49-F238E27FC236}">
                <a16:creationId xmlns:a16="http://schemas.microsoft.com/office/drawing/2014/main" id="{F7E109A2-76E0-4B2A-51FD-29C3737BF531}"/>
              </a:ext>
            </a:extLst>
          </p:cNvPr>
          <p:cNvSpPr txBox="1">
            <a:spLocks noGrp="1"/>
          </p:cNvSpPr>
          <p:nvPr>
            <p:ph type="sldNum" idx="12"/>
          </p:nvPr>
        </p:nvSpPr>
        <p:spPr>
          <a:xfrm>
            <a:off x="11296611" y="6377081"/>
            <a:ext cx="522000" cy="255454"/>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chemeClr val="lt1"/>
              </a:buClr>
              <a:buSzPts val="1000"/>
              <a:buFont typeface="Calibri"/>
              <a:buNone/>
              <a:defRPr sz="1000" b="0" i="0" u="none" strike="noStrike" cap="none">
                <a:solidFill>
                  <a:schemeClr val="tx1">
                    <a:lumMod val="50000"/>
                    <a:lumOff val="50000"/>
                  </a:schemeClr>
                </a:solidFill>
                <a:latin typeface="Calibri"/>
                <a:ea typeface="Calibri"/>
                <a:cs typeface="Calibri"/>
                <a:sym typeface="Calibri"/>
              </a:defRPr>
            </a:lvl1pPr>
            <a:lvl2pPr marL="0" marR="0" lvl="1"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2pPr>
            <a:lvl3pPr marL="0" marR="0" lvl="2"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3pPr>
            <a:lvl4pPr marL="0" marR="0" lvl="3"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4pPr>
            <a:lvl5pPr marL="0" marR="0" lvl="4"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5pPr>
            <a:lvl6pPr marL="0" marR="0" lvl="5"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6pPr>
            <a:lvl7pPr marL="0" marR="0" lvl="6"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7pPr>
            <a:lvl8pPr marL="0" marR="0" lvl="7"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8pPr>
            <a:lvl9pPr marL="0" marR="0" lvl="8"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9pPr>
          </a:lstStyle>
          <a:p>
            <a:fld id="{00000000-1234-1234-1234-123412341234}" type="slidenum">
              <a:rPr lang="el-GR" smtClean="0"/>
              <a:pPr/>
              <a:t>‹#›</a:t>
            </a:fld>
            <a:endParaRPr lang="el-GR" dirty="0"/>
          </a:p>
        </p:txBody>
      </p:sp>
    </p:spTree>
    <p:extLst>
      <p:ext uri="{BB962C8B-B14F-4D97-AF65-F5344CB8AC3E}">
        <p14:creationId xmlns:p14="http://schemas.microsoft.com/office/powerpoint/2010/main" val="16940835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D2299E7-589D-47F6-97C9-53A585822F0A}"/>
              </a:ext>
            </a:extLst>
          </p:cNvPr>
          <p:cNvGraphicFramePr>
            <a:graphicFrameLocks noChangeAspect="1"/>
          </p:cNvGraphicFramePr>
          <p:nvPr userDrawn="1">
            <p:custDataLst>
              <p:tags r:id="rId2"/>
            </p:custDataLst>
            <p:extLst>
              <p:ext uri="{D42A27DB-BD31-4B8C-83A1-F6EECF244321}">
                <p14:modId xmlns:p14="http://schemas.microsoft.com/office/powerpoint/2010/main" val="3918209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4" imgW="404" imgH="405" progId="TCLayout.ActiveDocument.1">
                  <p:embed/>
                </p:oleObj>
              </mc:Choice>
              <mc:Fallback>
                <p:oleObj name="think-cell Slide" r:id="rId4" imgW="404" imgH="405" progId="TCLayout.ActiveDocument.1">
                  <p:embed/>
                  <p:pic>
                    <p:nvPicPr>
                      <p:cNvPr id="10" name="think-cell data - do not delete" hidden="1">
                        <a:extLst>
                          <a:ext uri="{FF2B5EF4-FFF2-40B4-BE49-F238E27FC236}">
                            <a16:creationId xmlns:a16="http://schemas.microsoft.com/office/drawing/2014/main" id="{BD2299E7-589D-47F6-97C9-53A585822F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Google Shape;1168;p31">
            <a:extLst>
              <a:ext uri="{FF2B5EF4-FFF2-40B4-BE49-F238E27FC236}">
                <a16:creationId xmlns:a16="http://schemas.microsoft.com/office/drawing/2014/main" id="{CB9123F3-B177-3272-5B1D-32203F7C9BC7}"/>
              </a:ext>
            </a:extLst>
          </p:cNvPr>
          <p:cNvSpPr/>
          <p:nvPr userDrawn="1"/>
        </p:nvSpPr>
        <p:spPr>
          <a:xfrm>
            <a:off x="0" y="0"/>
            <a:ext cx="12192000" cy="6858001"/>
          </a:xfrm>
          <a:prstGeom prst="rect">
            <a:avLst/>
          </a:prstGeom>
          <a:solidFill>
            <a:srgbClr val="7EA3C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Calibri" panose="020F0502020204030204" pitchFamily="34" charset="0"/>
              <a:cs typeface="Arial"/>
              <a:sym typeface="Arial"/>
            </a:endParaRPr>
          </a:p>
        </p:txBody>
      </p:sp>
      <p:sp>
        <p:nvSpPr>
          <p:cNvPr id="2" name="Title 1">
            <a:extLst>
              <a:ext uri="{FF2B5EF4-FFF2-40B4-BE49-F238E27FC236}">
                <a16:creationId xmlns:a16="http://schemas.microsoft.com/office/drawing/2014/main" id="{3C9157A6-C5C5-DFDA-AFF2-50B9B188F951}"/>
              </a:ext>
            </a:extLst>
          </p:cNvPr>
          <p:cNvSpPr>
            <a:spLocks noGrp="1"/>
          </p:cNvSpPr>
          <p:nvPr>
            <p:ph type="title"/>
          </p:nvPr>
        </p:nvSpPr>
        <p:spPr>
          <a:xfrm>
            <a:off x="414000" y="597600"/>
            <a:ext cx="10515600" cy="1325563"/>
          </a:xfrm>
          <a:prstGeom prst="rect">
            <a:avLst/>
          </a:prstGeom>
          <a:noFill/>
          <a:ln>
            <a:noFill/>
          </a:ln>
        </p:spPr>
        <p:txBody>
          <a:bodyPr spcFirstLastPara="1" vert="horz" wrap="square" lIns="91425" tIns="91425" rIns="91425" bIns="91425" anchor="t" anchorCtr="0">
            <a:noAutofit/>
          </a:bodyPr>
          <a:lstStyle>
            <a:lvl1pPr>
              <a:defRPr lang="en-GB" sz="3600" b="1">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lvl="0">
              <a:buClr>
                <a:schemeClr val="dk1"/>
              </a:buClr>
              <a:buSzPts val="2800"/>
              <a:buNone/>
            </a:pPr>
            <a:r>
              <a:rPr lang="en-US"/>
              <a:t>Click to edit Master title style</a:t>
            </a:r>
            <a:endParaRPr lang="en-GB"/>
          </a:p>
        </p:txBody>
      </p:sp>
      <p:pic>
        <p:nvPicPr>
          <p:cNvPr id="4" name="Picture 3">
            <a:extLst>
              <a:ext uri="{FF2B5EF4-FFF2-40B4-BE49-F238E27FC236}">
                <a16:creationId xmlns:a16="http://schemas.microsoft.com/office/drawing/2014/main" id="{8D05CFCA-EA7C-1456-6BCE-F07A8059D49B}"/>
              </a:ext>
            </a:extLst>
          </p:cNvPr>
          <p:cNvPicPr>
            <a:picLocks noChangeAspect="1"/>
          </p:cNvPicPr>
          <p:nvPr userDrawn="1"/>
        </p:nvPicPr>
        <p:blipFill rotWithShape="1">
          <a:blip r:embed="rId6"/>
          <a:srcRect l="30384" t="19870" r="29528" b="21656"/>
          <a:stretch/>
        </p:blipFill>
        <p:spPr>
          <a:xfrm>
            <a:off x="10784840" y="105369"/>
            <a:ext cx="1236980" cy="1233212"/>
          </a:xfrm>
          <a:prstGeom prst="rect">
            <a:avLst/>
          </a:prstGeom>
        </p:spPr>
      </p:pic>
      <p:sp>
        <p:nvSpPr>
          <p:cNvPr id="5" name="Google Shape;14;g1136d0d7768_0_1549">
            <a:extLst>
              <a:ext uri="{FF2B5EF4-FFF2-40B4-BE49-F238E27FC236}">
                <a16:creationId xmlns:a16="http://schemas.microsoft.com/office/drawing/2014/main" id="{06C8BE89-A522-79CF-6F1E-44AA2417C197}"/>
              </a:ext>
            </a:extLst>
          </p:cNvPr>
          <p:cNvSpPr txBox="1">
            <a:spLocks noGrp="1"/>
          </p:cNvSpPr>
          <p:nvPr>
            <p:ph type="sldNum" idx="12"/>
          </p:nvPr>
        </p:nvSpPr>
        <p:spPr>
          <a:xfrm>
            <a:off x="11296611" y="6377081"/>
            <a:ext cx="522000" cy="255454"/>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chemeClr val="lt1"/>
              </a:buClr>
              <a:buSzPts val="1000"/>
              <a:buFont typeface="Calibri"/>
              <a:buNone/>
              <a:defRPr sz="1000" b="0" i="0" u="none" strike="noStrike" cap="none">
                <a:solidFill>
                  <a:schemeClr val="tx1">
                    <a:lumMod val="50000"/>
                    <a:lumOff val="50000"/>
                  </a:schemeClr>
                </a:solidFill>
                <a:latin typeface="Calibri"/>
                <a:ea typeface="Calibri"/>
                <a:cs typeface="Calibri"/>
                <a:sym typeface="Calibri"/>
              </a:defRPr>
            </a:lvl1pPr>
            <a:lvl2pPr marL="0" marR="0" lvl="1"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2pPr>
            <a:lvl3pPr marL="0" marR="0" lvl="2"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3pPr>
            <a:lvl4pPr marL="0" marR="0" lvl="3"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4pPr>
            <a:lvl5pPr marL="0" marR="0" lvl="4"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5pPr>
            <a:lvl6pPr marL="0" marR="0" lvl="5"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6pPr>
            <a:lvl7pPr marL="0" marR="0" lvl="6"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7pPr>
            <a:lvl8pPr marL="0" marR="0" lvl="7"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8pPr>
            <a:lvl9pPr marL="0" marR="0" lvl="8"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9pPr>
          </a:lstStyle>
          <a:p>
            <a:fld id="{00000000-1234-1234-1234-123412341234}" type="slidenum">
              <a:rPr lang="el-GR" smtClean="0"/>
              <a:pPr/>
              <a:t>‹#›</a:t>
            </a:fld>
            <a:endParaRPr lang="el-GR" dirty="0"/>
          </a:p>
        </p:txBody>
      </p:sp>
    </p:spTree>
    <p:extLst>
      <p:ext uri="{BB962C8B-B14F-4D97-AF65-F5344CB8AC3E}">
        <p14:creationId xmlns:p14="http://schemas.microsoft.com/office/powerpoint/2010/main" val="340905243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A250DE8-03D1-9303-4DBA-EF6B2F30D3C5}"/>
              </a:ext>
            </a:extLst>
          </p:cNvPr>
          <p:cNvGraphicFramePr>
            <a:graphicFrameLocks noChangeAspect="1"/>
          </p:cNvGraphicFramePr>
          <p:nvPr userDrawn="1">
            <p:custDataLst>
              <p:tags r:id="rId2"/>
            </p:custDataLst>
            <p:extLst>
              <p:ext uri="{D42A27DB-BD31-4B8C-83A1-F6EECF244321}">
                <p14:modId xmlns:p14="http://schemas.microsoft.com/office/powerpoint/2010/main" val="4074951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4" imgW="404" imgH="405" progId="TCLayout.ActiveDocument.1">
                  <p:embed/>
                </p:oleObj>
              </mc:Choice>
              <mc:Fallback>
                <p:oleObj name="think-cell Slide" r:id="rId4" imgW="404" imgH="405" progId="TCLayout.ActiveDocument.1">
                  <p:embed/>
                  <p:pic>
                    <p:nvPicPr>
                      <p:cNvPr id="6" name="think-cell data - do not delete" hidden="1">
                        <a:extLst>
                          <a:ext uri="{FF2B5EF4-FFF2-40B4-BE49-F238E27FC236}">
                            <a16:creationId xmlns:a16="http://schemas.microsoft.com/office/drawing/2014/main" id="{8A250DE8-03D1-9303-4DBA-EF6B2F30D3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Google Shape;1168;p31">
            <a:extLst>
              <a:ext uri="{FF2B5EF4-FFF2-40B4-BE49-F238E27FC236}">
                <a16:creationId xmlns:a16="http://schemas.microsoft.com/office/drawing/2014/main" id="{E014F389-B64F-1D82-FD5D-4AFD1D915AC6}"/>
              </a:ext>
            </a:extLst>
          </p:cNvPr>
          <p:cNvSpPr/>
          <p:nvPr userDrawn="1"/>
        </p:nvSpPr>
        <p:spPr>
          <a:xfrm>
            <a:off x="0" y="-2"/>
            <a:ext cx="5241953" cy="6858001"/>
          </a:xfrm>
          <a:prstGeom prst="rect">
            <a:avLst/>
          </a:prstGeom>
          <a:solidFill>
            <a:srgbClr val="2F559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4" name="Google Shape;1169;p31">
            <a:extLst>
              <a:ext uri="{FF2B5EF4-FFF2-40B4-BE49-F238E27FC236}">
                <a16:creationId xmlns:a16="http://schemas.microsoft.com/office/drawing/2014/main" id="{BB7A6624-6461-F9B5-B08E-AA42FD38A8A8}"/>
              </a:ext>
            </a:extLst>
          </p:cNvPr>
          <p:cNvSpPr/>
          <p:nvPr userDrawn="1"/>
        </p:nvSpPr>
        <p:spPr>
          <a:xfrm rot="5400000">
            <a:off x="3937635" y="1304318"/>
            <a:ext cx="6858000" cy="4249363"/>
          </a:xfrm>
          <a:prstGeom prst="rtTriangle">
            <a:avLst/>
          </a:prstGeom>
          <a:solidFill>
            <a:srgbClr val="2F559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2" name="Title 1">
            <a:extLst>
              <a:ext uri="{FF2B5EF4-FFF2-40B4-BE49-F238E27FC236}">
                <a16:creationId xmlns:a16="http://schemas.microsoft.com/office/drawing/2014/main" id="{F8D4E45E-CA8C-DBE1-0828-DE58A8756703}"/>
              </a:ext>
            </a:extLst>
          </p:cNvPr>
          <p:cNvSpPr>
            <a:spLocks noGrp="1"/>
          </p:cNvSpPr>
          <p:nvPr>
            <p:ph type="title"/>
          </p:nvPr>
        </p:nvSpPr>
        <p:spPr>
          <a:xfrm>
            <a:off x="414000" y="597600"/>
            <a:ext cx="5682000" cy="1325563"/>
          </a:xfrm>
          <a:prstGeom prst="rect">
            <a:avLst/>
          </a:prstGeom>
          <a:noFill/>
          <a:ln>
            <a:noFill/>
          </a:ln>
        </p:spPr>
        <p:txBody>
          <a:bodyPr spcFirstLastPara="1" vert="horz" wrap="square" lIns="91425" tIns="91425" rIns="91425" bIns="91425" anchor="t" anchorCtr="0">
            <a:noAutofit/>
          </a:bodyPr>
          <a:lstStyle>
            <a:lvl1pPr>
              <a:defRPr lang="en-GB" sz="3600" b="1">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pPr lvl="0">
              <a:buClr>
                <a:schemeClr val="dk1"/>
              </a:buClr>
              <a:buSzPts val="2800"/>
              <a:buNone/>
            </a:pPr>
            <a:r>
              <a:rPr lang="en-US"/>
              <a:t>Click to edit Master title style</a:t>
            </a:r>
            <a:endParaRPr lang="en-GB"/>
          </a:p>
        </p:txBody>
      </p:sp>
      <p:sp>
        <p:nvSpPr>
          <p:cNvPr id="13" name="Google Shape;1168;p31">
            <a:extLst>
              <a:ext uri="{FF2B5EF4-FFF2-40B4-BE49-F238E27FC236}">
                <a16:creationId xmlns:a16="http://schemas.microsoft.com/office/drawing/2014/main" id="{16FF6E45-74E1-F1CC-41A0-842529503667}"/>
              </a:ext>
            </a:extLst>
          </p:cNvPr>
          <p:cNvSpPr/>
          <p:nvPr userDrawn="1"/>
        </p:nvSpPr>
        <p:spPr>
          <a:xfrm>
            <a:off x="-1" y="4444999"/>
            <a:ext cx="5241953" cy="2413001"/>
          </a:xfrm>
          <a:prstGeom prst="rect">
            <a:avLst/>
          </a:prstGeom>
          <a:solidFill>
            <a:srgbClr val="7EA3C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14" name="Google Shape;1169;p31">
            <a:extLst>
              <a:ext uri="{FF2B5EF4-FFF2-40B4-BE49-F238E27FC236}">
                <a16:creationId xmlns:a16="http://schemas.microsoft.com/office/drawing/2014/main" id="{CB990327-BDFE-CA08-67CD-617CB9F5EE83}"/>
              </a:ext>
            </a:extLst>
          </p:cNvPr>
          <p:cNvSpPr/>
          <p:nvPr userDrawn="1"/>
        </p:nvSpPr>
        <p:spPr>
          <a:xfrm rot="5400000">
            <a:off x="4789501" y="4897455"/>
            <a:ext cx="2412999" cy="1508098"/>
          </a:xfrm>
          <a:prstGeom prst="rtTriangle">
            <a:avLst/>
          </a:prstGeom>
          <a:solidFill>
            <a:srgbClr val="7EA3C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6" name="Google Shape;1169;p31">
            <a:extLst>
              <a:ext uri="{FF2B5EF4-FFF2-40B4-BE49-F238E27FC236}">
                <a16:creationId xmlns:a16="http://schemas.microsoft.com/office/drawing/2014/main" id="{3967CA17-176E-212D-B896-D668084234AA}"/>
              </a:ext>
            </a:extLst>
          </p:cNvPr>
          <p:cNvSpPr/>
          <p:nvPr userDrawn="1"/>
        </p:nvSpPr>
        <p:spPr>
          <a:xfrm rot="16200000">
            <a:off x="3906810" y="1304317"/>
            <a:ext cx="6858000" cy="4249363"/>
          </a:xfrm>
          <a:prstGeom prst="rtTriangle">
            <a:avLst/>
          </a:prstGeom>
          <a:solidFill>
            <a:srgbClr val="CFCFCF"/>
          </a:solidFill>
          <a:ln>
            <a:noFill/>
          </a:ln>
        </p:spPr>
        <p:txBody>
          <a:bodyPr spcFirstLastPara="1" wrap="square" lIns="91425" tIns="45700" rIns="91425" bIns="45700" anchor="ctr" anchorCtr="0">
            <a:noAutofit/>
          </a:bodyPr>
          <a:lstStyle/>
          <a:p>
            <a:pPr marL="0" lvl="0" indent="0" algn="ctr" defTabSz="914400" eaLnBrk="1" fontAlgn="auto" latinLnBrk="0" hangingPunct="1">
              <a:buClrTx/>
              <a:buSzTx/>
              <a:buFontTx/>
              <a:buNone/>
              <a:tabLst/>
            </a:pPr>
            <a:endParaRPr kumimoji="0" sz="1600" kern="1200" spc="0" normalizeH="0" baseline="0">
              <a:ln>
                <a:noFill/>
              </a:ln>
              <a:solidFill>
                <a:prstClr val="white"/>
              </a:solidFill>
              <a:effectLst/>
              <a:uLnTx/>
              <a:uFillTx/>
              <a:sym typeface="Arial"/>
            </a:endParaRPr>
          </a:p>
        </p:txBody>
      </p:sp>
      <p:sp>
        <p:nvSpPr>
          <p:cNvPr id="19" name="Google Shape;1169;p31">
            <a:extLst>
              <a:ext uri="{FF2B5EF4-FFF2-40B4-BE49-F238E27FC236}">
                <a16:creationId xmlns:a16="http://schemas.microsoft.com/office/drawing/2014/main" id="{81CEC5CB-DC06-7859-D49F-9003A720E980}"/>
              </a:ext>
            </a:extLst>
          </p:cNvPr>
          <p:cNvSpPr/>
          <p:nvPr userDrawn="1"/>
        </p:nvSpPr>
        <p:spPr>
          <a:xfrm rot="16200000">
            <a:off x="4762865" y="4907156"/>
            <a:ext cx="2413000" cy="1488687"/>
          </a:xfrm>
          <a:prstGeom prst="rtTriangle">
            <a:avLst/>
          </a:prstGeom>
          <a:solidFill>
            <a:srgbClr val="EEEEEE"/>
          </a:solidFill>
          <a:ln>
            <a:noFill/>
          </a:ln>
        </p:spPr>
        <p:txBody>
          <a:bodyPr spcFirstLastPara="1" wrap="square" lIns="91425" tIns="45700" rIns="91425" bIns="45700" anchor="ctr" anchorCtr="0">
            <a:noAutofit/>
          </a:bodyPr>
          <a:lstStyle/>
          <a:p>
            <a:pPr marL="0" lvl="0" indent="0" algn="ctr" defTabSz="914400" eaLnBrk="1" fontAlgn="auto" latinLnBrk="0" hangingPunct="1">
              <a:buClrTx/>
              <a:buSzTx/>
              <a:buFontTx/>
              <a:buNone/>
              <a:tabLst/>
            </a:pPr>
            <a:endParaRPr kumimoji="0" sz="1600" kern="1200" spc="0" normalizeH="0" baseline="0">
              <a:ln>
                <a:noFill/>
              </a:ln>
              <a:solidFill>
                <a:prstClr val="white"/>
              </a:solidFill>
              <a:effectLst/>
              <a:uLnTx/>
              <a:uFillTx/>
              <a:sym typeface="Arial"/>
            </a:endParaRPr>
          </a:p>
        </p:txBody>
      </p:sp>
      <p:sp>
        <p:nvSpPr>
          <p:cNvPr id="20" name="Google Shape;46;p7">
            <a:extLst>
              <a:ext uri="{FF2B5EF4-FFF2-40B4-BE49-F238E27FC236}">
                <a16:creationId xmlns:a16="http://schemas.microsoft.com/office/drawing/2014/main" id="{2AC51D3C-07D4-B6CA-0E70-5583B16F6529}"/>
              </a:ext>
            </a:extLst>
          </p:cNvPr>
          <p:cNvSpPr/>
          <p:nvPr userDrawn="1"/>
        </p:nvSpPr>
        <p:spPr>
          <a:xfrm>
            <a:off x="6705600" y="4444994"/>
            <a:ext cx="5486399" cy="2413005"/>
          </a:xfrm>
          <a:prstGeom prst="rect">
            <a:avLst/>
          </a:prstGeom>
          <a:solidFill>
            <a:srgbClr val="EEEEEE"/>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white"/>
              </a:solidFill>
              <a:effectLst/>
              <a:uLnTx/>
              <a:uFillTx/>
            </a:endParaRPr>
          </a:p>
        </p:txBody>
      </p:sp>
      <p:sp>
        <p:nvSpPr>
          <p:cNvPr id="23" name="Google Shape;46;p7">
            <a:extLst>
              <a:ext uri="{FF2B5EF4-FFF2-40B4-BE49-F238E27FC236}">
                <a16:creationId xmlns:a16="http://schemas.microsoft.com/office/drawing/2014/main" id="{6859DBB4-82B6-B50E-B516-DFD8765767C4}"/>
              </a:ext>
            </a:extLst>
          </p:cNvPr>
          <p:cNvSpPr/>
          <p:nvPr userDrawn="1"/>
        </p:nvSpPr>
        <p:spPr>
          <a:xfrm>
            <a:off x="9448800" y="0"/>
            <a:ext cx="2743200" cy="4444990"/>
          </a:xfrm>
          <a:prstGeom prst="rect">
            <a:avLst/>
          </a:prstGeom>
          <a:solidFill>
            <a:srgbClr val="CFCFC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white"/>
              </a:solidFill>
              <a:effectLst/>
              <a:uLnTx/>
              <a:uFillTx/>
            </a:endParaRPr>
          </a:p>
        </p:txBody>
      </p:sp>
      <p:pic>
        <p:nvPicPr>
          <p:cNvPr id="7" name="Google Shape;1170;p31" descr="ΙΚΑΡΙΟΛΟΓΟΣ: Υπόμνημα του Δήμου Ικαρίας στο Υπουργείο Υγείας">
            <a:extLst>
              <a:ext uri="{FF2B5EF4-FFF2-40B4-BE49-F238E27FC236}">
                <a16:creationId xmlns:a16="http://schemas.microsoft.com/office/drawing/2014/main" id="{AB2DBE9F-045A-B4F1-334E-8FDD9FB2C27F}"/>
              </a:ext>
            </a:extLst>
          </p:cNvPr>
          <p:cNvPicPr preferRelativeResize="0"/>
          <p:nvPr userDrawn="1"/>
        </p:nvPicPr>
        <p:blipFill rotWithShape="1">
          <a:blip r:embed="rId6">
            <a:alphaModFix/>
          </a:blip>
          <a:srcRect/>
          <a:stretch/>
        </p:blipFill>
        <p:spPr>
          <a:xfrm>
            <a:off x="10800000" y="148548"/>
            <a:ext cx="1188703" cy="1193399"/>
          </a:xfrm>
          <a:prstGeom prst="rect">
            <a:avLst/>
          </a:prstGeom>
          <a:noFill/>
          <a:ln>
            <a:noFill/>
          </a:ln>
        </p:spPr>
      </p:pic>
      <p:sp>
        <p:nvSpPr>
          <p:cNvPr id="8" name="Google Shape;14;g1136d0d7768_0_1549">
            <a:extLst>
              <a:ext uri="{FF2B5EF4-FFF2-40B4-BE49-F238E27FC236}">
                <a16:creationId xmlns:a16="http://schemas.microsoft.com/office/drawing/2014/main" id="{751178A6-5E2A-FF1E-F8AB-FF0D0842DDE3}"/>
              </a:ext>
            </a:extLst>
          </p:cNvPr>
          <p:cNvSpPr txBox="1">
            <a:spLocks noGrp="1"/>
          </p:cNvSpPr>
          <p:nvPr>
            <p:ph type="sldNum" idx="12"/>
          </p:nvPr>
        </p:nvSpPr>
        <p:spPr>
          <a:xfrm>
            <a:off x="11296611" y="6377081"/>
            <a:ext cx="522000" cy="255454"/>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chemeClr val="lt1"/>
              </a:buClr>
              <a:buSzPts val="1000"/>
              <a:buFont typeface="Calibri"/>
              <a:buNone/>
              <a:defRPr sz="1000" b="0" i="0" u="none" strike="noStrike" cap="none">
                <a:solidFill>
                  <a:schemeClr val="bg1">
                    <a:lumMod val="65000"/>
                  </a:schemeClr>
                </a:solidFill>
                <a:latin typeface="Calibri"/>
                <a:ea typeface="Calibri"/>
                <a:cs typeface="Calibri"/>
                <a:sym typeface="Calibri"/>
              </a:defRPr>
            </a:lvl1pPr>
            <a:lvl2pPr marL="0" marR="0" lvl="1"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2pPr>
            <a:lvl3pPr marL="0" marR="0" lvl="2"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3pPr>
            <a:lvl4pPr marL="0" marR="0" lvl="3"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4pPr>
            <a:lvl5pPr marL="0" marR="0" lvl="4"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5pPr>
            <a:lvl6pPr marL="0" marR="0" lvl="5"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6pPr>
            <a:lvl7pPr marL="0" marR="0" lvl="6"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7pPr>
            <a:lvl8pPr marL="0" marR="0" lvl="7"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8pPr>
            <a:lvl9pPr marL="0" marR="0" lvl="8"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9pPr>
          </a:lstStyle>
          <a:p>
            <a:fld id="{00000000-1234-1234-1234-123412341234}" type="slidenum">
              <a:rPr lang="el-GR" smtClean="0"/>
              <a:pPr/>
              <a:t>‹#›</a:t>
            </a:fld>
            <a:endParaRPr lang="el-GR" dirty="0"/>
          </a:p>
        </p:txBody>
      </p:sp>
    </p:spTree>
    <p:extLst>
      <p:ext uri="{BB962C8B-B14F-4D97-AF65-F5344CB8AC3E}">
        <p14:creationId xmlns:p14="http://schemas.microsoft.com/office/powerpoint/2010/main" val="411152058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ED58EB0-1C76-3743-F298-A40931AF3575}"/>
              </a:ext>
            </a:extLst>
          </p:cNvPr>
          <p:cNvGraphicFramePr>
            <a:graphicFrameLocks noChangeAspect="1"/>
          </p:cNvGraphicFramePr>
          <p:nvPr userDrawn="1">
            <p:custDataLst>
              <p:tags r:id="rId2"/>
            </p:custDataLst>
            <p:extLst>
              <p:ext uri="{D42A27DB-BD31-4B8C-83A1-F6EECF244321}">
                <p14:modId xmlns:p14="http://schemas.microsoft.com/office/powerpoint/2010/main" val="3973660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Slide" r:id="rId4" imgW="360" imgH="360" progId="TCLayout.ActiveDocument.1">
                  <p:embed/>
                </p:oleObj>
              </mc:Choice>
              <mc:Fallback>
                <p:oleObj name="think-cell Slide" r:id="rId4" imgW="360" imgH="360" progId="TCLayout.ActiveDocument.1">
                  <p:embed/>
                  <p:pic>
                    <p:nvPicPr>
                      <p:cNvPr id="6" name="think-cell data - do not delete" hidden="1">
                        <a:extLst>
                          <a:ext uri="{FF2B5EF4-FFF2-40B4-BE49-F238E27FC236}">
                            <a16:creationId xmlns:a16="http://schemas.microsoft.com/office/drawing/2014/main" id="{4ED58EB0-1C76-3743-F298-A40931AF35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457847BD-330A-2074-F1EE-BF7F60A8CAA7}"/>
              </a:ext>
            </a:extLst>
          </p:cNvPr>
          <p:cNvSpPr>
            <a:spLocks noGrp="1"/>
          </p:cNvSpPr>
          <p:nvPr>
            <p:ph type="title" hasCustomPrompt="1"/>
          </p:nvPr>
        </p:nvSpPr>
        <p:spPr>
          <a:xfrm>
            <a:off x="327600" y="399600"/>
            <a:ext cx="11343600" cy="835200"/>
          </a:xfrm>
          <a:prstGeom prst="rect">
            <a:avLst/>
          </a:prstGeom>
          <a:noFill/>
          <a:ln>
            <a:noFill/>
          </a:ln>
        </p:spPr>
        <p:txBody>
          <a:bodyPr spcFirstLastPara="1" vert="horz" wrap="square" lIns="108000" tIns="45700" rIns="91425" bIns="45700" anchor="t" anchorCtr="0">
            <a:noAutofit/>
          </a:bodyPr>
          <a:lstStyle>
            <a:lvl1pPr marR="0" algn="l" rtl="0">
              <a:lnSpc>
                <a:spcPct val="90000"/>
              </a:lnSpc>
              <a:spcBef>
                <a:spcPts val="0"/>
              </a:spcBef>
              <a:spcAft>
                <a:spcPts val="0"/>
              </a:spcAft>
              <a:buClr>
                <a:srgbClr val="000000"/>
              </a:buClr>
              <a:buSzPts val="3200"/>
              <a:buFont typeface="Arial"/>
              <a:buNone/>
              <a:defRPr lang="en-GB" sz="2600" b="1" i="0" u="none" strike="noStrike" cap="none" dirty="0">
                <a:solidFill>
                  <a:srgbClr val="31506D"/>
                </a:solidFill>
                <a:latin typeface="Calibri" panose="020F0502020204030204" pitchFamily="34" charset="0"/>
                <a:ea typeface="Calibri" panose="020F0502020204030204" pitchFamily="34" charset="0"/>
                <a:cs typeface="Calibri" panose="020F0502020204030204" pitchFamily="34" charset="0"/>
                <a:sym typeface="Arial"/>
              </a:defRPr>
            </a:lvl1pPr>
          </a:lstStyle>
          <a:p>
            <a:pPr lvl="0">
              <a:lnSpc>
                <a:spcPct val="90000"/>
              </a:lnSpc>
              <a:buSzPts val="3200"/>
              <a:buNone/>
            </a:pPr>
            <a:r>
              <a:rPr lang="en-US" dirty="0"/>
              <a:t>Click here to add text</a:t>
            </a:r>
            <a:endParaRPr lang="en-GB" dirty="0"/>
          </a:p>
        </p:txBody>
      </p:sp>
      <p:sp>
        <p:nvSpPr>
          <p:cNvPr id="8" name="Text Placeholder 9">
            <a:extLst>
              <a:ext uri="{FF2B5EF4-FFF2-40B4-BE49-F238E27FC236}">
                <a16:creationId xmlns:a16="http://schemas.microsoft.com/office/drawing/2014/main" id="{5382A116-4F85-047D-6724-0ED9C1592B85}"/>
              </a:ext>
            </a:extLst>
          </p:cNvPr>
          <p:cNvSpPr>
            <a:spLocks noGrp="1"/>
          </p:cNvSpPr>
          <p:nvPr>
            <p:ph type="body" sz="quarter" idx="14"/>
          </p:nvPr>
        </p:nvSpPr>
        <p:spPr>
          <a:xfrm>
            <a:off x="326267" y="1251889"/>
            <a:ext cx="11343600" cy="367200"/>
          </a:xfrm>
        </p:spPr>
        <p:txBody>
          <a:bodyPr vert="horz" lIns="108000" tIns="45720" rIns="91440" bIns="45720" rtlCol="0" anchor="ctr" anchorCtr="0">
            <a:noAutofit/>
          </a:bodyPr>
          <a:lstStyle>
            <a:lvl1pPr>
              <a:defRPr lang="en-US" sz="1800" b="1" smtClean="0">
                <a:solidFill>
                  <a:srgbClr val="363636"/>
                </a:solidFill>
                <a:latin typeface="Calibri" panose="020F0502020204030204" pitchFamily="34" charset="0"/>
                <a:ea typeface="Calibri" panose="020F0502020204030204" pitchFamily="34" charset="0"/>
                <a:cs typeface="Calibri" panose="020F0502020204030204" pitchFamily="34" charset="0"/>
              </a:defRPr>
            </a:lvl1pPr>
            <a:lvl2pPr>
              <a:defRPr lang="en-US" smtClean="0"/>
            </a:lvl2pPr>
            <a:lvl3pPr>
              <a:defRPr lang="en-US" smtClean="0"/>
            </a:lvl3pPr>
            <a:lvl4pPr>
              <a:defRPr lang="en-US" smtClean="0"/>
            </a:lvl4pPr>
            <a:lvl5pPr>
              <a:defRPr lang="en-GB"/>
            </a:lvl5pPr>
          </a:lstStyle>
          <a:p>
            <a:pPr lvl="0"/>
            <a:r>
              <a:rPr lang="en-US" dirty="0"/>
              <a:t>Click to edit Master text styles</a:t>
            </a:r>
          </a:p>
        </p:txBody>
      </p:sp>
      <p:sp>
        <p:nvSpPr>
          <p:cNvPr id="9" name="Google Shape;16;g1136d0d7768_0_1549">
            <a:extLst>
              <a:ext uri="{FF2B5EF4-FFF2-40B4-BE49-F238E27FC236}">
                <a16:creationId xmlns:a16="http://schemas.microsoft.com/office/drawing/2014/main" id="{D5572420-3CCB-91D1-2B0C-B7AD11A9D7EE}"/>
              </a:ext>
            </a:extLst>
          </p:cNvPr>
          <p:cNvSpPr/>
          <p:nvPr userDrawn="1"/>
        </p:nvSpPr>
        <p:spPr>
          <a:xfrm>
            <a:off x="363013" y="225465"/>
            <a:ext cx="5473800" cy="91500"/>
          </a:xfrm>
          <a:prstGeom prst="rect">
            <a:avLst/>
          </a:prstGeom>
          <a:solidFill>
            <a:srgbClr val="0134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600"/>
              <a:buFont typeface="Calibri"/>
              <a:buNone/>
            </a:pPr>
            <a:endParaRPr sz="1600" b="0" i="0" u="none" strike="noStrike" cap="none">
              <a:solidFill>
                <a:schemeClr val="lt1"/>
              </a:solidFill>
              <a:latin typeface="Arial"/>
              <a:ea typeface="Arial"/>
              <a:cs typeface="Arial"/>
              <a:sym typeface="Arial"/>
            </a:endParaRPr>
          </a:p>
        </p:txBody>
      </p:sp>
      <p:sp>
        <p:nvSpPr>
          <p:cNvPr id="10" name="Google Shape;14;g1136d0d7768_0_1549">
            <a:extLst>
              <a:ext uri="{FF2B5EF4-FFF2-40B4-BE49-F238E27FC236}">
                <a16:creationId xmlns:a16="http://schemas.microsoft.com/office/drawing/2014/main" id="{64871ECD-D1B5-384F-95A5-A3ED822ACDDB}"/>
              </a:ext>
            </a:extLst>
          </p:cNvPr>
          <p:cNvSpPr txBox="1">
            <a:spLocks noGrp="1"/>
          </p:cNvSpPr>
          <p:nvPr>
            <p:ph type="sldNum" idx="12"/>
          </p:nvPr>
        </p:nvSpPr>
        <p:spPr>
          <a:xfrm>
            <a:off x="11296611" y="6377081"/>
            <a:ext cx="522000" cy="255454"/>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chemeClr val="lt1"/>
              </a:buClr>
              <a:buSzPts val="1000"/>
              <a:buFont typeface="Calibri"/>
              <a:buNone/>
              <a:defRPr sz="1000" b="0" i="0" u="none" strike="noStrike" cap="none">
                <a:solidFill>
                  <a:schemeClr val="tx1"/>
                </a:solidFill>
                <a:latin typeface="Calibri"/>
                <a:ea typeface="Calibri"/>
                <a:cs typeface="Calibri"/>
                <a:sym typeface="Calibri"/>
              </a:defRPr>
            </a:lvl1pPr>
            <a:lvl2pPr marL="0" marR="0" lvl="1"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2pPr>
            <a:lvl3pPr marL="0" marR="0" lvl="2"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3pPr>
            <a:lvl4pPr marL="0" marR="0" lvl="3"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4pPr>
            <a:lvl5pPr marL="0" marR="0" lvl="4"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5pPr>
            <a:lvl6pPr marL="0" marR="0" lvl="5"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6pPr>
            <a:lvl7pPr marL="0" marR="0" lvl="6"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7pPr>
            <a:lvl8pPr marL="0" marR="0" lvl="7"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8pPr>
            <a:lvl9pPr marL="0" marR="0" lvl="8" indent="0" algn="l" rtl="0">
              <a:lnSpc>
                <a:spcPct val="100000"/>
              </a:lnSpc>
              <a:spcBef>
                <a:spcPts val="0"/>
              </a:spcBef>
              <a:spcAft>
                <a:spcPts val="0"/>
              </a:spcAft>
              <a:buClr>
                <a:schemeClr val="lt1"/>
              </a:buClr>
              <a:buSzPts val="1000"/>
              <a:buFont typeface="Calibri"/>
              <a:buNone/>
              <a:defRPr sz="1000" b="0" i="0" u="none" strike="noStrike" cap="none">
                <a:solidFill>
                  <a:schemeClr val="lt1"/>
                </a:solidFill>
                <a:latin typeface="Calibri"/>
                <a:ea typeface="Calibri"/>
                <a:cs typeface="Calibri"/>
                <a:sym typeface="Calibri"/>
              </a:defRPr>
            </a:lvl9pPr>
          </a:lstStyle>
          <a:p>
            <a:fld id="{00000000-1234-1234-1234-123412341234}" type="slidenum">
              <a:rPr lang="el-GR" smtClean="0"/>
              <a:pPr/>
              <a:t>‹#›</a:t>
            </a:fld>
            <a:endParaRPr lang="el-GR" dirty="0"/>
          </a:p>
        </p:txBody>
      </p:sp>
      <p:sp>
        <p:nvSpPr>
          <p:cNvPr id="11" name="Footer Placeholder 5">
            <a:extLst>
              <a:ext uri="{FF2B5EF4-FFF2-40B4-BE49-F238E27FC236}">
                <a16:creationId xmlns:a16="http://schemas.microsoft.com/office/drawing/2014/main" id="{AD6A1958-10DD-9833-177F-C77826680BA6}"/>
              </a:ext>
            </a:extLst>
          </p:cNvPr>
          <p:cNvSpPr>
            <a:spLocks noGrp="1"/>
          </p:cNvSpPr>
          <p:nvPr>
            <p:ph type="ftr" sz="quarter" idx="3"/>
          </p:nvPr>
        </p:nvSpPr>
        <p:spPr>
          <a:xfrm>
            <a:off x="809897" y="6377081"/>
            <a:ext cx="10315303" cy="255454"/>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Add footer at: Insert -&gt; Header &amp; Footer -&gt; Footer</a:t>
            </a:r>
            <a:endParaRPr lang="el-GR" dirty="0"/>
          </a:p>
        </p:txBody>
      </p:sp>
      <p:pic>
        <p:nvPicPr>
          <p:cNvPr id="12" name="Google Shape;1170;p31" descr="ΙΚΑΡΙΟΛΟΓΟΣ: Υπόμνημα του Δήμου Ικαρίας στο Υπουργείο Υγείας">
            <a:extLst>
              <a:ext uri="{FF2B5EF4-FFF2-40B4-BE49-F238E27FC236}">
                <a16:creationId xmlns:a16="http://schemas.microsoft.com/office/drawing/2014/main" id="{6D1622A1-EABA-FDD6-B893-0B0B3CEC6AA6}"/>
              </a:ext>
            </a:extLst>
          </p:cNvPr>
          <p:cNvPicPr preferRelativeResize="0">
            <a:picLocks noChangeAspect="1"/>
          </p:cNvPicPr>
          <p:nvPr userDrawn="1"/>
        </p:nvPicPr>
        <p:blipFill rotWithShape="1">
          <a:blip r:embed="rId6">
            <a:alphaModFix/>
          </a:blip>
          <a:srcRect/>
          <a:stretch/>
        </p:blipFill>
        <p:spPr>
          <a:xfrm>
            <a:off x="173611" y="6271312"/>
            <a:ext cx="465154" cy="466992"/>
          </a:xfrm>
          <a:prstGeom prst="rect">
            <a:avLst/>
          </a:prstGeom>
          <a:noFill/>
          <a:ln>
            <a:noFill/>
          </a:ln>
        </p:spPr>
      </p:pic>
    </p:spTree>
    <p:extLst>
      <p:ext uri="{BB962C8B-B14F-4D97-AF65-F5344CB8AC3E}">
        <p14:creationId xmlns:p14="http://schemas.microsoft.com/office/powerpoint/2010/main" val="40110343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5"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26" name="PlaceHolder 2"/>
          <p:cNvSpPr>
            <a:spLocks noGrp="1"/>
          </p:cNvSpPr>
          <p:nvPr>
            <p:ph type="body"/>
          </p:nvPr>
        </p:nvSpPr>
        <p:spPr>
          <a:xfrm>
            <a:off x="609480" y="1604520"/>
            <a:ext cx="5354280" cy="3977280"/>
          </a:xfrm>
          <a:prstGeom prst="rect">
            <a:avLst/>
          </a:prstGeom>
        </p:spPr>
        <p:txBody>
          <a:bodyPr lIns="0" tIns="0" rIns="0" bIns="0">
            <a:normAutofit/>
          </a:bodyPr>
          <a:lstStyle/>
          <a:p>
            <a:endParaRPr lang="en-US" sz="3200" b="0" strike="noStrike" spc="-1">
              <a:latin typeface="Arial"/>
            </a:endParaRPr>
          </a:p>
        </p:txBody>
      </p:sp>
      <p:sp>
        <p:nvSpPr>
          <p:cNvPr id="27"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3200" b="0" strike="noStrike" spc="-1">
              <a:latin typeface="Arial"/>
            </a:endParaRPr>
          </a:p>
        </p:txBody>
      </p:sp>
      <p:sp>
        <p:nvSpPr>
          <p:cNvPr id="28" name="PlaceHolder 4"/>
          <p:cNvSpPr>
            <a:spLocks noGrp="1"/>
          </p:cNvSpPr>
          <p:nvPr>
            <p:ph type="body"/>
          </p:nvPr>
        </p:nvSpPr>
        <p:spPr>
          <a:xfrm>
            <a:off x="6231960" y="3682080"/>
            <a:ext cx="535428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29"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en-US" sz="4400" b="0" strike="noStrike" spc="-1">
              <a:latin typeface="Arial"/>
            </a:endParaRPr>
          </a:p>
        </p:txBody>
      </p:sp>
      <p:sp>
        <p:nvSpPr>
          <p:cNvPr id="30" name="PlaceHolder 2"/>
          <p:cNvSpPr>
            <a:spLocks noGrp="1"/>
          </p:cNvSpPr>
          <p:nvPr>
            <p:ph type="body"/>
          </p:nvPr>
        </p:nvSpPr>
        <p:spPr>
          <a:xfrm>
            <a:off x="609480" y="1604520"/>
            <a:ext cx="5354280" cy="1896840"/>
          </a:xfrm>
          <a:prstGeom prst="rect">
            <a:avLst/>
          </a:prstGeom>
        </p:spPr>
        <p:txBody>
          <a:bodyPr lIns="0" tIns="0" rIns="0" bIns="0">
            <a:normAutofit/>
          </a:bodyPr>
          <a:lstStyle/>
          <a:p>
            <a:endParaRPr lang="en-US" sz="3200" b="0" strike="noStrike" spc="-1">
              <a:latin typeface="Arial"/>
            </a:endParaRPr>
          </a:p>
        </p:txBody>
      </p:sp>
      <p:sp>
        <p:nvSpPr>
          <p:cNvPr id="31" name="PlaceHolder 3"/>
          <p:cNvSpPr>
            <a:spLocks noGrp="1"/>
          </p:cNvSpPr>
          <p:nvPr>
            <p:ph type="body"/>
          </p:nvPr>
        </p:nvSpPr>
        <p:spPr>
          <a:xfrm>
            <a:off x="6231960" y="1604520"/>
            <a:ext cx="5354280" cy="1896840"/>
          </a:xfrm>
          <a:prstGeom prst="rect">
            <a:avLst/>
          </a:prstGeom>
        </p:spPr>
        <p:txBody>
          <a:bodyPr lIns="0" tIns="0" rIns="0" bIns="0">
            <a:normAutofit/>
          </a:bodyPr>
          <a:lstStyle/>
          <a:p>
            <a:endParaRPr lang="en-US" sz="3200" b="0" strike="noStrike" spc="-1">
              <a:latin typeface="Arial"/>
            </a:endParaRPr>
          </a:p>
        </p:txBody>
      </p:sp>
      <p:sp>
        <p:nvSpPr>
          <p:cNvPr id="32" name="PlaceHolder 4"/>
          <p:cNvSpPr>
            <a:spLocks noGrp="1"/>
          </p:cNvSpPr>
          <p:nvPr>
            <p:ph type="body"/>
          </p:nvPr>
        </p:nvSpPr>
        <p:spPr>
          <a:xfrm>
            <a:off x="609480" y="3682080"/>
            <a:ext cx="109724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5.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tags" Target="../tags/tag1.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vmlDrawing" Target="../drawings/vmlDrawing1.vml"/><Relationship Id="rId2" Type="http://schemas.openxmlformats.org/officeDocument/2006/relationships/slideLayout" Target="../slideLayouts/slideLayout62.xml"/><Relationship Id="rId16" Type="http://schemas.openxmlformats.org/officeDocument/2006/relationships/theme" Target="../theme/theme6.xml"/><Relationship Id="rId20" Type="http://schemas.openxmlformats.org/officeDocument/2006/relationships/image" Target="../media/image3.emf"/><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oleObject" Target="../embeddings/oleObject1.bin"/><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 name="CustomShape 1"/>
          <p:cNvSpPr/>
          <p:nvPr/>
        </p:nvSpPr>
        <p:spPr>
          <a:xfrm>
            <a:off x="0" y="0"/>
            <a:ext cx="5270760" cy="6855840"/>
          </a:xfrm>
          <a:prstGeom prst="rect">
            <a:avLst/>
          </a:prstGeom>
          <a:solidFill>
            <a:srgbClr val="2F5597"/>
          </a:solidFill>
          <a:ln w="0">
            <a:noFill/>
          </a:ln>
        </p:spPr>
        <p:style>
          <a:lnRef idx="0">
            <a:scrgbClr r="0" g="0" b="0"/>
          </a:lnRef>
          <a:fillRef idx="0">
            <a:scrgbClr r="0" g="0" b="0"/>
          </a:fillRef>
          <a:effectRef idx="0">
            <a:scrgbClr r="0" g="0" b="0"/>
          </a:effectRef>
          <a:fontRef idx="minor"/>
        </p:style>
      </p:sp>
      <p:sp>
        <p:nvSpPr>
          <p:cNvPr id="13" name="CustomShape 2"/>
          <p:cNvSpPr/>
          <p:nvPr/>
        </p:nvSpPr>
        <p:spPr>
          <a:xfrm rot="5400000">
            <a:off x="3937680" y="1302120"/>
            <a:ext cx="6855840" cy="4247280"/>
          </a:xfrm>
          <a:prstGeom prst="rtTriangle">
            <a:avLst/>
          </a:prstGeom>
          <a:solidFill>
            <a:srgbClr val="2F5597"/>
          </a:solidFill>
          <a:ln w="0">
            <a:noFill/>
          </a:ln>
        </p:spPr>
        <p:style>
          <a:lnRef idx="0">
            <a:scrgbClr r="0" g="0" b="0"/>
          </a:lnRef>
          <a:fillRef idx="0">
            <a:scrgbClr r="0" g="0" b="0"/>
          </a:fillRef>
          <a:effectRef idx="0">
            <a:scrgbClr r="0" g="0" b="0"/>
          </a:effectRef>
          <a:fontRef idx="minor"/>
        </p:style>
      </p:sp>
      <p:sp>
        <p:nvSpPr>
          <p:cNvPr id="2" name="CustomShape 3"/>
          <p:cNvSpPr/>
          <p:nvPr/>
        </p:nvSpPr>
        <p:spPr>
          <a:xfrm>
            <a:off x="0" y="4444920"/>
            <a:ext cx="5239800" cy="2410920"/>
          </a:xfrm>
          <a:prstGeom prst="rect">
            <a:avLst/>
          </a:prstGeom>
          <a:solidFill>
            <a:srgbClr val="7EA3C6"/>
          </a:solidFill>
          <a:ln w="0">
            <a:noFill/>
          </a:ln>
        </p:spPr>
        <p:style>
          <a:lnRef idx="0">
            <a:scrgbClr r="0" g="0" b="0"/>
          </a:lnRef>
          <a:fillRef idx="0">
            <a:scrgbClr r="0" g="0" b="0"/>
          </a:fillRef>
          <a:effectRef idx="0">
            <a:scrgbClr r="0" g="0" b="0"/>
          </a:effectRef>
          <a:fontRef idx="minor"/>
        </p:style>
      </p:sp>
      <p:sp>
        <p:nvSpPr>
          <p:cNvPr id="3" name="CustomShape 4"/>
          <p:cNvSpPr/>
          <p:nvPr/>
        </p:nvSpPr>
        <p:spPr>
          <a:xfrm rot="5400000">
            <a:off x="4791600" y="4897440"/>
            <a:ext cx="2410920" cy="1505880"/>
          </a:xfrm>
          <a:prstGeom prst="rtTriangle">
            <a:avLst/>
          </a:prstGeom>
          <a:solidFill>
            <a:srgbClr val="7EA3C6"/>
          </a:solidFill>
          <a:ln w="0">
            <a:noFill/>
          </a:ln>
        </p:spPr>
        <p:style>
          <a:lnRef idx="0">
            <a:scrgbClr r="0" g="0" b="0"/>
          </a:lnRef>
          <a:fillRef idx="0">
            <a:scrgbClr r="0" g="0" b="0"/>
          </a:fillRef>
          <a:effectRef idx="0">
            <a:scrgbClr r="0" g="0" b="0"/>
          </a:effectRef>
          <a:fontRef idx="minor"/>
        </p:style>
      </p:sp>
      <p:sp>
        <p:nvSpPr>
          <p:cNvPr id="4" name="CustomShape 5"/>
          <p:cNvSpPr/>
          <p:nvPr/>
        </p:nvSpPr>
        <p:spPr>
          <a:xfrm rot="16200000">
            <a:off x="3906720" y="1306440"/>
            <a:ext cx="6855840" cy="4247280"/>
          </a:xfrm>
          <a:prstGeom prst="rtTriangle">
            <a:avLst/>
          </a:prstGeom>
          <a:solidFill>
            <a:srgbClr val="CFCFCF"/>
          </a:solidFill>
          <a:ln w="0">
            <a:noFill/>
          </a:ln>
        </p:spPr>
        <p:style>
          <a:lnRef idx="0">
            <a:scrgbClr r="0" g="0" b="0"/>
          </a:lnRef>
          <a:fillRef idx="0">
            <a:scrgbClr r="0" g="0" b="0"/>
          </a:fillRef>
          <a:effectRef idx="0">
            <a:scrgbClr r="0" g="0" b="0"/>
          </a:effectRef>
          <a:fontRef idx="minor"/>
        </p:style>
      </p:sp>
      <p:sp>
        <p:nvSpPr>
          <p:cNvPr id="5" name="CustomShape 6"/>
          <p:cNvSpPr/>
          <p:nvPr/>
        </p:nvSpPr>
        <p:spPr>
          <a:xfrm rot="16200000">
            <a:off x="4762800" y="4909320"/>
            <a:ext cx="2410920" cy="1486440"/>
          </a:xfrm>
          <a:prstGeom prst="rtTriangle">
            <a:avLst/>
          </a:prstGeom>
          <a:solidFill>
            <a:srgbClr val="EEEEEE"/>
          </a:solidFill>
          <a:ln w="0">
            <a:noFill/>
          </a:ln>
        </p:spPr>
        <p:style>
          <a:lnRef idx="0">
            <a:scrgbClr r="0" g="0" b="0"/>
          </a:lnRef>
          <a:fillRef idx="0">
            <a:scrgbClr r="0" g="0" b="0"/>
          </a:fillRef>
          <a:effectRef idx="0">
            <a:scrgbClr r="0" g="0" b="0"/>
          </a:effectRef>
          <a:fontRef idx="minor"/>
        </p:style>
      </p:sp>
      <p:sp>
        <p:nvSpPr>
          <p:cNvPr id="6" name="CustomShape 7"/>
          <p:cNvSpPr/>
          <p:nvPr/>
        </p:nvSpPr>
        <p:spPr>
          <a:xfrm>
            <a:off x="6705720" y="4444920"/>
            <a:ext cx="5484240" cy="2410920"/>
          </a:xfrm>
          <a:prstGeom prst="rect">
            <a:avLst/>
          </a:prstGeom>
          <a:solidFill>
            <a:srgbClr val="EEEEEE"/>
          </a:solidFill>
          <a:ln w="0">
            <a:noFill/>
          </a:ln>
        </p:spPr>
        <p:style>
          <a:lnRef idx="0">
            <a:scrgbClr r="0" g="0" b="0"/>
          </a:lnRef>
          <a:fillRef idx="0">
            <a:scrgbClr r="0" g="0" b="0"/>
          </a:fillRef>
          <a:effectRef idx="0">
            <a:scrgbClr r="0" g="0" b="0"/>
          </a:effectRef>
          <a:fontRef idx="minor"/>
        </p:style>
      </p:sp>
      <p:sp>
        <p:nvSpPr>
          <p:cNvPr id="7" name="CustomShape 8"/>
          <p:cNvSpPr/>
          <p:nvPr/>
        </p:nvSpPr>
        <p:spPr>
          <a:xfrm>
            <a:off x="9448920" y="0"/>
            <a:ext cx="2741040" cy="4442760"/>
          </a:xfrm>
          <a:prstGeom prst="rect">
            <a:avLst/>
          </a:prstGeom>
          <a:solidFill>
            <a:srgbClr val="CFCFCF"/>
          </a:solidFill>
          <a:ln w="0">
            <a:noFill/>
          </a:ln>
        </p:spPr>
        <p:style>
          <a:lnRef idx="0">
            <a:scrgbClr r="0" g="0" b="0"/>
          </a:lnRef>
          <a:fillRef idx="0">
            <a:scrgbClr r="0" g="0" b="0"/>
          </a:fillRef>
          <a:effectRef idx="0">
            <a:scrgbClr r="0" g="0" b="0"/>
          </a:effectRef>
          <a:fontRef idx="minor"/>
        </p:style>
      </p:sp>
      <p:sp>
        <p:nvSpPr>
          <p:cNvPr id="8" name="CustomShape 9"/>
          <p:cNvSpPr/>
          <p:nvPr/>
        </p:nvSpPr>
        <p:spPr>
          <a:xfrm>
            <a:off x="2405160" y="759960"/>
            <a:ext cx="4739760" cy="300240"/>
          </a:xfrm>
          <a:prstGeom prst="snip2DiagRect">
            <a:avLst>
              <a:gd name="adj1" fmla="val 0"/>
              <a:gd name="adj2" fmla="val 16667"/>
            </a:avLst>
          </a:prstGeom>
          <a:noFill/>
          <a:ln w="0">
            <a:noFill/>
          </a:ln>
        </p:spPr>
        <p:style>
          <a:lnRef idx="0">
            <a:scrgbClr r="0" g="0" b="0"/>
          </a:lnRef>
          <a:fillRef idx="0">
            <a:scrgbClr r="0" g="0" b="0"/>
          </a:fillRef>
          <a:effectRef idx="0">
            <a:scrgbClr r="0" g="0" b="0"/>
          </a:effectRef>
          <a:fontRef idx="minor"/>
        </p:style>
        <p:txBody>
          <a:bodyPr lIns="111240" tIns="15840" rIns="111240" bIns="15840" anchor="ctr">
            <a:noAutofit/>
          </a:bodyPr>
          <a:lstStyle/>
          <a:p>
            <a:pPr>
              <a:lnSpc>
                <a:spcPct val="100000"/>
              </a:lnSpc>
              <a:tabLst>
                <a:tab pos="0" algn="l"/>
              </a:tabLst>
            </a:pPr>
            <a:r>
              <a:rPr lang="el-GR" sz="2800" b="1" strike="noStrike" spc="-1">
                <a:solidFill>
                  <a:srgbClr val="F2F2F2"/>
                </a:solidFill>
                <a:latin typeface="Calibri"/>
                <a:ea typeface="Calibri"/>
              </a:rPr>
              <a:t>ΕΛΛΗΝΙΚΗ ΔΗΜΟΚΡΑΤΙΑ</a:t>
            </a:r>
            <a:endParaRPr lang="en-US" sz="2800" b="0" strike="noStrike" spc="-1">
              <a:latin typeface="Arial"/>
            </a:endParaRPr>
          </a:p>
        </p:txBody>
      </p:sp>
      <p:pic>
        <p:nvPicPr>
          <p:cNvPr id="9" name="Google Shape;26;p39"/>
          <p:cNvPicPr/>
          <p:nvPr/>
        </p:nvPicPr>
        <p:blipFill>
          <a:blip r:embed="rId14"/>
          <a:srcRect l="25291" t="19877" r="25674" b="17486"/>
          <a:stretch/>
        </p:blipFill>
        <p:spPr>
          <a:xfrm>
            <a:off x="281160" y="299520"/>
            <a:ext cx="2118600" cy="1865520"/>
          </a:xfrm>
          <a:prstGeom prst="rect">
            <a:avLst/>
          </a:prstGeom>
          <a:ln w="0">
            <a:noFill/>
          </a:ln>
        </p:spPr>
      </p:pic>
      <p:sp>
        <p:nvSpPr>
          <p:cNvPr id="10" name="PlaceHolder 10"/>
          <p:cNvSpPr>
            <a:spLocks noGrp="1"/>
          </p:cNvSpPr>
          <p:nvPr>
            <p:ph type="title"/>
          </p:nvPr>
        </p:nvSpPr>
        <p:spPr>
          <a:xfrm>
            <a:off x="609480" y="273600"/>
            <a:ext cx="10972440" cy="1144800"/>
          </a:xfrm>
          <a:prstGeom prst="rect">
            <a:avLst/>
          </a:prstGeom>
        </p:spPr>
        <p:txBody>
          <a:bodyPr lIns="0" tIns="0" rIns="0" bIns="0" anchor="ctr">
            <a:noAutofit/>
          </a:bodyPr>
          <a:lstStyle/>
          <a:p>
            <a:pPr algn="ctr"/>
            <a:r>
              <a:rPr lang="en-US" sz="4400" b="0" strike="noStrike" spc="-1">
                <a:latin typeface="Arial"/>
              </a:rPr>
              <a:t>Πατήστε για επεξεργασία της μορφής κειμένου του τίτλου</a:t>
            </a:r>
          </a:p>
        </p:txBody>
      </p:sp>
      <p:sp>
        <p:nvSpPr>
          <p:cNvPr id="11" name="PlaceHolder 11"/>
          <p:cNvSpPr>
            <a:spLocks noGrp="1"/>
          </p:cNvSpPr>
          <p:nvPr>
            <p:ph type="body"/>
          </p:nvPr>
        </p:nvSpPr>
        <p:spPr>
          <a:xfrm>
            <a:off x="609480" y="1604520"/>
            <a:ext cx="10972440" cy="397728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3200" b="0" strike="noStrike" spc="-1">
                <a:latin typeface="Arial"/>
              </a:rPr>
              <a:t>Πατήστε για επεξεργασία της μορφής κειμένου διάρθρωσης</a:t>
            </a:r>
          </a:p>
          <a:p>
            <a:pPr marL="864000" lvl="1" indent="-324000">
              <a:spcBef>
                <a:spcPts val="1134"/>
              </a:spcBef>
              <a:buClr>
                <a:srgbClr val="000000"/>
              </a:buClr>
              <a:buSzPct val="75000"/>
              <a:buFont typeface="Symbol" charset="2"/>
              <a:buChar char=""/>
            </a:pPr>
            <a:r>
              <a:rPr lang="en-US" sz="2800" b="0" strike="noStrike" spc="-1">
                <a:latin typeface="Arial"/>
              </a:rPr>
              <a:t>Δεύτερο επίπεδο διάρθρωσης</a:t>
            </a:r>
          </a:p>
          <a:p>
            <a:pPr marL="1296000" lvl="2" indent="-288000">
              <a:spcBef>
                <a:spcPts val="850"/>
              </a:spcBef>
              <a:buClr>
                <a:srgbClr val="000000"/>
              </a:buClr>
              <a:buSzPct val="45000"/>
              <a:buFont typeface="Wingdings" charset="2"/>
              <a:buChar char=""/>
            </a:pPr>
            <a:r>
              <a:rPr lang="en-US" sz="2400" b="0" strike="noStrike" spc="-1">
                <a:latin typeface="Arial"/>
              </a:rPr>
              <a:t>Τρίτο επίπεδο διάρθρωσης</a:t>
            </a:r>
          </a:p>
          <a:p>
            <a:pPr marL="1728000" lvl="3" indent="-216000">
              <a:spcBef>
                <a:spcPts val="567"/>
              </a:spcBef>
              <a:buClr>
                <a:srgbClr val="000000"/>
              </a:buClr>
              <a:buSzPct val="75000"/>
              <a:buFont typeface="Symbol" charset="2"/>
              <a:buChar char=""/>
            </a:pPr>
            <a:r>
              <a:rPr lang="en-US" sz="2000" b="0" strike="noStrike" spc="-1">
                <a:latin typeface="Arial"/>
              </a:rPr>
              <a:t>Τέταρτο επίπεδο διάρθρωσης</a:t>
            </a:r>
          </a:p>
          <a:p>
            <a:pPr marL="2160000" lvl="4" indent="-216000">
              <a:spcBef>
                <a:spcPts val="283"/>
              </a:spcBef>
              <a:buClr>
                <a:srgbClr val="000000"/>
              </a:buClr>
              <a:buSzPct val="45000"/>
              <a:buFont typeface="Wingdings" charset="2"/>
              <a:buChar char=""/>
            </a:pPr>
            <a:r>
              <a:rPr lang="en-US" sz="2000" b="0" strike="noStrike" spc="-1">
                <a:latin typeface="Arial"/>
              </a:rPr>
              <a:t>Πέμπτο επίπεδο διάρθρωσης</a:t>
            </a:r>
          </a:p>
          <a:p>
            <a:pPr marL="2592000" lvl="5" indent="-216000">
              <a:spcBef>
                <a:spcPts val="283"/>
              </a:spcBef>
              <a:buClr>
                <a:srgbClr val="000000"/>
              </a:buClr>
              <a:buSzPct val="45000"/>
              <a:buFont typeface="Wingdings" charset="2"/>
              <a:buChar char=""/>
            </a:pPr>
            <a:r>
              <a:rPr lang="en-US" sz="2000" b="0" strike="noStrike" spc="-1">
                <a:latin typeface="Arial"/>
              </a:rPr>
              <a:t>Έκτο επίπεδο διάρθρωσης</a:t>
            </a:r>
          </a:p>
          <a:p>
            <a:pPr marL="3024000" lvl="6" indent="-216000">
              <a:spcBef>
                <a:spcPts val="283"/>
              </a:spcBef>
              <a:buClr>
                <a:srgbClr val="000000"/>
              </a:buClr>
              <a:buSzPct val="45000"/>
              <a:buFont typeface="Wingdings" charset="2"/>
              <a:buChar char=""/>
            </a:pPr>
            <a:r>
              <a:rPr lang="en-US" sz="2000" b="0" strike="noStrike" spc="-1">
                <a:latin typeface="Arial"/>
              </a:rPr>
              <a:t>Έβδομο επίπεδο διάρθρωσης</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8" name="CustomShape 1"/>
          <p:cNvSpPr/>
          <p:nvPr/>
        </p:nvSpPr>
        <p:spPr>
          <a:xfrm>
            <a:off x="4775040" y="-21240"/>
            <a:ext cx="7414920" cy="6877080"/>
          </a:xfrm>
          <a:prstGeom prst="rect">
            <a:avLst/>
          </a:prstGeom>
          <a:solidFill>
            <a:srgbClr val="EEEEEE"/>
          </a:solidFill>
          <a:ln w="0">
            <a:noFill/>
          </a:ln>
        </p:spPr>
        <p:style>
          <a:lnRef idx="0">
            <a:scrgbClr r="0" g="0" b="0"/>
          </a:lnRef>
          <a:fillRef idx="0">
            <a:scrgbClr r="0" g="0" b="0"/>
          </a:fillRef>
          <a:effectRef idx="0">
            <a:scrgbClr r="0" g="0" b="0"/>
          </a:effectRef>
          <a:fontRef idx="minor"/>
        </p:style>
      </p:sp>
      <p:sp>
        <p:nvSpPr>
          <p:cNvPr id="49" name="CustomShape 2"/>
          <p:cNvSpPr/>
          <p:nvPr/>
        </p:nvSpPr>
        <p:spPr>
          <a:xfrm>
            <a:off x="0" y="0"/>
            <a:ext cx="4772880" cy="6855840"/>
          </a:xfrm>
          <a:prstGeom prst="rect">
            <a:avLst/>
          </a:prstGeom>
          <a:solidFill>
            <a:srgbClr val="2F5597"/>
          </a:solidFill>
          <a:ln w="0">
            <a:noFill/>
          </a:ln>
        </p:spPr>
        <p:style>
          <a:lnRef idx="0">
            <a:scrgbClr r="0" g="0" b="0"/>
          </a:lnRef>
          <a:fillRef idx="0">
            <a:scrgbClr r="0" g="0" b="0"/>
          </a:fillRef>
          <a:effectRef idx="0">
            <a:scrgbClr r="0" g="0" b="0"/>
          </a:effectRef>
          <a:fontRef idx="minor"/>
        </p:style>
      </p:sp>
      <p:sp>
        <p:nvSpPr>
          <p:cNvPr id="50" name="CustomShape 3"/>
          <p:cNvSpPr/>
          <p:nvPr/>
        </p:nvSpPr>
        <p:spPr>
          <a:xfrm>
            <a:off x="0" y="4444920"/>
            <a:ext cx="4772880" cy="2410920"/>
          </a:xfrm>
          <a:prstGeom prst="rect">
            <a:avLst/>
          </a:prstGeom>
          <a:solidFill>
            <a:srgbClr val="7EA3C6"/>
          </a:solidFill>
          <a:ln w="0">
            <a:noFill/>
          </a:ln>
        </p:spPr>
        <p:style>
          <a:lnRef idx="0">
            <a:scrgbClr r="0" g="0" b="0"/>
          </a:lnRef>
          <a:fillRef idx="0">
            <a:scrgbClr r="0" g="0" b="0"/>
          </a:fillRef>
          <a:effectRef idx="0">
            <a:scrgbClr r="0" g="0" b="0"/>
          </a:effectRef>
          <a:fontRef idx="minor"/>
        </p:style>
      </p:sp>
      <p:pic>
        <p:nvPicPr>
          <p:cNvPr id="51" name="Google Shape;34;p40"/>
          <p:cNvPicPr/>
          <p:nvPr/>
        </p:nvPicPr>
        <p:blipFill>
          <a:blip r:embed="rId14"/>
          <a:srcRect l="30428" t="19877" r="29570" b="21664"/>
          <a:stretch/>
        </p:blipFill>
        <p:spPr>
          <a:xfrm>
            <a:off x="152280" y="5473800"/>
            <a:ext cx="1186200" cy="1247040"/>
          </a:xfrm>
          <a:prstGeom prst="rect">
            <a:avLst/>
          </a:prstGeom>
          <a:ln w="0">
            <a:noFill/>
          </a:ln>
        </p:spPr>
      </p:pic>
      <p:sp>
        <p:nvSpPr>
          <p:cNvPr id="52" name="CustomShape 4"/>
          <p:cNvSpPr/>
          <p:nvPr/>
        </p:nvSpPr>
        <p:spPr>
          <a:xfrm>
            <a:off x="4317840" y="365040"/>
            <a:ext cx="912240" cy="912240"/>
          </a:xfrm>
          <a:prstGeom prst="ellipse">
            <a:avLst/>
          </a:prstGeom>
          <a:solidFill>
            <a:srgbClr val="EEEEEE"/>
          </a:solidFill>
          <a:ln w="0">
            <a:noFill/>
          </a:ln>
        </p:spPr>
        <p:style>
          <a:lnRef idx="0">
            <a:scrgbClr r="0" g="0" b="0"/>
          </a:lnRef>
          <a:fillRef idx="0">
            <a:scrgbClr r="0" g="0" b="0"/>
          </a:fillRef>
          <a:effectRef idx="0">
            <a:scrgbClr r="0" g="0" b="0"/>
          </a:effectRef>
          <a:fontRef idx="minor"/>
        </p:style>
      </p:sp>
      <p:sp>
        <p:nvSpPr>
          <p:cNvPr id="53" name="CustomShape 5"/>
          <p:cNvSpPr/>
          <p:nvPr/>
        </p:nvSpPr>
        <p:spPr>
          <a:xfrm>
            <a:off x="4497840" y="545040"/>
            <a:ext cx="552240" cy="552240"/>
          </a:xfrm>
          <a:prstGeom prst="ellipse">
            <a:avLst/>
          </a:prstGeom>
          <a:solidFill>
            <a:srgbClr val="2F5597"/>
          </a:solidFill>
          <a:ln w="0">
            <a:noFill/>
          </a:ln>
        </p:spPr>
        <p:style>
          <a:lnRef idx="0">
            <a:scrgbClr r="0" g="0" b="0"/>
          </a:lnRef>
          <a:fillRef idx="0">
            <a:scrgbClr r="0" g="0" b="0"/>
          </a:fillRef>
          <a:effectRef idx="0">
            <a:scrgbClr r="0" g="0" b="0"/>
          </a:effectRef>
          <a:fontRef idx="minor"/>
        </p:style>
      </p:sp>
      <p:sp>
        <p:nvSpPr>
          <p:cNvPr id="54" name="CustomShape 6"/>
          <p:cNvSpPr/>
          <p:nvPr/>
        </p:nvSpPr>
        <p:spPr>
          <a:xfrm>
            <a:off x="11296440" y="6377040"/>
            <a:ext cx="519840" cy="25344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chor="ctr">
            <a:noAutofit/>
          </a:bodyPr>
          <a:lstStyle/>
          <a:p>
            <a:pPr>
              <a:lnSpc>
                <a:spcPct val="100000"/>
              </a:lnSpc>
              <a:tabLst>
                <a:tab pos="0" algn="l"/>
              </a:tabLst>
            </a:pPr>
            <a:fld id="{C8B0C4F3-C5B7-41ED-B701-6910ABDE011D}" type="slidenum">
              <a:rPr lang="el-GR" sz="1000" b="0" strike="noStrike" spc="-1">
                <a:solidFill>
                  <a:srgbClr val="A5A5A5"/>
                </a:solidFill>
                <a:latin typeface="Calibri"/>
                <a:ea typeface="Calibri"/>
              </a:rPr>
              <a:t>‹#›</a:t>
            </a:fld>
            <a:endParaRPr lang="en-US" sz="1000" b="0" strike="noStrike" spc="-1">
              <a:latin typeface="Arial"/>
            </a:endParaRPr>
          </a:p>
        </p:txBody>
      </p:sp>
      <p:sp>
        <p:nvSpPr>
          <p:cNvPr id="55" name="PlaceHolder 7"/>
          <p:cNvSpPr>
            <a:spLocks noGrp="1"/>
          </p:cNvSpPr>
          <p:nvPr>
            <p:ph type="title"/>
          </p:nvPr>
        </p:nvSpPr>
        <p:spPr>
          <a:xfrm>
            <a:off x="609480" y="273600"/>
            <a:ext cx="10972440" cy="1144800"/>
          </a:xfrm>
          <a:prstGeom prst="rect">
            <a:avLst/>
          </a:prstGeom>
        </p:spPr>
        <p:txBody>
          <a:bodyPr lIns="0" tIns="0" rIns="0" bIns="0" anchor="ctr">
            <a:noAutofit/>
          </a:bodyPr>
          <a:lstStyle/>
          <a:p>
            <a:pPr algn="ctr"/>
            <a:r>
              <a:rPr lang="en-US" sz="4400" b="0" strike="noStrike" spc="-1">
                <a:latin typeface="Arial"/>
              </a:rPr>
              <a:t>Πατήστε για επεξεργασία της μορφής κειμένου του τίτλου</a:t>
            </a:r>
          </a:p>
        </p:txBody>
      </p:sp>
      <p:sp>
        <p:nvSpPr>
          <p:cNvPr id="56" name="PlaceHolder 8"/>
          <p:cNvSpPr>
            <a:spLocks noGrp="1"/>
          </p:cNvSpPr>
          <p:nvPr>
            <p:ph type="body"/>
          </p:nvPr>
        </p:nvSpPr>
        <p:spPr>
          <a:xfrm>
            <a:off x="609480" y="1604520"/>
            <a:ext cx="10972440" cy="397728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3200" b="0" strike="noStrike" spc="-1">
                <a:latin typeface="Arial"/>
              </a:rPr>
              <a:t>Πατήστε για επεξεργασία της μορφής κειμένου διάρθρωσης</a:t>
            </a:r>
          </a:p>
          <a:p>
            <a:pPr marL="864000" lvl="1" indent="-324000">
              <a:spcBef>
                <a:spcPts val="1134"/>
              </a:spcBef>
              <a:buClr>
                <a:srgbClr val="000000"/>
              </a:buClr>
              <a:buSzPct val="75000"/>
              <a:buFont typeface="Symbol" charset="2"/>
              <a:buChar char=""/>
            </a:pPr>
            <a:r>
              <a:rPr lang="en-US" sz="2800" b="0" strike="noStrike" spc="-1">
                <a:latin typeface="Arial"/>
              </a:rPr>
              <a:t>Δεύτερο επίπεδο διάρθρωσης</a:t>
            </a:r>
          </a:p>
          <a:p>
            <a:pPr marL="1296000" lvl="2" indent="-288000">
              <a:spcBef>
                <a:spcPts val="850"/>
              </a:spcBef>
              <a:buClr>
                <a:srgbClr val="000000"/>
              </a:buClr>
              <a:buSzPct val="45000"/>
              <a:buFont typeface="Wingdings" charset="2"/>
              <a:buChar char=""/>
            </a:pPr>
            <a:r>
              <a:rPr lang="en-US" sz="2400" b="0" strike="noStrike" spc="-1">
                <a:latin typeface="Arial"/>
              </a:rPr>
              <a:t>Τρίτο επίπεδο διάρθρωσης</a:t>
            </a:r>
          </a:p>
          <a:p>
            <a:pPr marL="1728000" lvl="3" indent="-216000">
              <a:spcBef>
                <a:spcPts val="567"/>
              </a:spcBef>
              <a:buClr>
                <a:srgbClr val="000000"/>
              </a:buClr>
              <a:buSzPct val="75000"/>
              <a:buFont typeface="Symbol" charset="2"/>
              <a:buChar char=""/>
            </a:pPr>
            <a:r>
              <a:rPr lang="en-US" sz="2000" b="0" strike="noStrike" spc="-1">
                <a:latin typeface="Arial"/>
              </a:rPr>
              <a:t>Τέταρτο επίπεδο διάρθρωσης</a:t>
            </a:r>
          </a:p>
          <a:p>
            <a:pPr marL="2160000" lvl="4" indent="-216000">
              <a:spcBef>
                <a:spcPts val="283"/>
              </a:spcBef>
              <a:buClr>
                <a:srgbClr val="000000"/>
              </a:buClr>
              <a:buSzPct val="45000"/>
              <a:buFont typeface="Wingdings" charset="2"/>
              <a:buChar char=""/>
            </a:pPr>
            <a:r>
              <a:rPr lang="en-US" sz="2000" b="0" strike="noStrike" spc="-1">
                <a:latin typeface="Arial"/>
              </a:rPr>
              <a:t>Πέμπτο επίπεδο διάρθρωσης</a:t>
            </a:r>
          </a:p>
          <a:p>
            <a:pPr marL="2592000" lvl="5" indent="-216000">
              <a:spcBef>
                <a:spcPts val="283"/>
              </a:spcBef>
              <a:buClr>
                <a:srgbClr val="000000"/>
              </a:buClr>
              <a:buSzPct val="45000"/>
              <a:buFont typeface="Wingdings" charset="2"/>
              <a:buChar char=""/>
            </a:pPr>
            <a:r>
              <a:rPr lang="en-US" sz="2000" b="0" strike="noStrike" spc="-1">
                <a:latin typeface="Arial"/>
              </a:rPr>
              <a:t>Έκτο επίπεδο διάρθρωσης</a:t>
            </a:r>
          </a:p>
          <a:p>
            <a:pPr marL="3024000" lvl="6" indent="-216000">
              <a:spcBef>
                <a:spcPts val="283"/>
              </a:spcBef>
              <a:buClr>
                <a:srgbClr val="000000"/>
              </a:buClr>
              <a:buSzPct val="45000"/>
              <a:buFont typeface="Wingdings" charset="2"/>
              <a:buChar char=""/>
            </a:pPr>
            <a:r>
              <a:rPr lang="en-US" sz="2000" b="0" strike="noStrike" spc="-1">
                <a:latin typeface="Arial"/>
              </a:rPr>
              <a:t>Έβδομο επίπεδο διάρθρωσης</a:t>
            </a: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3" name="CustomShape 1"/>
          <p:cNvSpPr/>
          <p:nvPr/>
        </p:nvSpPr>
        <p:spPr>
          <a:xfrm>
            <a:off x="362880" y="225360"/>
            <a:ext cx="5471640" cy="89280"/>
          </a:xfrm>
          <a:prstGeom prst="rect">
            <a:avLst/>
          </a:prstGeom>
          <a:solidFill>
            <a:srgbClr val="7EA3C6"/>
          </a:solidFill>
          <a:ln w="0">
            <a:noFill/>
          </a:ln>
        </p:spPr>
        <p:style>
          <a:lnRef idx="0">
            <a:scrgbClr r="0" g="0" b="0"/>
          </a:lnRef>
          <a:fillRef idx="0">
            <a:scrgbClr r="0" g="0" b="0"/>
          </a:fillRef>
          <a:effectRef idx="0">
            <a:scrgbClr r="0" g="0" b="0"/>
          </a:effectRef>
          <a:fontRef idx="minor"/>
        </p:style>
      </p:sp>
      <p:pic>
        <p:nvPicPr>
          <p:cNvPr id="94" name="Google Shape;44;p41" descr="ΙΚΑΡΙΟΛΟΓΟΣ: Υπόμνημα του Δήμου Ικαρίας στο Υπουργείο Υγείας"/>
          <p:cNvPicPr/>
          <p:nvPr/>
        </p:nvPicPr>
        <p:blipFill>
          <a:blip r:embed="rId14"/>
          <a:stretch/>
        </p:blipFill>
        <p:spPr>
          <a:xfrm>
            <a:off x="173520" y="6271200"/>
            <a:ext cx="462960" cy="464760"/>
          </a:xfrm>
          <a:prstGeom prst="rect">
            <a:avLst/>
          </a:prstGeom>
          <a:ln w="0">
            <a:noFill/>
          </a:ln>
        </p:spPr>
      </p:pic>
      <p:sp>
        <p:nvSpPr>
          <p:cNvPr id="95" name="PlaceHolder 2"/>
          <p:cNvSpPr>
            <a:spLocks noGrp="1"/>
          </p:cNvSpPr>
          <p:nvPr>
            <p:ph type="title"/>
          </p:nvPr>
        </p:nvSpPr>
        <p:spPr>
          <a:xfrm>
            <a:off x="609480" y="273600"/>
            <a:ext cx="10972440" cy="1144800"/>
          </a:xfrm>
          <a:prstGeom prst="rect">
            <a:avLst/>
          </a:prstGeom>
        </p:spPr>
        <p:txBody>
          <a:bodyPr lIns="0" tIns="0" rIns="0" bIns="0" anchor="ctr">
            <a:noAutofit/>
          </a:bodyPr>
          <a:lstStyle/>
          <a:p>
            <a:pPr algn="ctr"/>
            <a:r>
              <a:rPr lang="en-US" sz="4400" b="0" strike="noStrike" spc="-1">
                <a:latin typeface="Arial"/>
              </a:rPr>
              <a:t>Πατήστε για επεξεργασία της μορφής κειμένου του τίτλου</a:t>
            </a:r>
          </a:p>
        </p:txBody>
      </p:sp>
      <p:sp>
        <p:nvSpPr>
          <p:cNvPr id="96" name="PlaceHolder 3"/>
          <p:cNvSpPr>
            <a:spLocks noGrp="1"/>
          </p:cNvSpPr>
          <p:nvPr>
            <p:ph type="body"/>
          </p:nvPr>
        </p:nvSpPr>
        <p:spPr>
          <a:xfrm>
            <a:off x="609480" y="1604520"/>
            <a:ext cx="10972440" cy="397728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3200" b="0" strike="noStrike" spc="-1">
                <a:latin typeface="Arial"/>
              </a:rPr>
              <a:t>Πατήστε για επεξεργασία της μορφής κειμένου διάρθρωσης</a:t>
            </a:r>
          </a:p>
          <a:p>
            <a:pPr marL="864000" lvl="1" indent="-324000">
              <a:spcBef>
                <a:spcPts val="1134"/>
              </a:spcBef>
              <a:buClr>
                <a:srgbClr val="000000"/>
              </a:buClr>
              <a:buSzPct val="75000"/>
              <a:buFont typeface="Symbol" charset="2"/>
              <a:buChar char=""/>
            </a:pPr>
            <a:r>
              <a:rPr lang="en-US" sz="2800" b="0" strike="noStrike" spc="-1">
                <a:latin typeface="Arial"/>
              </a:rPr>
              <a:t>Δεύτερο επίπεδο διάρθρωσης</a:t>
            </a:r>
          </a:p>
          <a:p>
            <a:pPr marL="1296000" lvl="2" indent="-288000">
              <a:spcBef>
                <a:spcPts val="850"/>
              </a:spcBef>
              <a:buClr>
                <a:srgbClr val="000000"/>
              </a:buClr>
              <a:buSzPct val="45000"/>
              <a:buFont typeface="Wingdings" charset="2"/>
              <a:buChar char=""/>
            </a:pPr>
            <a:r>
              <a:rPr lang="en-US" sz="2400" b="0" strike="noStrike" spc="-1">
                <a:latin typeface="Arial"/>
              </a:rPr>
              <a:t>Τρίτο επίπεδο διάρθρωσης</a:t>
            </a:r>
          </a:p>
          <a:p>
            <a:pPr marL="1728000" lvl="3" indent="-216000">
              <a:spcBef>
                <a:spcPts val="567"/>
              </a:spcBef>
              <a:buClr>
                <a:srgbClr val="000000"/>
              </a:buClr>
              <a:buSzPct val="75000"/>
              <a:buFont typeface="Symbol" charset="2"/>
              <a:buChar char=""/>
            </a:pPr>
            <a:r>
              <a:rPr lang="en-US" sz="2000" b="0" strike="noStrike" spc="-1">
                <a:latin typeface="Arial"/>
              </a:rPr>
              <a:t>Τέταρτο επίπεδο διάρθρωσης</a:t>
            </a:r>
          </a:p>
          <a:p>
            <a:pPr marL="2160000" lvl="4" indent="-216000">
              <a:spcBef>
                <a:spcPts val="283"/>
              </a:spcBef>
              <a:buClr>
                <a:srgbClr val="000000"/>
              </a:buClr>
              <a:buSzPct val="45000"/>
              <a:buFont typeface="Wingdings" charset="2"/>
              <a:buChar char=""/>
            </a:pPr>
            <a:r>
              <a:rPr lang="en-US" sz="2000" b="0" strike="noStrike" spc="-1">
                <a:latin typeface="Arial"/>
              </a:rPr>
              <a:t>Πέμπτο επίπεδο διάρθρωσης</a:t>
            </a:r>
          </a:p>
          <a:p>
            <a:pPr marL="2592000" lvl="5" indent="-216000">
              <a:spcBef>
                <a:spcPts val="283"/>
              </a:spcBef>
              <a:buClr>
                <a:srgbClr val="000000"/>
              </a:buClr>
              <a:buSzPct val="45000"/>
              <a:buFont typeface="Wingdings" charset="2"/>
              <a:buChar char=""/>
            </a:pPr>
            <a:r>
              <a:rPr lang="en-US" sz="2000" b="0" strike="noStrike" spc="-1">
                <a:latin typeface="Arial"/>
              </a:rPr>
              <a:t>Έκτο επίπεδο διάρθρωσης</a:t>
            </a:r>
          </a:p>
          <a:p>
            <a:pPr marL="3024000" lvl="6" indent="-216000">
              <a:spcBef>
                <a:spcPts val="283"/>
              </a:spcBef>
              <a:buClr>
                <a:srgbClr val="000000"/>
              </a:buClr>
              <a:buSzPct val="45000"/>
              <a:buFont typeface="Wingdings" charset="2"/>
              <a:buChar char=""/>
            </a:pPr>
            <a:r>
              <a:rPr lang="en-US" sz="2000" b="0" strike="noStrike" spc="-1">
                <a:latin typeface="Arial"/>
              </a:rPr>
              <a:t>Έβδομο επίπεδο διάρθρωσης</a:t>
            </a:r>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33" name="CustomShape 1"/>
          <p:cNvSpPr/>
          <p:nvPr/>
        </p:nvSpPr>
        <p:spPr>
          <a:xfrm>
            <a:off x="0" y="0"/>
            <a:ext cx="12189960" cy="6855840"/>
          </a:xfrm>
          <a:prstGeom prst="rect">
            <a:avLst/>
          </a:prstGeom>
          <a:solidFill>
            <a:srgbClr val="7EA3C6"/>
          </a:solidFill>
          <a:ln w="0">
            <a:noFill/>
          </a:ln>
        </p:spPr>
        <p:style>
          <a:lnRef idx="0">
            <a:scrgbClr r="0" g="0" b="0"/>
          </a:lnRef>
          <a:fillRef idx="0">
            <a:scrgbClr r="0" g="0" b="0"/>
          </a:fillRef>
          <a:effectRef idx="0">
            <a:scrgbClr r="0" g="0" b="0"/>
          </a:effectRef>
          <a:fontRef idx="minor"/>
        </p:style>
      </p:sp>
      <p:pic>
        <p:nvPicPr>
          <p:cNvPr id="134" name="Google Shape;49;p42"/>
          <p:cNvPicPr/>
          <p:nvPr/>
        </p:nvPicPr>
        <p:blipFill>
          <a:blip r:embed="rId14"/>
          <a:srcRect l="30428" t="19877" r="29570" b="21664"/>
          <a:stretch/>
        </p:blipFill>
        <p:spPr>
          <a:xfrm>
            <a:off x="10784880" y="105480"/>
            <a:ext cx="1234800" cy="1231200"/>
          </a:xfrm>
          <a:prstGeom prst="rect">
            <a:avLst/>
          </a:prstGeom>
          <a:ln w="0">
            <a:noFill/>
          </a:ln>
        </p:spPr>
      </p:pic>
      <p:sp>
        <p:nvSpPr>
          <p:cNvPr id="135" name="PlaceHolder 2"/>
          <p:cNvSpPr>
            <a:spLocks noGrp="1"/>
          </p:cNvSpPr>
          <p:nvPr>
            <p:ph type="title"/>
          </p:nvPr>
        </p:nvSpPr>
        <p:spPr>
          <a:xfrm>
            <a:off x="609480" y="273600"/>
            <a:ext cx="10972440" cy="1144800"/>
          </a:xfrm>
          <a:prstGeom prst="rect">
            <a:avLst/>
          </a:prstGeom>
        </p:spPr>
        <p:txBody>
          <a:bodyPr lIns="0" tIns="0" rIns="0" bIns="0" anchor="ctr">
            <a:noAutofit/>
          </a:bodyPr>
          <a:lstStyle/>
          <a:p>
            <a:pPr algn="ctr"/>
            <a:r>
              <a:rPr lang="en-US" sz="4400" b="0" strike="noStrike" spc="-1">
                <a:latin typeface="Arial"/>
              </a:rPr>
              <a:t>Πατήστε για επεξεργασία της μορφής κειμένου του τίτλου</a:t>
            </a:r>
          </a:p>
        </p:txBody>
      </p:sp>
      <p:sp>
        <p:nvSpPr>
          <p:cNvPr id="136" name="PlaceHolder 3"/>
          <p:cNvSpPr>
            <a:spLocks noGrp="1"/>
          </p:cNvSpPr>
          <p:nvPr>
            <p:ph type="body"/>
          </p:nvPr>
        </p:nvSpPr>
        <p:spPr>
          <a:xfrm>
            <a:off x="609480" y="1604520"/>
            <a:ext cx="10972440" cy="397728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3200" b="0" strike="noStrike" spc="-1">
                <a:latin typeface="Arial"/>
              </a:rPr>
              <a:t>Πατήστε για επεξεργασία της μορφής κειμένου διάρθρωσης</a:t>
            </a:r>
          </a:p>
          <a:p>
            <a:pPr marL="864000" lvl="1" indent="-324000">
              <a:spcBef>
                <a:spcPts val="1134"/>
              </a:spcBef>
              <a:buClr>
                <a:srgbClr val="000000"/>
              </a:buClr>
              <a:buSzPct val="75000"/>
              <a:buFont typeface="Symbol" charset="2"/>
              <a:buChar char=""/>
            </a:pPr>
            <a:r>
              <a:rPr lang="en-US" sz="2800" b="0" strike="noStrike" spc="-1">
                <a:latin typeface="Arial"/>
              </a:rPr>
              <a:t>Δεύτερο επίπεδο διάρθρωσης</a:t>
            </a:r>
          </a:p>
          <a:p>
            <a:pPr marL="1296000" lvl="2" indent="-288000">
              <a:spcBef>
                <a:spcPts val="850"/>
              </a:spcBef>
              <a:buClr>
                <a:srgbClr val="000000"/>
              </a:buClr>
              <a:buSzPct val="45000"/>
              <a:buFont typeface="Wingdings" charset="2"/>
              <a:buChar char=""/>
            </a:pPr>
            <a:r>
              <a:rPr lang="en-US" sz="2400" b="0" strike="noStrike" spc="-1">
                <a:latin typeface="Arial"/>
              </a:rPr>
              <a:t>Τρίτο επίπεδο διάρθρωσης</a:t>
            </a:r>
          </a:p>
          <a:p>
            <a:pPr marL="1728000" lvl="3" indent="-216000">
              <a:spcBef>
                <a:spcPts val="567"/>
              </a:spcBef>
              <a:buClr>
                <a:srgbClr val="000000"/>
              </a:buClr>
              <a:buSzPct val="75000"/>
              <a:buFont typeface="Symbol" charset="2"/>
              <a:buChar char=""/>
            </a:pPr>
            <a:r>
              <a:rPr lang="en-US" sz="2000" b="0" strike="noStrike" spc="-1">
                <a:latin typeface="Arial"/>
              </a:rPr>
              <a:t>Τέταρτο επίπεδο διάρθρωσης</a:t>
            </a:r>
          </a:p>
          <a:p>
            <a:pPr marL="2160000" lvl="4" indent="-216000">
              <a:spcBef>
                <a:spcPts val="283"/>
              </a:spcBef>
              <a:buClr>
                <a:srgbClr val="000000"/>
              </a:buClr>
              <a:buSzPct val="45000"/>
              <a:buFont typeface="Wingdings" charset="2"/>
              <a:buChar char=""/>
            </a:pPr>
            <a:r>
              <a:rPr lang="en-US" sz="2000" b="0" strike="noStrike" spc="-1">
                <a:latin typeface="Arial"/>
              </a:rPr>
              <a:t>Πέμπτο επίπεδο διάρθρωσης</a:t>
            </a:r>
          </a:p>
          <a:p>
            <a:pPr marL="2592000" lvl="5" indent="-216000">
              <a:spcBef>
                <a:spcPts val="283"/>
              </a:spcBef>
              <a:buClr>
                <a:srgbClr val="000000"/>
              </a:buClr>
              <a:buSzPct val="45000"/>
              <a:buFont typeface="Wingdings" charset="2"/>
              <a:buChar char=""/>
            </a:pPr>
            <a:r>
              <a:rPr lang="en-US" sz="2000" b="0" strike="noStrike" spc="-1">
                <a:latin typeface="Arial"/>
              </a:rPr>
              <a:t>Έκτο επίπεδο διάρθρωσης</a:t>
            </a:r>
          </a:p>
          <a:p>
            <a:pPr marL="3024000" lvl="6" indent="-216000">
              <a:spcBef>
                <a:spcPts val="283"/>
              </a:spcBef>
              <a:buClr>
                <a:srgbClr val="000000"/>
              </a:buClr>
              <a:buSzPct val="45000"/>
              <a:buFont typeface="Wingdings" charset="2"/>
              <a:buChar char=""/>
            </a:pPr>
            <a:r>
              <a:rPr lang="en-US" sz="2000" b="0" strike="noStrike" spc="-1">
                <a:latin typeface="Arial"/>
              </a:rPr>
              <a:t>Έβδομο επίπεδο διάρθρωσης</a:t>
            </a:r>
          </a:p>
        </p:txBody>
      </p:sp>
    </p:spTree>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73" name="CustomShape 1"/>
          <p:cNvSpPr/>
          <p:nvPr/>
        </p:nvSpPr>
        <p:spPr>
          <a:xfrm>
            <a:off x="362880" y="225360"/>
            <a:ext cx="5471640" cy="89280"/>
          </a:xfrm>
          <a:prstGeom prst="rect">
            <a:avLst/>
          </a:prstGeom>
          <a:solidFill>
            <a:srgbClr val="7EA3C6"/>
          </a:solidFill>
          <a:ln w="0">
            <a:noFill/>
          </a:ln>
        </p:spPr>
        <p:style>
          <a:lnRef idx="0">
            <a:scrgbClr r="0" g="0" b="0"/>
          </a:lnRef>
          <a:fillRef idx="0">
            <a:scrgbClr r="0" g="0" b="0"/>
          </a:fillRef>
          <a:effectRef idx="0">
            <a:scrgbClr r="0" g="0" b="0"/>
          </a:effectRef>
          <a:fontRef idx="minor"/>
        </p:style>
      </p:sp>
      <p:pic>
        <p:nvPicPr>
          <p:cNvPr id="174" name="Google Shape;44;p41" descr="ΙΚΑΡΙΟΛΟΓΟΣ: Υπόμνημα του Δήμου Ικαρίας στο Υπουργείο Υγείας"/>
          <p:cNvPicPr/>
          <p:nvPr/>
        </p:nvPicPr>
        <p:blipFill>
          <a:blip r:embed="rId14"/>
          <a:stretch/>
        </p:blipFill>
        <p:spPr>
          <a:xfrm>
            <a:off x="173520" y="6271200"/>
            <a:ext cx="462960" cy="464760"/>
          </a:xfrm>
          <a:prstGeom prst="rect">
            <a:avLst/>
          </a:prstGeom>
          <a:ln w="0">
            <a:noFill/>
          </a:ln>
        </p:spPr>
      </p:pic>
      <p:sp>
        <p:nvSpPr>
          <p:cNvPr id="175" name="PlaceHolder 2"/>
          <p:cNvSpPr>
            <a:spLocks noGrp="1"/>
          </p:cNvSpPr>
          <p:nvPr>
            <p:ph type="title"/>
          </p:nvPr>
        </p:nvSpPr>
        <p:spPr>
          <a:xfrm>
            <a:off x="609480" y="273600"/>
            <a:ext cx="10972440" cy="1144800"/>
          </a:xfrm>
          <a:prstGeom prst="rect">
            <a:avLst/>
          </a:prstGeom>
        </p:spPr>
        <p:txBody>
          <a:bodyPr lIns="0" tIns="0" rIns="0" bIns="0" anchor="ctr">
            <a:noAutofit/>
          </a:bodyPr>
          <a:lstStyle/>
          <a:p>
            <a:pPr algn="ctr"/>
            <a:r>
              <a:rPr lang="en-US" sz="4400" b="0" strike="noStrike" spc="-1">
                <a:latin typeface="Arial"/>
              </a:rPr>
              <a:t>Πατήστε για επεξεργασία της μορφής κειμένου του τίτλου</a:t>
            </a:r>
          </a:p>
        </p:txBody>
      </p:sp>
      <p:sp>
        <p:nvSpPr>
          <p:cNvPr id="176" name="PlaceHolder 3"/>
          <p:cNvSpPr>
            <a:spLocks noGrp="1"/>
          </p:cNvSpPr>
          <p:nvPr>
            <p:ph type="body"/>
          </p:nvPr>
        </p:nvSpPr>
        <p:spPr>
          <a:xfrm>
            <a:off x="609480" y="1604520"/>
            <a:ext cx="10972440" cy="397728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3200" b="0" strike="noStrike" spc="-1">
                <a:latin typeface="Arial"/>
              </a:rPr>
              <a:t>Πατήστε για επεξεργασία της μορφής κειμένου διάρθρωσης</a:t>
            </a:r>
          </a:p>
          <a:p>
            <a:pPr marL="864000" lvl="1" indent="-324000">
              <a:spcBef>
                <a:spcPts val="1134"/>
              </a:spcBef>
              <a:buClr>
                <a:srgbClr val="000000"/>
              </a:buClr>
              <a:buSzPct val="75000"/>
              <a:buFont typeface="Symbol" charset="2"/>
              <a:buChar char=""/>
            </a:pPr>
            <a:r>
              <a:rPr lang="en-US" sz="2800" b="0" strike="noStrike" spc="-1">
                <a:latin typeface="Arial"/>
              </a:rPr>
              <a:t>Δεύτερο επίπεδο διάρθρωσης</a:t>
            </a:r>
          </a:p>
          <a:p>
            <a:pPr marL="1296000" lvl="2" indent="-288000">
              <a:spcBef>
                <a:spcPts val="850"/>
              </a:spcBef>
              <a:buClr>
                <a:srgbClr val="000000"/>
              </a:buClr>
              <a:buSzPct val="45000"/>
              <a:buFont typeface="Wingdings" charset="2"/>
              <a:buChar char=""/>
            </a:pPr>
            <a:r>
              <a:rPr lang="en-US" sz="2400" b="0" strike="noStrike" spc="-1">
                <a:latin typeface="Arial"/>
              </a:rPr>
              <a:t>Τρίτο επίπεδο διάρθρωσης</a:t>
            </a:r>
          </a:p>
          <a:p>
            <a:pPr marL="1728000" lvl="3" indent="-216000">
              <a:spcBef>
                <a:spcPts val="567"/>
              </a:spcBef>
              <a:buClr>
                <a:srgbClr val="000000"/>
              </a:buClr>
              <a:buSzPct val="75000"/>
              <a:buFont typeface="Symbol" charset="2"/>
              <a:buChar char=""/>
            </a:pPr>
            <a:r>
              <a:rPr lang="en-US" sz="2000" b="0" strike="noStrike" spc="-1">
                <a:latin typeface="Arial"/>
              </a:rPr>
              <a:t>Τέταρτο επίπεδο διάρθρωσης</a:t>
            </a:r>
          </a:p>
          <a:p>
            <a:pPr marL="2160000" lvl="4" indent="-216000">
              <a:spcBef>
                <a:spcPts val="283"/>
              </a:spcBef>
              <a:buClr>
                <a:srgbClr val="000000"/>
              </a:buClr>
              <a:buSzPct val="45000"/>
              <a:buFont typeface="Wingdings" charset="2"/>
              <a:buChar char=""/>
            </a:pPr>
            <a:r>
              <a:rPr lang="en-US" sz="2000" b="0" strike="noStrike" spc="-1">
                <a:latin typeface="Arial"/>
              </a:rPr>
              <a:t>Πέμπτο επίπεδο διάρθρωσης</a:t>
            </a:r>
          </a:p>
          <a:p>
            <a:pPr marL="2592000" lvl="5" indent="-216000">
              <a:spcBef>
                <a:spcPts val="283"/>
              </a:spcBef>
              <a:buClr>
                <a:srgbClr val="000000"/>
              </a:buClr>
              <a:buSzPct val="45000"/>
              <a:buFont typeface="Wingdings" charset="2"/>
              <a:buChar char=""/>
            </a:pPr>
            <a:r>
              <a:rPr lang="en-US" sz="2000" b="0" strike="noStrike" spc="-1">
                <a:latin typeface="Arial"/>
              </a:rPr>
              <a:t>Έκτο επίπεδο διάρθρωσης</a:t>
            </a:r>
          </a:p>
          <a:p>
            <a:pPr marL="3024000" lvl="6" indent="-216000">
              <a:spcBef>
                <a:spcPts val="283"/>
              </a:spcBef>
              <a:buClr>
                <a:srgbClr val="000000"/>
              </a:buClr>
              <a:buSzPct val="45000"/>
              <a:buFont typeface="Wingdings" charset="2"/>
              <a:buChar char=""/>
            </a:pPr>
            <a:r>
              <a:rPr lang="en-US" sz="2000" b="0" strike="noStrike" spc="-1">
                <a:latin typeface="Arial"/>
              </a:rPr>
              <a:t>Έβδομο επίπεδο διάρθρωσης</a:t>
            </a: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DD92EA6-D3E9-440C-A38F-3EB9A29377FB}"/>
              </a:ext>
            </a:extLst>
          </p:cNvPr>
          <p:cNvGraphicFramePr>
            <a:graphicFrameLocks noChangeAspect="1"/>
          </p:cNvGraphicFramePr>
          <p:nvPr userDrawn="1">
            <p:custDataLst>
              <p:tags r:id="rId18"/>
            </p:custDataLst>
            <p:extLst>
              <p:ext uri="{D42A27DB-BD31-4B8C-83A1-F6EECF244321}">
                <p14:modId xmlns:p14="http://schemas.microsoft.com/office/powerpoint/2010/main" val="3039599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19" imgW="395" imgH="394" progId="TCLayout.ActiveDocument.1">
                  <p:embed/>
                </p:oleObj>
              </mc:Choice>
              <mc:Fallback>
                <p:oleObj name="think-cell Slide" r:id="rId19" imgW="395" imgH="394" progId="TCLayout.ActiveDocument.1">
                  <p:embed/>
                  <p:pic>
                    <p:nvPicPr>
                      <p:cNvPr id="3" name="Object 2" hidden="1">
                        <a:extLst>
                          <a:ext uri="{FF2B5EF4-FFF2-40B4-BE49-F238E27FC236}">
                            <a16:creationId xmlns:a16="http://schemas.microsoft.com/office/drawing/2014/main" id="{0DD92EA6-D3E9-440C-A38F-3EB9A29377F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B987535-3745-3782-91F0-46599F021E6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l-GR" dirty="0"/>
          </a:p>
        </p:txBody>
      </p:sp>
      <p:sp>
        <p:nvSpPr>
          <p:cNvPr id="4" name="Text Placeholder 3">
            <a:extLst>
              <a:ext uri="{FF2B5EF4-FFF2-40B4-BE49-F238E27FC236}">
                <a16:creationId xmlns:a16="http://schemas.microsoft.com/office/drawing/2014/main" id="{42124464-D9A0-68E0-98EC-101FB5F4FB4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l-GR" dirty="0"/>
          </a:p>
        </p:txBody>
      </p:sp>
      <p:sp>
        <p:nvSpPr>
          <p:cNvPr id="5" name="Date Placeholder 4">
            <a:extLst>
              <a:ext uri="{FF2B5EF4-FFF2-40B4-BE49-F238E27FC236}">
                <a16:creationId xmlns:a16="http://schemas.microsoft.com/office/drawing/2014/main" id="{2B2DE54C-9E8C-99FA-4172-3AEF06C6405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l-GR"/>
          </a:p>
        </p:txBody>
      </p:sp>
      <p:sp>
        <p:nvSpPr>
          <p:cNvPr id="6" name="Footer Placeholder 5">
            <a:extLst>
              <a:ext uri="{FF2B5EF4-FFF2-40B4-BE49-F238E27FC236}">
                <a16:creationId xmlns:a16="http://schemas.microsoft.com/office/drawing/2014/main" id="{44D43CDA-EFC2-98ED-6DA0-3967445F5E7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Add footer here</a:t>
            </a:r>
            <a:endParaRPr lang="el-GR" dirty="0"/>
          </a:p>
        </p:txBody>
      </p:sp>
      <p:sp>
        <p:nvSpPr>
          <p:cNvPr id="7" name="Slide Number Placeholder 6">
            <a:extLst>
              <a:ext uri="{FF2B5EF4-FFF2-40B4-BE49-F238E27FC236}">
                <a16:creationId xmlns:a16="http://schemas.microsoft.com/office/drawing/2014/main" id="{61E5B483-BE27-F2F0-3BD1-C029EB16B39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B52A10E-8722-4085-8FF3-84A394E012A7}" type="slidenum">
              <a:rPr lang="el-GR" smtClean="0"/>
              <a:t>‹#›</a:t>
            </a:fld>
            <a:endParaRPr lang="el-GR"/>
          </a:p>
        </p:txBody>
      </p:sp>
    </p:spTree>
    <p:extLst>
      <p:ext uri="{BB962C8B-B14F-4D97-AF65-F5344CB8AC3E}">
        <p14:creationId xmlns:p14="http://schemas.microsoft.com/office/powerpoint/2010/main" val="1645458279"/>
      </p:ext>
    </p:extLst>
  </p:cSld>
  <p:clrMap bg1="lt1" tx1="dk1" bg2="dk2" tx2="lt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Lst>
  <p:hf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tags" Target="../tags/tag43.xml"/><Relationship Id="rId39" Type="http://schemas.openxmlformats.org/officeDocument/2006/relationships/tags" Target="../tags/tag56.xml"/><Relationship Id="rId21" Type="http://schemas.openxmlformats.org/officeDocument/2006/relationships/tags" Target="../tags/tag38.xml"/><Relationship Id="rId34" Type="http://schemas.openxmlformats.org/officeDocument/2006/relationships/tags" Target="../tags/tag51.xml"/><Relationship Id="rId42" Type="http://schemas.openxmlformats.org/officeDocument/2006/relationships/tags" Target="../tags/tag59.xml"/><Relationship Id="rId47" Type="http://schemas.openxmlformats.org/officeDocument/2006/relationships/tags" Target="../tags/tag64.xml"/><Relationship Id="rId50" Type="http://schemas.openxmlformats.org/officeDocument/2006/relationships/tags" Target="../tags/tag67.xml"/><Relationship Id="rId55" Type="http://schemas.openxmlformats.org/officeDocument/2006/relationships/image" Target="../media/image12.emf"/><Relationship Id="rId7" Type="http://schemas.openxmlformats.org/officeDocument/2006/relationships/tags" Target="../tags/tag24.xml"/><Relationship Id="rId2" Type="http://schemas.openxmlformats.org/officeDocument/2006/relationships/tags" Target="../tags/tag19.xml"/><Relationship Id="rId16" Type="http://schemas.openxmlformats.org/officeDocument/2006/relationships/tags" Target="../tags/tag33.xml"/><Relationship Id="rId29" Type="http://schemas.openxmlformats.org/officeDocument/2006/relationships/tags" Target="../tags/tag46.xml"/><Relationship Id="rId11" Type="http://schemas.openxmlformats.org/officeDocument/2006/relationships/tags" Target="../tags/tag28.xml"/><Relationship Id="rId24" Type="http://schemas.openxmlformats.org/officeDocument/2006/relationships/tags" Target="../tags/tag41.xml"/><Relationship Id="rId32" Type="http://schemas.openxmlformats.org/officeDocument/2006/relationships/tags" Target="../tags/tag49.xml"/><Relationship Id="rId37" Type="http://schemas.openxmlformats.org/officeDocument/2006/relationships/tags" Target="../tags/tag54.xml"/><Relationship Id="rId40" Type="http://schemas.openxmlformats.org/officeDocument/2006/relationships/tags" Target="../tags/tag57.xml"/><Relationship Id="rId45" Type="http://schemas.openxmlformats.org/officeDocument/2006/relationships/tags" Target="../tags/tag62.xml"/><Relationship Id="rId53" Type="http://schemas.openxmlformats.org/officeDocument/2006/relationships/slideLayout" Target="../slideLayouts/slideLayout68.xml"/><Relationship Id="rId5" Type="http://schemas.openxmlformats.org/officeDocument/2006/relationships/tags" Target="../tags/tag22.xml"/><Relationship Id="rId10" Type="http://schemas.openxmlformats.org/officeDocument/2006/relationships/tags" Target="../tags/tag27.xml"/><Relationship Id="rId19" Type="http://schemas.openxmlformats.org/officeDocument/2006/relationships/tags" Target="../tags/tag36.xml"/><Relationship Id="rId31" Type="http://schemas.openxmlformats.org/officeDocument/2006/relationships/tags" Target="../tags/tag48.xml"/><Relationship Id="rId44" Type="http://schemas.openxmlformats.org/officeDocument/2006/relationships/tags" Target="../tags/tag61.xml"/><Relationship Id="rId52" Type="http://schemas.openxmlformats.org/officeDocument/2006/relationships/tags" Target="../tags/tag69.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tags" Target="../tags/tag44.xml"/><Relationship Id="rId30" Type="http://schemas.openxmlformats.org/officeDocument/2006/relationships/tags" Target="../tags/tag47.xml"/><Relationship Id="rId35" Type="http://schemas.openxmlformats.org/officeDocument/2006/relationships/tags" Target="../tags/tag52.xml"/><Relationship Id="rId43" Type="http://schemas.openxmlformats.org/officeDocument/2006/relationships/tags" Target="../tags/tag60.xml"/><Relationship Id="rId48" Type="http://schemas.openxmlformats.org/officeDocument/2006/relationships/tags" Target="../tags/tag65.xml"/><Relationship Id="rId56" Type="http://schemas.openxmlformats.org/officeDocument/2006/relationships/chart" Target="../charts/chart3.xml"/><Relationship Id="rId8" Type="http://schemas.openxmlformats.org/officeDocument/2006/relationships/tags" Target="../tags/tag25.xml"/><Relationship Id="rId51" Type="http://schemas.openxmlformats.org/officeDocument/2006/relationships/tags" Target="../tags/tag68.xml"/><Relationship Id="rId3" Type="http://schemas.openxmlformats.org/officeDocument/2006/relationships/tags" Target="../tags/tag20.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tags" Target="../tags/tag42.xml"/><Relationship Id="rId33" Type="http://schemas.openxmlformats.org/officeDocument/2006/relationships/tags" Target="../tags/tag50.xml"/><Relationship Id="rId38" Type="http://schemas.openxmlformats.org/officeDocument/2006/relationships/tags" Target="../tags/tag55.xml"/><Relationship Id="rId46" Type="http://schemas.openxmlformats.org/officeDocument/2006/relationships/tags" Target="../tags/tag63.xml"/><Relationship Id="rId20" Type="http://schemas.openxmlformats.org/officeDocument/2006/relationships/tags" Target="../tags/tag37.xml"/><Relationship Id="rId41" Type="http://schemas.openxmlformats.org/officeDocument/2006/relationships/tags" Target="../tags/tag58.xml"/><Relationship Id="rId54" Type="http://schemas.openxmlformats.org/officeDocument/2006/relationships/oleObject" Target="../embeddings/oleObject19.bin"/><Relationship Id="rId1" Type="http://schemas.openxmlformats.org/officeDocument/2006/relationships/vmlDrawing" Target="../drawings/vmlDrawing19.vml"/><Relationship Id="rId6" Type="http://schemas.openxmlformats.org/officeDocument/2006/relationships/tags" Target="../tags/tag23.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tags" Target="../tags/tag45.xml"/><Relationship Id="rId36" Type="http://schemas.openxmlformats.org/officeDocument/2006/relationships/tags" Target="../tags/tag53.xml"/><Relationship Id="rId49" Type="http://schemas.openxmlformats.org/officeDocument/2006/relationships/tags" Target="../tags/tag6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7.png"/><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8" Type="http://schemas.microsoft.com/office/2014/relationships/chartEx" Target="../charts/chartEx2.xml"/><Relationship Id="rId3" Type="http://schemas.openxmlformats.org/officeDocument/2006/relationships/slideLayout" Target="../slideLayouts/slideLayout6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17.vml"/><Relationship Id="rId6" Type="http://schemas.microsoft.com/office/2014/relationships/chartEx" Target="../charts/chartEx1.xml"/><Relationship Id="rId5" Type="http://schemas.openxmlformats.org/officeDocument/2006/relationships/image" Target="../media/image6.emf"/><Relationship Id="rId4" Type="http://schemas.openxmlformats.org/officeDocument/2006/relationships/oleObject" Target="../embeddings/oleObject17.bin"/><Relationship Id="rId9"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microsoft.com/office/2014/relationships/chartEx" Target="../charts/chartEx4.xml"/><Relationship Id="rId3" Type="http://schemas.openxmlformats.org/officeDocument/2006/relationships/slideLayout" Target="../slideLayouts/slideLayout68.xml"/><Relationship Id="rId7" Type="http://schemas.openxmlformats.org/officeDocument/2006/relationships/image" Target="../media/image8.png"/><Relationship Id="rId2" Type="http://schemas.openxmlformats.org/officeDocument/2006/relationships/tags" Target="../tags/tag18.xml"/><Relationship Id="rId1" Type="http://schemas.openxmlformats.org/officeDocument/2006/relationships/vmlDrawing" Target="../drawings/vmlDrawing18.vml"/><Relationship Id="rId6" Type="http://schemas.microsoft.com/office/2014/relationships/chartEx" Target="../charts/chartEx3.xml"/><Relationship Id="rId5" Type="http://schemas.openxmlformats.org/officeDocument/2006/relationships/image" Target="../media/image6.emf"/><Relationship Id="rId4" Type="http://schemas.openxmlformats.org/officeDocument/2006/relationships/oleObject" Target="../embeddings/oleObject18.bin"/><Relationship Id="rId9" Type="http://schemas.openxmlformats.org/officeDocument/2006/relationships/image" Target="../media/image1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 name="CustomShape 1"/>
          <p:cNvSpPr/>
          <p:nvPr/>
        </p:nvSpPr>
        <p:spPr>
          <a:xfrm>
            <a:off x="107280" y="2348640"/>
            <a:ext cx="7427520" cy="186552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oAutofit/>
          </a:bodyPr>
          <a:lstStyle/>
          <a:p>
            <a:pPr>
              <a:lnSpc>
                <a:spcPct val="100000"/>
              </a:lnSpc>
              <a:tabLst>
                <a:tab pos="0" algn="l"/>
              </a:tabLst>
            </a:pPr>
            <a:r>
              <a:rPr lang="el-GR" sz="3600" b="1" strike="noStrike" spc="-1" dirty="0">
                <a:solidFill>
                  <a:srgbClr val="F2F2F2"/>
                </a:solidFill>
                <a:latin typeface="Calibri"/>
                <a:ea typeface="Calibri"/>
              </a:rPr>
              <a:t>Αναβάθμιση ΠΦΥ</a:t>
            </a:r>
            <a:r>
              <a:rPr dirty="0"/>
              <a:t/>
            </a:r>
            <a:br>
              <a:rPr dirty="0"/>
            </a:br>
            <a:r>
              <a:rPr lang="el-GR" sz="3600" b="1" strike="noStrike" spc="-1">
                <a:solidFill>
                  <a:srgbClr val="F2F2F2"/>
                </a:solidFill>
                <a:latin typeface="Calibri"/>
                <a:ea typeface="Calibri"/>
              </a:rPr>
              <a:t>Β’ φάση Μεταρρύθμισης Προσωπικού Ιατρού </a:t>
            </a:r>
            <a:r>
              <a:rPr dirty="0"/>
              <a:t/>
            </a:r>
            <a:br>
              <a:rPr dirty="0"/>
            </a:br>
            <a:r>
              <a:rPr lang="el-GR" sz="2800" b="0" strike="noStrike" spc="-1" dirty="0">
                <a:solidFill>
                  <a:srgbClr val="F2F2F2"/>
                </a:solidFill>
                <a:latin typeface="Calibri"/>
                <a:ea typeface="Calibri"/>
              </a:rPr>
              <a:t>Παρουσίαση </a:t>
            </a:r>
            <a:endParaRPr lang="en-US" sz="2800" b="0" strike="noStrike" spc="-1" dirty="0">
              <a:latin typeface="Arial"/>
            </a:endParaRPr>
          </a:p>
        </p:txBody>
      </p:sp>
      <p:sp>
        <p:nvSpPr>
          <p:cNvPr id="214" name="CustomShape 2"/>
          <p:cNvSpPr/>
          <p:nvPr/>
        </p:nvSpPr>
        <p:spPr>
          <a:xfrm>
            <a:off x="11296440" y="6377040"/>
            <a:ext cx="519840" cy="25344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chor="ctr">
            <a:noAutofit/>
          </a:bodyPr>
          <a:lstStyle/>
          <a:p>
            <a:pPr>
              <a:lnSpc>
                <a:spcPct val="100000"/>
              </a:lnSpc>
              <a:tabLst>
                <a:tab pos="0" algn="l"/>
              </a:tabLst>
            </a:pPr>
            <a:fld id="{8CB9CB97-6D87-4F13-9D4E-BD5433C298A3}" type="slidenum">
              <a:rPr lang="el-GR" sz="1000" b="0" strike="noStrike" spc="-1">
                <a:solidFill>
                  <a:srgbClr val="A5A5A5"/>
                </a:solidFill>
                <a:latin typeface="Calibri"/>
                <a:ea typeface="Calibri"/>
              </a:rPr>
              <a:t>1</a:t>
            </a:fld>
            <a:endParaRPr lang="en-US" sz="1000" b="0" strike="noStrike" spc="-1">
              <a:latin typeface="Arial"/>
            </a:endParaRPr>
          </a:p>
        </p:txBody>
      </p:sp>
      <p:sp>
        <p:nvSpPr>
          <p:cNvPr id="215" name="CustomShape 3"/>
          <p:cNvSpPr/>
          <p:nvPr/>
        </p:nvSpPr>
        <p:spPr>
          <a:xfrm>
            <a:off x="107280" y="4549608"/>
            <a:ext cx="6253200" cy="91224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ormAutofit/>
          </a:bodyPr>
          <a:lstStyle/>
          <a:p>
            <a:pPr>
              <a:lnSpc>
                <a:spcPct val="100000"/>
              </a:lnSpc>
              <a:tabLst>
                <a:tab pos="0" algn="l"/>
              </a:tabLst>
            </a:pPr>
            <a:r>
              <a:rPr lang="el-GR" sz="3600" b="0" strike="noStrike" spc="-1">
                <a:solidFill>
                  <a:srgbClr val="FFFFFF"/>
                </a:solidFill>
                <a:latin typeface="Arial"/>
                <a:ea typeface="Arial"/>
              </a:rPr>
              <a:t>06/03/2024</a:t>
            </a:r>
            <a:endParaRPr lang="en-US" sz="3600" b="0" strike="noStrike" spc="-1">
              <a:latin typeface="Arial"/>
            </a:endParaRPr>
          </a:p>
        </p:txBody>
      </p:sp>
      <p:sp>
        <p:nvSpPr>
          <p:cNvPr id="216" name="CustomShape 4"/>
          <p:cNvSpPr/>
          <p:nvPr/>
        </p:nvSpPr>
        <p:spPr>
          <a:xfrm>
            <a:off x="2456784" y="1095912"/>
            <a:ext cx="4655520" cy="461160"/>
          </a:xfrm>
          <a:prstGeom prst="rect">
            <a:avLst/>
          </a:prstGeom>
          <a:noFill/>
          <a:ln w="0">
            <a:noFill/>
          </a:ln>
        </p:spPr>
        <p:style>
          <a:lnRef idx="0">
            <a:scrgbClr r="0" g="0" b="0"/>
          </a:lnRef>
          <a:fillRef idx="0">
            <a:scrgbClr r="0" g="0" b="0"/>
          </a:fillRef>
          <a:effectRef idx="0">
            <a:scrgbClr r="0" g="0" b="0"/>
          </a:effectRef>
          <a:fontRef idx="minor"/>
        </p:style>
        <p:txBody>
          <a:bodyPr lIns="111600" tIns="45000" rIns="90000" bIns="45000">
            <a:noAutofit/>
          </a:bodyPr>
          <a:lstStyle/>
          <a:p>
            <a:pPr>
              <a:lnSpc>
                <a:spcPct val="100000"/>
              </a:lnSpc>
              <a:tabLst>
                <a:tab pos="0" algn="l"/>
              </a:tabLst>
            </a:pPr>
            <a:r>
              <a:rPr lang="el-GR" sz="2400" b="0" strike="noStrike" spc="-1" dirty="0" smtClean="0">
                <a:solidFill>
                  <a:srgbClr val="FFFFFF"/>
                </a:solidFill>
                <a:latin typeface="Arial"/>
                <a:ea typeface="Arial"/>
              </a:rPr>
              <a:t>ΥΠΟΥΡΓΕΙΟ ΥΓΕΙΑΣ</a:t>
            </a:r>
            <a:endParaRPr lang="en-US" sz="2400" b="0" strike="noStrike" spc="-1" dirty="0">
              <a:latin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 name="CustomShape 1"/>
          <p:cNvSpPr/>
          <p:nvPr/>
        </p:nvSpPr>
        <p:spPr>
          <a:xfrm>
            <a:off x="327600" y="399600"/>
            <a:ext cx="11732760" cy="833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oAutofit/>
          </a:bodyPr>
          <a:lstStyle/>
          <a:p>
            <a:pPr>
              <a:lnSpc>
                <a:spcPct val="90000"/>
              </a:lnSpc>
              <a:tabLst>
                <a:tab pos="0" algn="l"/>
              </a:tabLst>
            </a:pPr>
            <a:r>
              <a:rPr lang="el-GR" sz="2600" b="1" strike="noStrike" spc="-1">
                <a:solidFill>
                  <a:srgbClr val="31506D"/>
                </a:solidFill>
                <a:latin typeface="Calibri"/>
                <a:ea typeface="Calibri"/>
              </a:rPr>
              <a:t>Ορίζουμε δείκτες απόδοσης για τους Προσωπικούς Ιατρούς στο πεδίο πρόληψης και προαγωγής της υγείας</a:t>
            </a:r>
            <a:endParaRPr lang="en-US" sz="2600" b="0" strike="noStrike" spc="-1">
              <a:latin typeface="Arial"/>
            </a:endParaRPr>
          </a:p>
        </p:txBody>
      </p:sp>
      <p:sp>
        <p:nvSpPr>
          <p:cNvPr id="271" name="CustomShape 2"/>
          <p:cNvSpPr/>
          <p:nvPr/>
        </p:nvSpPr>
        <p:spPr>
          <a:xfrm>
            <a:off x="11296440" y="6377040"/>
            <a:ext cx="519840" cy="25344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chor="ctr">
            <a:noAutofit/>
          </a:bodyPr>
          <a:lstStyle/>
          <a:p>
            <a:pPr>
              <a:lnSpc>
                <a:spcPct val="100000"/>
              </a:lnSpc>
              <a:tabLst>
                <a:tab pos="0" algn="l"/>
              </a:tabLst>
            </a:pPr>
            <a:fld id="{DC96D7DD-16DA-4C56-AB33-23CB5A904EEB}" type="slidenum">
              <a:rPr lang="el-GR" sz="1000" b="0" strike="noStrike" spc="-1">
                <a:solidFill>
                  <a:srgbClr val="000000"/>
                </a:solidFill>
                <a:latin typeface="Calibri"/>
                <a:ea typeface="Calibri"/>
              </a:rPr>
              <a:t>10</a:t>
            </a:fld>
            <a:endParaRPr lang="en-US" sz="1000" b="0" strike="noStrike" spc="-1">
              <a:latin typeface="Arial"/>
            </a:endParaRPr>
          </a:p>
        </p:txBody>
      </p:sp>
      <p:sp>
        <p:nvSpPr>
          <p:cNvPr id="272" name="CustomShape 3"/>
          <p:cNvSpPr/>
          <p:nvPr/>
        </p:nvSpPr>
        <p:spPr>
          <a:xfrm>
            <a:off x="326160" y="1251720"/>
            <a:ext cx="11341440" cy="365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chor="ctr">
            <a:noAutofit/>
          </a:bodyPr>
          <a:lstStyle/>
          <a:p>
            <a:pPr>
              <a:lnSpc>
                <a:spcPct val="100000"/>
              </a:lnSpc>
              <a:tabLst>
                <a:tab pos="0" algn="l"/>
              </a:tabLst>
            </a:pPr>
            <a:r>
              <a:rPr lang="el-GR" sz="1800" b="1" strike="noStrike" spc="-1">
                <a:solidFill>
                  <a:srgbClr val="363636"/>
                </a:solidFill>
                <a:latin typeface="Calibri"/>
                <a:ea typeface="Calibri"/>
              </a:rPr>
              <a:t>Ενδεικτικοί δείκτες για τους Προσωπικούς Ιατρούς</a:t>
            </a:r>
            <a:endParaRPr lang="en-US" sz="1800" b="0" strike="noStrike" spc="-1">
              <a:latin typeface="Arial"/>
            </a:endParaRPr>
          </a:p>
        </p:txBody>
      </p:sp>
      <p:graphicFrame>
        <p:nvGraphicFramePr>
          <p:cNvPr id="273" name="Table 4"/>
          <p:cNvGraphicFramePr/>
          <p:nvPr/>
        </p:nvGraphicFramePr>
        <p:xfrm>
          <a:off x="406080" y="1618920"/>
          <a:ext cx="11520000" cy="4785360"/>
        </p:xfrm>
        <a:graphic>
          <a:graphicData uri="http://schemas.openxmlformats.org/drawingml/2006/table">
            <a:tbl>
              <a:tblPr/>
              <a:tblGrid>
                <a:gridCol w="11520000">
                  <a:extLst>
                    <a:ext uri="{9D8B030D-6E8A-4147-A177-3AD203B41FA5}">
                      <a16:colId xmlns:a16="http://schemas.microsoft.com/office/drawing/2014/main" val="20000"/>
                    </a:ext>
                  </a:extLst>
                </a:gridCol>
              </a:tblGrid>
              <a:tr h="317520">
                <a:tc>
                  <a:txBody>
                    <a:bodyPr/>
                    <a:lstStyle/>
                    <a:p>
                      <a:pPr>
                        <a:lnSpc>
                          <a:spcPct val="100000"/>
                        </a:lnSpc>
                        <a:tabLst>
                          <a:tab pos="0" algn="l"/>
                        </a:tabLst>
                      </a:pPr>
                      <a:r>
                        <a:rPr lang="el-GR" sz="1600" b="1" strike="noStrike" spc="-1">
                          <a:solidFill>
                            <a:srgbClr val="000000"/>
                          </a:solidFill>
                          <a:latin typeface="Arial"/>
                          <a:ea typeface="Arial"/>
                        </a:rPr>
                        <a:t>Πρόληψη και προαγωγή υγείας </a:t>
                      </a:r>
                      <a:endParaRPr lang="en-US" sz="1600" b="0" strike="noStrike" spc="-1">
                        <a:latin typeface="Arial"/>
                      </a:endParaRPr>
                    </a:p>
                  </a:txBody>
                  <a:tcPr>
                    <a:lnL w="12240">
                      <a:solidFill>
                        <a:srgbClr val="D8D8D8"/>
                      </a:solidFill>
                    </a:lnL>
                    <a:lnR w="12240">
                      <a:solidFill>
                        <a:srgbClr val="D8D8D8"/>
                      </a:solidFill>
                    </a:lnR>
                    <a:lnT w="12240">
                      <a:solidFill>
                        <a:srgbClr val="D8D8D8"/>
                      </a:solidFill>
                    </a:lnT>
                    <a:lnB w="12240">
                      <a:solidFill>
                        <a:srgbClr val="D8D8D8"/>
                      </a:solidFill>
                    </a:lnB>
                    <a:solidFill>
                      <a:srgbClr val="ACCBF9"/>
                    </a:solidFill>
                  </a:tcPr>
                </a:tc>
                <a:extLst>
                  <a:ext uri="{0D108BD9-81ED-4DB2-BD59-A6C34878D82A}">
                    <a16:rowId xmlns:a16="http://schemas.microsoft.com/office/drawing/2014/main" val="10000"/>
                  </a:ext>
                </a:extLst>
              </a:tr>
              <a:tr h="3589920">
                <a:tc>
                  <a:txBody>
                    <a:bodyPr/>
                    <a:lstStyle/>
                    <a:p>
                      <a:pPr marL="285840" indent="-283680">
                        <a:lnSpc>
                          <a:spcPct val="100000"/>
                        </a:lnSpc>
                        <a:buClr>
                          <a:srgbClr val="000000"/>
                        </a:buClr>
                        <a:buFont typeface="Arial"/>
                        <a:buChar char="•"/>
                      </a:pPr>
                      <a:r>
                        <a:rPr lang="el-GR" sz="1600" b="0" strike="noStrike" spc="-1">
                          <a:solidFill>
                            <a:srgbClr val="000000"/>
                          </a:solidFill>
                          <a:latin typeface="Calibri"/>
                          <a:ea typeface="Calibri"/>
                        </a:rPr>
                        <a:t>Αξιολόγηση καπνιστικής συνήθειας σε γυναίκες κατά την κύηση &amp; συμβουλευτική για διακοπή καπνίσματος</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Καταγραφή του ετήσιου ελέγχου μέσω τεστ Pap και HPV-DNA test σύμφωνα με τις κατευθυντήριες οδηγίες της ΕΕΔΥ</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Καταγραφή και διευκόλυνση για διάγνωση και φροντίδα των ασθενών που έχουν μη φυσιολογικά αποτελέσματα τεστ ΠΑΠ</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Καταγραφή και παραπομπή γυναικών 50 ετών και άνω για μαστογραφία</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Καταγραφή ώστε η εξέταση μαστού να πραγματοποιείται σύμφωνα με τις κατευθυντήριες οδηγίες της ΕΕΔΥ στις γυναίκες 45-74 ετών</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Καταγραφή ότι έχει οριστεί ραντεβού διάγνωσης για όλες τις γυναίκες με μη φυσιολογικά αποτελέσματα μαστογραφίας</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Καταγραφή ετήσιου αντιγριπικού εμβολιασμού για τους πολίτες ηλικίας 65+ </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Μέτρηση αρτηριακής πίεσης σε ασυμπτωματικούς πολίτες σύμφωνα με τις κατευθυντήριες οδηγίες για έγκαιρο εντοπισμό αδιάγνωστων υπερτασικών ασθενών</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Υπενθύμιση τήρησης του εμβολιασμού παιδιών και ενηλίκων σύμφωνα με το εθνικό πρόγραμμα εμβολιασμών</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Αριθμός πολιτών που κάνουν screening για τον καρκίνο σύμφωνα με τις κατευθυντήριες οδηγίες (προληπτικές εξετάσεις για τον καρκίνο του μαστού, τραχήλου της μήτρας, παχέος εντέρου, δέρματος, πνεύμονα</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Αριθμός συνεδριών για διακοπή του καπνίσματος</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Αξιολόγηση της καπνιστικής συνήθειας και καταγραφής στον ΑΗΦΥ για κάθε πολίτη</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Αριθμός συνεδριών για συμβουλευτική για την αλλαγή συμπεριφοράς της υγείας (αλκοόλ, κάπνισμα, διατροφή, φυσική άσκηση)</a:t>
                      </a:r>
                      <a:endParaRPr lang="en-US" sz="1600" b="0" strike="noStrike" spc="-1">
                        <a:latin typeface="Arial"/>
                      </a:endParaRPr>
                    </a:p>
                  </a:txBody>
                  <a:tcPr>
                    <a:lnL w="12240">
                      <a:solidFill>
                        <a:srgbClr val="D8D8D8"/>
                      </a:solidFill>
                    </a:lnL>
                    <a:lnR w="12240">
                      <a:solidFill>
                        <a:srgbClr val="D8D8D8"/>
                      </a:solidFill>
                    </a:lnR>
                    <a:lnT w="12240">
                      <a:solidFill>
                        <a:srgbClr val="D8D8D8"/>
                      </a:solidFill>
                    </a:lnT>
                    <a:lnB w="12240">
                      <a:solidFill>
                        <a:srgbClr val="D8D8D8"/>
                      </a:solidFill>
                    </a:lnB>
                    <a:noFill/>
                  </a:tcPr>
                </a:tc>
                <a:extLst>
                  <a:ext uri="{0D108BD9-81ED-4DB2-BD59-A6C34878D82A}">
                    <a16:rowId xmlns:a16="http://schemas.microsoft.com/office/drawing/2014/main" val="10001"/>
                  </a:ext>
                </a:extLst>
              </a:tr>
            </a:tbl>
          </a:graphicData>
        </a:graphic>
      </p:graphicFrame>
      <p:sp>
        <p:nvSpPr>
          <p:cNvPr id="274" name="CustomShape 5"/>
          <p:cNvSpPr/>
          <p:nvPr/>
        </p:nvSpPr>
        <p:spPr>
          <a:xfrm>
            <a:off x="810000" y="6440040"/>
            <a:ext cx="10313280" cy="36504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l-GR" sz="1200" b="0" strike="noStrike" spc="-1">
                <a:solidFill>
                  <a:srgbClr val="888888"/>
                </a:solidFill>
                <a:latin typeface="Calibri"/>
                <a:ea typeface="Calibri"/>
              </a:rPr>
              <a:t>https://www.ncbi.nlm.nih.gov/pmc/articles/PMC1472934/pdf/jCFP_v051_pg701.pdf</a:t>
            </a:r>
            <a:endParaRPr lang="en-US" sz="1200" b="0" strike="noStrike" spc="-1">
              <a:latin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 name="CustomShape 1"/>
          <p:cNvSpPr/>
          <p:nvPr/>
        </p:nvSpPr>
        <p:spPr>
          <a:xfrm>
            <a:off x="327600" y="399600"/>
            <a:ext cx="11732760" cy="833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oAutofit/>
          </a:bodyPr>
          <a:lstStyle/>
          <a:p>
            <a:pPr>
              <a:lnSpc>
                <a:spcPct val="90000"/>
              </a:lnSpc>
              <a:tabLst>
                <a:tab pos="0" algn="l"/>
              </a:tabLst>
            </a:pPr>
            <a:r>
              <a:rPr lang="el-GR" sz="2600" b="1" strike="noStrike" spc="-1">
                <a:solidFill>
                  <a:srgbClr val="31506D"/>
                </a:solidFill>
                <a:latin typeface="Calibri"/>
                <a:ea typeface="Calibri"/>
              </a:rPr>
              <a:t>Ορίζουμε δείκτες απόδοσης για τους Προσωπικούς Ιατρούς στο πεδίο διαχείρισης των χρόνιων νοσημάτων</a:t>
            </a:r>
            <a:endParaRPr lang="en-US" sz="2600" b="0" strike="noStrike" spc="-1">
              <a:latin typeface="Arial"/>
            </a:endParaRPr>
          </a:p>
        </p:txBody>
      </p:sp>
      <p:sp>
        <p:nvSpPr>
          <p:cNvPr id="276" name="CustomShape 2"/>
          <p:cNvSpPr/>
          <p:nvPr/>
        </p:nvSpPr>
        <p:spPr>
          <a:xfrm>
            <a:off x="11296440" y="6377040"/>
            <a:ext cx="519840" cy="25344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chor="ctr">
            <a:noAutofit/>
          </a:bodyPr>
          <a:lstStyle/>
          <a:p>
            <a:pPr>
              <a:lnSpc>
                <a:spcPct val="100000"/>
              </a:lnSpc>
              <a:tabLst>
                <a:tab pos="0" algn="l"/>
              </a:tabLst>
            </a:pPr>
            <a:fld id="{E2C99BB2-8EDE-46C2-9EBB-1DC900624577}" type="slidenum">
              <a:rPr lang="el-GR" sz="1000" b="0" strike="noStrike" spc="-1">
                <a:solidFill>
                  <a:srgbClr val="000000"/>
                </a:solidFill>
                <a:latin typeface="Calibri"/>
                <a:ea typeface="Calibri"/>
              </a:rPr>
              <a:t>11</a:t>
            </a:fld>
            <a:endParaRPr lang="en-US" sz="1000" b="0" strike="noStrike" spc="-1">
              <a:latin typeface="Arial"/>
            </a:endParaRPr>
          </a:p>
        </p:txBody>
      </p:sp>
      <p:sp>
        <p:nvSpPr>
          <p:cNvPr id="277" name="CustomShape 3"/>
          <p:cNvSpPr/>
          <p:nvPr/>
        </p:nvSpPr>
        <p:spPr>
          <a:xfrm>
            <a:off x="326160" y="1251720"/>
            <a:ext cx="11341440" cy="365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chor="ctr">
            <a:noAutofit/>
          </a:bodyPr>
          <a:lstStyle/>
          <a:p>
            <a:pPr>
              <a:lnSpc>
                <a:spcPct val="100000"/>
              </a:lnSpc>
              <a:tabLst>
                <a:tab pos="0" algn="l"/>
              </a:tabLst>
            </a:pPr>
            <a:r>
              <a:rPr lang="el-GR" sz="1800" b="1" strike="noStrike" spc="-1">
                <a:solidFill>
                  <a:srgbClr val="363636"/>
                </a:solidFill>
                <a:latin typeface="Calibri"/>
                <a:ea typeface="Calibri"/>
              </a:rPr>
              <a:t>Ενδεικτικοί δείκτες για τους Προσωπικούς Ιατρούς</a:t>
            </a:r>
            <a:endParaRPr lang="en-US" sz="1800" b="0" strike="noStrike" spc="-1">
              <a:latin typeface="Arial"/>
            </a:endParaRPr>
          </a:p>
        </p:txBody>
      </p:sp>
      <p:graphicFrame>
        <p:nvGraphicFramePr>
          <p:cNvPr id="278" name="Table 4"/>
          <p:cNvGraphicFramePr/>
          <p:nvPr/>
        </p:nvGraphicFramePr>
        <p:xfrm>
          <a:off x="406080" y="1618920"/>
          <a:ext cx="11520000" cy="3977640"/>
        </p:xfrm>
        <a:graphic>
          <a:graphicData uri="http://schemas.openxmlformats.org/drawingml/2006/table">
            <a:tbl>
              <a:tblPr/>
              <a:tblGrid>
                <a:gridCol w="11520000">
                  <a:extLst>
                    <a:ext uri="{9D8B030D-6E8A-4147-A177-3AD203B41FA5}">
                      <a16:colId xmlns:a16="http://schemas.microsoft.com/office/drawing/2014/main" val="20000"/>
                    </a:ext>
                  </a:extLst>
                </a:gridCol>
              </a:tblGrid>
              <a:tr h="317520">
                <a:tc>
                  <a:txBody>
                    <a:bodyPr/>
                    <a:lstStyle/>
                    <a:p>
                      <a:pPr>
                        <a:lnSpc>
                          <a:spcPct val="100000"/>
                        </a:lnSpc>
                        <a:tabLst>
                          <a:tab pos="0" algn="l"/>
                        </a:tabLst>
                      </a:pPr>
                      <a:r>
                        <a:rPr lang="el-GR" sz="1600" b="1" strike="noStrike" spc="-1">
                          <a:solidFill>
                            <a:srgbClr val="000000"/>
                          </a:solidFill>
                          <a:latin typeface="Arial"/>
                          <a:ea typeface="Arial"/>
                        </a:rPr>
                        <a:t>Διαχείριση χρονίων νοσημάτων</a:t>
                      </a:r>
                      <a:endParaRPr lang="en-US" sz="1600" b="0" strike="noStrike" spc="-1">
                        <a:latin typeface="Arial"/>
                      </a:endParaRPr>
                    </a:p>
                  </a:txBody>
                  <a:tcPr>
                    <a:lnL w="12240">
                      <a:solidFill>
                        <a:srgbClr val="D8D8D8"/>
                      </a:solidFill>
                    </a:lnL>
                    <a:lnR w="12240">
                      <a:solidFill>
                        <a:srgbClr val="D8D8D8"/>
                      </a:solidFill>
                    </a:lnR>
                    <a:lnT w="12240">
                      <a:solidFill>
                        <a:srgbClr val="D8D8D8"/>
                      </a:solidFill>
                    </a:lnT>
                    <a:lnB w="12240">
                      <a:solidFill>
                        <a:srgbClr val="D8D8D8"/>
                      </a:solidFill>
                    </a:lnB>
                    <a:solidFill>
                      <a:srgbClr val="ACCBF9"/>
                    </a:solidFill>
                  </a:tcPr>
                </a:tc>
                <a:extLst>
                  <a:ext uri="{0D108BD9-81ED-4DB2-BD59-A6C34878D82A}">
                    <a16:rowId xmlns:a16="http://schemas.microsoft.com/office/drawing/2014/main" val="10000"/>
                  </a:ext>
                </a:extLst>
              </a:tr>
              <a:tr h="3108240">
                <a:tc>
                  <a:txBody>
                    <a:bodyPr/>
                    <a:lstStyle/>
                    <a:p>
                      <a:pPr marL="285840" indent="-283680">
                        <a:lnSpc>
                          <a:spcPct val="100000"/>
                        </a:lnSpc>
                        <a:buClr>
                          <a:srgbClr val="000000"/>
                        </a:buClr>
                        <a:buFont typeface="Arial"/>
                        <a:buChar char="•"/>
                      </a:pPr>
                      <a:r>
                        <a:rPr lang="el-GR" sz="1600" b="0" strike="noStrike" spc="-1">
                          <a:solidFill>
                            <a:srgbClr val="000000"/>
                          </a:solidFill>
                          <a:latin typeface="Calibri"/>
                          <a:ea typeface="Calibri"/>
                        </a:rPr>
                        <a:t>Καταγραφή της παρακολούθησης για οριακές ή αυξημένες μετρήσεις της αρτηριακής πίεσης με επαναλαμβανόμενες μετρήσεις </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Καταγραφή της μέτρησης της αρτηριακής πίεσης σε υπερτασικούς ασθενείς τουλάχιστον μία φορά κάθε 6 μήνες </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Ενεργή φαρμακευτική αντιμετώπιση υπερτασικών ασθενών με επίμονη αρτηριακή πίεση 160/100 mm Hg ή περισσότερο </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Καταγραφή του βαθμού ελέγχου του άσθματος σε κάθε επίσκεψη ατόμου με αυτό ώς κύριο αίτημα </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Καταγραφή των αποτελεσμάτων της εξέτασης αιμοσφαιρίνης AIc και της εξέτασης γλυκόζης αίματος τουλάχιστον μία φορά κάθε έτος για τους διαβητικούς ασθενείς </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Καταγραφή της μέτρησης της αρτηριακής πίεσης τουλάχιστον μία φορά κάθε 6 μήνες για τους διαβητικούς ασθενείς </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Καταγραφή της βυθοσκοπικής οφθαλμολογικής εξέτασης για διαβητικούς ασθενείς τουλάχιστον μία φορά κάθε έτος </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Καταγραφή της εξέτασης των ποδιών και των μηρών, συμπεριλαμβανομένων των περιφερικών σφυγμών, για διαβητικούς ασθενείς τουλάχιστον μία φορά κάθε 2 έτη</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Καταγραφή πληροφοριών για την εκπαίδευση σε θέματα διαχείρισης του διαβήτη για ασθενείς με διαβήτη </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Καταγραφή της εξέτασης για μικροαλβουμινουρία σε άτομα με διαβήτη τύπου 1 ή 2 και με αρνητικό δίπτυχο ή ίχνη πρωτεϊνουρίας</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Αριθμός συναντήσεων για θέματα ψυχικής υγείας, παραπομπές και διασύνδεση σε δομές ψυχικής υγείας</a:t>
                      </a:r>
                      <a:endParaRPr lang="en-US" sz="1600" b="0" strike="noStrike" spc="-1">
                        <a:latin typeface="Arial"/>
                      </a:endParaRPr>
                    </a:p>
                  </a:txBody>
                  <a:tcPr>
                    <a:lnL w="12240">
                      <a:solidFill>
                        <a:srgbClr val="D8D8D8"/>
                      </a:solidFill>
                    </a:lnL>
                    <a:lnR w="12240">
                      <a:solidFill>
                        <a:srgbClr val="D8D8D8"/>
                      </a:solidFill>
                    </a:lnR>
                    <a:lnT w="12240">
                      <a:solidFill>
                        <a:srgbClr val="D8D8D8"/>
                      </a:solidFill>
                    </a:lnT>
                    <a:lnB w="12240">
                      <a:solidFill>
                        <a:srgbClr val="D8D8D8"/>
                      </a:solidFill>
                    </a:lnB>
                    <a:noFill/>
                  </a:tcPr>
                </a:tc>
                <a:extLst>
                  <a:ext uri="{0D108BD9-81ED-4DB2-BD59-A6C34878D82A}">
                    <a16:rowId xmlns:a16="http://schemas.microsoft.com/office/drawing/2014/main" val="10001"/>
                  </a:ext>
                </a:extLst>
              </a:tr>
            </a:tbl>
          </a:graphicData>
        </a:graphic>
      </p:graphicFrame>
      <p:sp>
        <p:nvSpPr>
          <p:cNvPr id="279" name="CustomShape 5"/>
          <p:cNvSpPr/>
          <p:nvPr/>
        </p:nvSpPr>
        <p:spPr>
          <a:xfrm>
            <a:off x="810000" y="6440040"/>
            <a:ext cx="10313280" cy="36504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l-GR" sz="1200" b="0" strike="noStrike" spc="-1">
                <a:solidFill>
                  <a:srgbClr val="888888"/>
                </a:solidFill>
                <a:latin typeface="Calibri"/>
                <a:ea typeface="Calibri"/>
              </a:rPr>
              <a:t>https://www.ncbi.nlm.nih.gov/pmc/articles/PMC1472934/pdf/jCFP_v051_pg701.pdf</a:t>
            </a:r>
            <a:endParaRPr lang="en-US" sz="1200" b="0" strike="noStrike" spc="-1">
              <a:latin typeface="Aria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 name="CustomShape 1"/>
          <p:cNvSpPr/>
          <p:nvPr/>
        </p:nvSpPr>
        <p:spPr>
          <a:xfrm>
            <a:off x="327600" y="399600"/>
            <a:ext cx="11732760" cy="833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oAutofit/>
          </a:bodyPr>
          <a:lstStyle/>
          <a:p>
            <a:pPr>
              <a:lnSpc>
                <a:spcPct val="90000"/>
              </a:lnSpc>
              <a:tabLst>
                <a:tab pos="0" algn="l"/>
              </a:tabLst>
            </a:pPr>
            <a:r>
              <a:rPr lang="el-GR" sz="2600" b="1" strike="noStrike" spc="-1">
                <a:solidFill>
                  <a:srgbClr val="31506D"/>
                </a:solidFill>
                <a:latin typeface="Calibri"/>
                <a:ea typeface="Calibri"/>
              </a:rPr>
              <a:t>Ορίζουμε δείκτες απόδοσης για τους Προσωπικούς Ιατρούς στο πεδίο του εγγραμματισμού υγείας και της σχέσης ιατρού-ασθενούς</a:t>
            </a:r>
            <a:endParaRPr lang="en-US" sz="2600" b="0" strike="noStrike" spc="-1">
              <a:latin typeface="Arial"/>
            </a:endParaRPr>
          </a:p>
        </p:txBody>
      </p:sp>
      <p:sp>
        <p:nvSpPr>
          <p:cNvPr id="281" name="CustomShape 2"/>
          <p:cNvSpPr/>
          <p:nvPr/>
        </p:nvSpPr>
        <p:spPr>
          <a:xfrm>
            <a:off x="11296440" y="6377040"/>
            <a:ext cx="519840" cy="25344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chor="ctr">
            <a:noAutofit/>
          </a:bodyPr>
          <a:lstStyle/>
          <a:p>
            <a:pPr>
              <a:lnSpc>
                <a:spcPct val="100000"/>
              </a:lnSpc>
              <a:tabLst>
                <a:tab pos="0" algn="l"/>
              </a:tabLst>
            </a:pPr>
            <a:fld id="{B6A7C4BC-1555-4620-A4AF-3097CE03E0DF}" type="slidenum">
              <a:rPr lang="el-GR" sz="1000" b="0" strike="noStrike" spc="-1">
                <a:solidFill>
                  <a:srgbClr val="000000"/>
                </a:solidFill>
                <a:latin typeface="Calibri"/>
                <a:ea typeface="Calibri"/>
              </a:rPr>
              <a:t>12</a:t>
            </a:fld>
            <a:endParaRPr lang="en-US" sz="1000" b="0" strike="noStrike" spc="-1">
              <a:latin typeface="Arial"/>
            </a:endParaRPr>
          </a:p>
        </p:txBody>
      </p:sp>
      <p:sp>
        <p:nvSpPr>
          <p:cNvPr id="282" name="CustomShape 3"/>
          <p:cNvSpPr/>
          <p:nvPr/>
        </p:nvSpPr>
        <p:spPr>
          <a:xfrm>
            <a:off x="326160" y="1251720"/>
            <a:ext cx="11341440" cy="365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chor="ctr">
            <a:noAutofit/>
          </a:bodyPr>
          <a:lstStyle/>
          <a:p>
            <a:pPr>
              <a:lnSpc>
                <a:spcPct val="100000"/>
              </a:lnSpc>
              <a:tabLst>
                <a:tab pos="0" algn="l"/>
              </a:tabLst>
            </a:pPr>
            <a:r>
              <a:rPr lang="el-GR" sz="1800" b="1" strike="noStrike" spc="-1">
                <a:solidFill>
                  <a:srgbClr val="363636"/>
                </a:solidFill>
                <a:latin typeface="Calibri"/>
                <a:ea typeface="Calibri"/>
              </a:rPr>
              <a:t>Ενδεικτικοί δείκτες για τους Προσωπικούς Ιατρούς</a:t>
            </a:r>
            <a:endParaRPr lang="en-US" sz="1800" b="0" strike="noStrike" spc="-1">
              <a:latin typeface="Arial"/>
            </a:endParaRPr>
          </a:p>
        </p:txBody>
      </p:sp>
      <p:graphicFrame>
        <p:nvGraphicFramePr>
          <p:cNvPr id="283" name="Table 4"/>
          <p:cNvGraphicFramePr/>
          <p:nvPr/>
        </p:nvGraphicFramePr>
        <p:xfrm>
          <a:off x="406080" y="1618920"/>
          <a:ext cx="11520000" cy="2080260"/>
        </p:xfrm>
        <a:graphic>
          <a:graphicData uri="http://schemas.openxmlformats.org/drawingml/2006/table">
            <a:tbl>
              <a:tblPr/>
              <a:tblGrid>
                <a:gridCol w="11520000">
                  <a:extLst>
                    <a:ext uri="{9D8B030D-6E8A-4147-A177-3AD203B41FA5}">
                      <a16:colId xmlns:a16="http://schemas.microsoft.com/office/drawing/2014/main" val="20000"/>
                    </a:ext>
                  </a:extLst>
                </a:gridCol>
              </a:tblGrid>
              <a:tr h="317520">
                <a:tc>
                  <a:txBody>
                    <a:bodyPr/>
                    <a:lstStyle/>
                    <a:p>
                      <a:pPr>
                        <a:lnSpc>
                          <a:spcPct val="100000"/>
                        </a:lnSpc>
                        <a:tabLst>
                          <a:tab pos="0" algn="l"/>
                        </a:tabLst>
                      </a:pPr>
                      <a:r>
                        <a:rPr lang="el-GR" sz="1600" b="1" strike="noStrike" spc="-1">
                          <a:solidFill>
                            <a:srgbClr val="000000"/>
                          </a:solidFill>
                          <a:latin typeface="Arial"/>
                          <a:ea typeface="Arial"/>
                        </a:rPr>
                        <a:t>Εγγραμματισμός υγείας και σχέση ιατρού-ασθενούς</a:t>
                      </a:r>
                      <a:endParaRPr lang="en-US" sz="1600" b="0" strike="noStrike" spc="-1">
                        <a:latin typeface="Arial"/>
                      </a:endParaRPr>
                    </a:p>
                  </a:txBody>
                  <a:tcPr>
                    <a:lnL w="12240">
                      <a:solidFill>
                        <a:srgbClr val="D8D8D8"/>
                      </a:solidFill>
                    </a:lnL>
                    <a:lnR w="12240">
                      <a:solidFill>
                        <a:srgbClr val="D8D8D8"/>
                      </a:solidFill>
                    </a:lnR>
                    <a:lnT w="12240">
                      <a:solidFill>
                        <a:srgbClr val="D8D8D8"/>
                      </a:solidFill>
                    </a:lnT>
                    <a:lnB w="12240">
                      <a:solidFill>
                        <a:srgbClr val="D8D8D8"/>
                      </a:solidFill>
                    </a:lnB>
                    <a:solidFill>
                      <a:srgbClr val="ACCBF9"/>
                    </a:solidFill>
                  </a:tcPr>
                </a:tc>
                <a:extLst>
                  <a:ext uri="{0D108BD9-81ED-4DB2-BD59-A6C34878D82A}">
                    <a16:rowId xmlns:a16="http://schemas.microsoft.com/office/drawing/2014/main" val="10000"/>
                  </a:ext>
                </a:extLst>
              </a:tr>
              <a:tr h="1498680">
                <a:tc>
                  <a:txBody>
                    <a:bodyPr/>
                    <a:lstStyle/>
                    <a:p>
                      <a:pPr marL="285840" indent="-283680">
                        <a:lnSpc>
                          <a:spcPct val="100000"/>
                        </a:lnSpc>
                        <a:buClr>
                          <a:srgbClr val="000000"/>
                        </a:buClr>
                        <a:buFont typeface="Arial"/>
                        <a:buChar char="•"/>
                      </a:pPr>
                      <a:r>
                        <a:rPr lang="el-GR" sz="1600" b="0" strike="noStrike" spc="-1">
                          <a:solidFill>
                            <a:srgbClr val="000000"/>
                          </a:solidFill>
                          <a:latin typeface="Calibri"/>
                          <a:ea typeface="Calibri"/>
                        </a:rPr>
                        <a:t>Ο γιατρός περιγράφει τα προβλήματα υγείας και τη θεραπεία σε γλώσσα που μπορούν να κατανοήσουν οι ασθενείς </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Ο ιατρός εξηγεί στους ασθενείς τις εξετάσεις και τη σημασία των αποτελεσμάτων </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Ο ιατρός δείχνει ευγένεια σε όλους τους ασθενείς </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Οι ασθενείς ενθαρρύνονται να κάνουν ερωτήσεις σχετικά με την ασθένεια και τη φροντίδα τους</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Το προσωπικό του γραφείου συμπεριφέρεται με ευγενικό τρόπο προς τους ασθενείς</a:t>
                      </a:r>
                      <a:endParaRPr lang="en-US" sz="1600" b="0" strike="noStrike" spc="-1">
                        <a:latin typeface="Arial"/>
                      </a:endParaRPr>
                    </a:p>
                    <a:p>
                      <a:pPr marL="285840" indent="-283680">
                        <a:lnSpc>
                          <a:spcPct val="100000"/>
                        </a:lnSpc>
                        <a:spcBef>
                          <a:spcPts val="300"/>
                        </a:spcBef>
                        <a:buClr>
                          <a:srgbClr val="000000"/>
                        </a:buClr>
                        <a:buFont typeface="Arial"/>
                        <a:buChar char="•"/>
                      </a:pPr>
                      <a:r>
                        <a:rPr lang="el-GR" sz="1600" b="0" strike="noStrike" spc="-1">
                          <a:solidFill>
                            <a:srgbClr val="000000"/>
                          </a:solidFill>
                          <a:latin typeface="Calibri"/>
                          <a:ea typeface="Calibri"/>
                        </a:rPr>
                        <a:t>Αύξηση των γενοσήμων στη συνταγογράφηση</a:t>
                      </a:r>
                      <a:endParaRPr lang="en-US" sz="1600" b="0" strike="noStrike" spc="-1">
                        <a:latin typeface="Arial"/>
                      </a:endParaRPr>
                    </a:p>
                  </a:txBody>
                  <a:tcPr>
                    <a:lnL w="12240">
                      <a:solidFill>
                        <a:srgbClr val="D8D8D8"/>
                      </a:solidFill>
                    </a:lnL>
                    <a:lnR w="12240">
                      <a:solidFill>
                        <a:srgbClr val="D8D8D8"/>
                      </a:solidFill>
                    </a:lnR>
                    <a:lnT w="12240">
                      <a:solidFill>
                        <a:srgbClr val="D8D8D8"/>
                      </a:solidFill>
                    </a:lnT>
                    <a:lnB w="12240">
                      <a:solidFill>
                        <a:srgbClr val="D8D8D8"/>
                      </a:solidFill>
                    </a:lnB>
                    <a:noFill/>
                  </a:tcPr>
                </a:tc>
                <a:extLst>
                  <a:ext uri="{0D108BD9-81ED-4DB2-BD59-A6C34878D82A}">
                    <a16:rowId xmlns:a16="http://schemas.microsoft.com/office/drawing/2014/main" val="10001"/>
                  </a:ext>
                </a:extLst>
              </a:tr>
            </a:tbl>
          </a:graphicData>
        </a:graphic>
      </p:graphicFrame>
      <p:sp>
        <p:nvSpPr>
          <p:cNvPr id="284" name="CustomShape 5"/>
          <p:cNvSpPr/>
          <p:nvPr/>
        </p:nvSpPr>
        <p:spPr>
          <a:xfrm>
            <a:off x="810000" y="6440040"/>
            <a:ext cx="10313280" cy="36504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l-GR" sz="1200" b="0" strike="noStrike" spc="-1">
                <a:solidFill>
                  <a:srgbClr val="888888"/>
                </a:solidFill>
                <a:latin typeface="Calibri"/>
                <a:ea typeface="Calibri"/>
              </a:rPr>
              <a:t>https://www.ncbi.nlm.nih.gov/pmc/articles/PMC1472934/pdf/jCFP_v051_pg701.pdf</a:t>
            </a:r>
            <a:endParaRPr lang="en-US" sz="1200" b="0" strike="noStrike" spc="-1">
              <a:latin typeface="Aria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 name="CustomShape 1"/>
          <p:cNvSpPr/>
          <p:nvPr/>
        </p:nvSpPr>
        <p:spPr>
          <a:xfrm>
            <a:off x="327600" y="399600"/>
            <a:ext cx="11341440" cy="833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oAutofit/>
          </a:bodyPr>
          <a:lstStyle/>
          <a:p>
            <a:pPr>
              <a:lnSpc>
                <a:spcPct val="90000"/>
              </a:lnSpc>
              <a:tabLst>
                <a:tab pos="0" algn="l"/>
              </a:tabLst>
            </a:pPr>
            <a:r>
              <a:rPr lang="el-GR" sz="2600" b="1" strike="noStrike" spc="-1">
                <a:solidFill>
                  <a:srgbClr val="31506D"/>
                </a:solidFill>
                <a:latin typeface="Calibri"/>
                <a:ea typeface="Calibri"/>
              </a:rPr>
              <a:t>Αναβαθμίζουμε την ΠΦΥ ιδρύοντας 7 Πανεπιστημιακά Κέντρα Υγείας  </a:t>
            </a:r>
            <a:endParaRPr lang="en-US" sz="2600" b="0" strike="noStrike" spc="-1">
              <a:latin typeface="Arial"/>
            </a:endParaRPr>
          </a:p>
        </p:txBody>
      </p:sp>
      <p:sp>
        <p:nvSpPr>
          <p:cNvPr id="286" name="CustomShape 2"/>
          <p:cNvSpPr/>
          <p:nvPr/>
        </p:nvSpPr>
        <p:spPr>
          <a:xfrm>
            <a:off x="11296440" y="6377040"/>
            <a:ext cx="519840" cy="25344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chor="ctr">
            <a:noAutofit/>
          </a:bodyPr>
          <a:lstStyle/>
          <a:p>
            <a:pPr>
              <a:lnSpc>
                <a:spcPct val="100000"/>
              </a:lnSpc>
              <a:tabLst>
                <a:tab pos="0" algn="l"/>
              </a:tabLst>
            </a:pPr>
            <a:fld id="{0C4985DB-C8BC-4706-BDA8-62270DAE18F2}" type="slidenum">
              <a:rPr lang="el-GR" sz="1000" b="0" strike="noStrike" spc="-1">
                <a:solidFill>
                  <a:srgbClr val="000000"/>
                </a:solidFill>
                <a:latin typeface="Calibri"/>
                <a:ea typeface="Calibri"/>
              </a:rPr>
              <a:t>13</a:t>
            </a:fld>
            <a:endParaRPr lang="en-US" sz="1000" b="0" strike="noStrike" spc="-1">
              <a:latin typeface="Arial"/>
            </a:endParaRPr>
          </a:p>
        </p:txBody>
      </p:sp>
      <p:sp>
        <p:nvSpPr>
          <p:cNvPr id="287" name="CustomShape 3"/>
          <p:cNvSpPr/>
          <p:nvPr/>
        </p:nvSpPr>
        <p:spPr>
          <a:xfrm>
            <a:off x="326160" y="1251720"/>
            <a:ext cx="11341440" cy="365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chor="ctr">
            <a:noAutofit/>
          </a:bodyPr>
          <a:lstStyle/>
          <a:p>
            <a:pPr>
              <a:lnSpc>
                <a:spcPct val="100000"/>
              </a:lnSpc>
              <a:tabLst>
                <a:tab pos="0" algn="l"/>
              </a:tabLst>
            </a:pPr>
            <a:r>
              <a:rPr lang="el-GR" sz="1800" b="1" strike="noStrike" spc="-1">
                <a:solidFill>
                  <a:srgbClr val="363636"/>
                </a:solidFill>
                <a:latin typeface="Calibri"/>
                <a:ea typeface="Calibri"/>
              </a:rPr>
              <a:t>Πανεπιστημιακά Κέντρα Υγείας</a:t>
            </a:r>
            <a:endParaRPr lang="en-US" sz="1800" b="0" strike="noStrike" spc="-1">
              <a:latin typeface="Arial"/>
            </a:endParaRPr>
          </a:p>
        </p:txBody>
      </p:sp>
      <p:grpSp>
        <p:nvGrpSpPr>
          <p:cNvPr id="288" name="Group 4"/>
          <p:cNvGrpSpPr/>
          <p:nvPr/>
        </p:nvGrpSpPr>
        <p:grpSpPr>
          <a:xfrm>
            <a:off x="1806840" y="2020680"/>
            <a:ext cx="3881880" cy="3952800"/>
            <a:chOff x="1806840" y="2020680"/>
            <a:chExt cx="3881880" cy="3952800"/>
          </a:xfrm>
        </p:grpSpPr>
        <p:sp>
          <p:nvSpPr>
            <p:cNvPr id="289" name="CustomShape 5"/>
            <p:cNvSpPr/>
            <p:nvPr/>
          </p:nvSpPr>
          <p:spPr>
            <a:xfrm>
              <a:off x="2003400" y="2020680"/>
              <a:ext cx="2906640" cy="3096360"/>
            </a:xfrm>
            <a:custGeom>
              <a:avLst/>
              <a:gdLst/>
              <a:ahLst/>
              <a:cxnLst/>
              <a:rect l="l" t="t" r="r" b="b"/>
              <a:pathLst>
                <a:path w="11040" h="11761">
                  <a:moveTo>
                    <a:pt x="0" y="4672"/>
                  </a:moveTo>
                  <a:lnTo>
                    <a:pt x="123" y="4873"/>
                  </a:lnTo>
                  <a:lnTo>
                    <a:pt x="243" y="4914"/>
                  </a:lnTo>
                  <a:lnTo>
                    <a:pt x="169" y="5112"/>
                  </a:lnTo>
                  <a:lnTo>
                    <a:pt x="289" y="5169"/>
                  </a:lnTo>
                  <a:lnTo>
                    <a:pt x="274" y="5310"/>
                  </a:lnTo>
                  <a:lnTo>
                    <a:pt x="433" y="5364"/>
                  </a:lnTo>
                  <a:lnTo>
                    <a:pt x="555" y="5364"/>
                  </a:lnTo>
                  <a:lnTo>
                    <a:pt x="598" y="5496"/>
                  </a:lnTo>
                  <a:lnTo>
                    <a:pt x="976" y="5910"/>
                  </a:lnTo>
                  <a:lnTo>
                    <a:pt x="997" y="6055"/>
                  </a:lnTo>
                  <a:lnTo>
                    <a:pt x="1126" y="6070"/>
                  </a:lnTo>
                  <a:lnTo>
                    <a:pt x="1101" y="5923"/>
                  </a:lnTo>
                  <a:lnTo>
                    <a:pt x="1099" y="5820"/>
                  </a:lnTo>
                  <a:lnTo>
                    <a:pt x="1149" y="5751"/>
                  </a:lnTo>
                  <a:lnTo>
                    <a:pt x="1201" y="5824"/>
                  </a:lnTo>
                  <a:lnTo>
                    <a:pt x="1246" y="5935"/>
                  </a:lnTo>
                  <a:lnTo>
                    <a:pt x="1323" y="5880"/>
                  </a:lnTo>
                  <a:lnTo>
                    <a:pt x="1453" y="5998"/>
                  </a:lnTo>
                  <a:lnTo>
                    <a:pt x="1521" y="6015"/>
                  </a:lnTo>
                  <a:lnTo>
                    <a:pt x="1573" y="5941"/>
                  </a:lnTo>
                  <a:lnTo>
                    <a:pt x="1683" y="5907"/>
                  </a:lnTo>
                  <a:lnTo>
                    <a:pt x="1716" y="6034"/>
                  </a:lnTo>
                  <a:lnTo>
                    <a:pt x="1732" y="6210"/>
                  </a:lnTo>
                  <a:lnTo>
                    <a:pt x="1789" y="6279"/>
                  </a:lnTo>
                  <a:lnTo>
                    <a:pt x="1761" y="6330"/>
                  </a:lnTo>
                  <a:lnTo>
                    <a:pt x="1654" y="6222"/>
                  </a:lnTo>
                  <a:lnTo>
                    <a:pt x="1552" y="6282"/>
                  </a:lnTo>
                  <a:lnTo>
                    <a:pt x="1545" y="6178"/>
                  </a:lnTo>
                  <a:lnTo>
                    <a:pt x="1443" y="6150"/>
                  </a:lnTo>
                  <a:lnTo>
                    <a:pt x="1291" y="6159"/>
                  </a:lnTo>
                  <a:lnTo>
                    <a:pt x="1231" y="6117"/>
                  </a:lnTo>
                  <a:lnTo>
                    <a:pt x="1144" y="6174"/>
                  </a:lnTo>
                  <a:lnTo>
                    <a:pt x="1053" y="6138"/>
                  </a:lnTo>
                  <a:lnTo>
                    <a:pt x="1108" y="6315"/>
                  </a:lnTo>
                  <a:lnTo>
                    <a:pt x="1021" y="6402"/>
                  </a:lnTo>
                  <a:lnTo>
                    <a:pt x="1080" y="6522"/>
                  </a:lnTo>
                  <a:lnTo>
                    <a:pt x="1188" y="6451"/>
                  </a:lnTo>
                  <a:lnTo>
                    <a:pt x="1266" y="6489"/>
                  </a:lnTo>
                  <a:lnTo>
                    <a:pt x="1266" y="6571"/>
                  </a:lnTo>
                  <a:lnTo>
                    <a:pt x="1401" y="6624"/>
                  </a:lnTo>
                  <a:lnTo>
                    <a:pt x="1458" y="6787"/>
                  </a:lnTo>
                  <a:lnTo>
                    <a:pt x="1503" y="7030"/>
                  </a:lnTo>
                  <a:lnTo>
                    <a:pt x="1635" y="7134"/>
                  </a:lnTo>
                  <a:lnTo>
                    <a:pt x="1471" y="7306"/>
                  </a:lnTo>
                  <a:lnTo>
                    <a:pt x="1651" y="7360"/>
                  </a:lnTo>
                  <a:lnTo>
                    <a:pt x="1620" y="7485"/>
                  </a:lnTo>
                  <a:lnTo>
                    <a:pt x="1710" y="7560"/>
                  </a:lnTo>
                  <a:lnTo>
                    <a:pt x="1875" y="7554"/>
                  </a:lnTo>
                  <a:lnTo>
                    <a:pt x="1875" y="7450"/>
                  </a:lnTo>
                  <a:lnTo>
                    <a:pt x="2085" y="7350"/>
                  </a:lnTo>
                  <a:lnTo>
                    <a:pt x="2253" y="7465"/>
                  </a:lnTo>
                  <a:lnTo>
                    <a:pt x="2241" y="7572"/>
                  </a:lnTo>
                  <a:lnTo>
                    <a:pt x="2319" y="7578"/>
                  </a:lnTo>
                  <a:lnTo>
                    <a:pt x="2511" y="7471"/>
                  </a:lnTo>
                  <a:lnTo>
                    <a:pt x="2655" y="7453"/>
                  </a:lnTo>
                  <a:lnTo>
                    <a:pt x="2745" y="7524"/>
                  </a:lnTo>
                  <a:lnTo>
                    <a:pt x="2863" y="7396"/>
                  </a:lnTo>
                  <a:lnTo>
                    <a:pt x="2947" y="7395"/>
                  </a:lnTo>
                  <a:lnTo>
                    <a:pt x="3090" y="7350"/>
                  </a:lnTo>
                  <a:lnTo>
                    <a:pt x="3151" y="7405"/>
                  </a:lnTo>
                  <a:lnTo>
                    <a:pt x="3351" y="7411"/>
                  </a:lnTo>
                  <a:lnTo>
                    <a:pt x="3483" y="7560"/>
                  </a:lnTo>
                  <a:lnTo>
                    <a:pt x="3525" y="7467"/>
                  </a:lnTo>
                  <a:lnTo>
                    <a:pt x="3649" y="7530"/>
                  </a:lnTo>
                  <a:lnTo>
                    <a:pt x="3778" y="7560"/>
                  </a:lnTo>
                  <a:lnTo>
                    <a:pt x="3828" y="7510"/>
                  </a:lnTo>
                  <a:lnTo>
                    <a:pt x="3831" y="7425"/>
                  </a:lnTo>
                  <a:lnTo>
                    <a:pt x="3858" y="7312"/>
                  </a:lnTo>
                  <a:lnTo>
                    <a:pt x="4020" y="7395"/>
                  </a:lnTo>
                  <a:lnTo>
                    <a:pt x="4063" y="7554"/>
                  </a:lnTo>
                  <a:lnTo>
                    <a:pt x="4144" y="7642"/>
                  </a:lnTo>
                  <a:lnTo>
                    <a:pt x="4155" y="7545"/>
                  </a:lnTo>
                  <a:lnTo>
                    <a:pt x="4233" y="7480"/>
                  </a:lnTo>
                  <a:lnTo>
                    <a:pt x="4320" y="7434"/>
                  </a:lnTo>
                  <a:lnTo>
                    <a:pt x="4354" y="7578"/>
                  </a:lnTo>
                  <a:lnTo>
                    <a:pt x="4519" y="7677"/>
                  </a:lnTo>
                  <a:lnTo>
                    <a:pt x="4473" y="7764"/>
                  </a:lnTo>
                  <a:lnTo>
                    <a:pt x="4591" y="7756"/>
                  </a:lnTo>
                  <a:lnTo>
                    <a:pt x="4761" y="7872"/>
                  </a:lnTo>
                  <a:lnTo>
                    <a:pt x="4776" y="7797"/>
                  </a:lnTo>
                  <a:lnTo>
                    <a:pt x="4909" y="7839"/>
                  </a:lnTo>
                  <a:lnTo>
                    <a:pt x="4972" y="7935"/>
                  </a:lnTo>
                  <a:lnTo>
                    <a:pt x="5040" y="7824"/>
                  </a:lnTo>
                  <a:lnTo>
                    <a:pt x="5133" y="7903"/>
                  </a:lnTo>
                  <a:lnTo>
                    <a:pt x="5284" y="7917"/>
                  </a:lnTo>
                  <a:lnTo>
                    <a:pt x="5100" y="8130"/>
                  </a:lnTo>
                  <a:lnTo>
                    <a:pt x="4953" y="8131"/>
                  </a:lnTo>
                  <a:lnTo>
                    <a:pt x="4800" y="8086"/>
                  </a:lnTo>
                  <a:lnTo>
                    <a:pt x="4650" y="8139"/>
                  </a:lnTo>
                  <a:lnTo>
                    <a:pt x="4567" y="8217"/>
                  </a:lnTo>
                  <a:lnTo>
                    <a:pt x="4660" y="8275"/>
                  </a:lnTo>
                  <a:lnTo>
                    <a:pt x="4842" y="8305"/>
                  </a:lnTo>
                  <a:lnTo>
                    <a:pt x="4720" y="8352"/>
                  </a:lnTo>
                  <a:lnTo>
                    <a:pt x="4536" y="8401"/>
                  </a:lnTo>
                  <a:lnTo>
                    <a:pt x="4441" y="8190"/>
                  </a:lnTo>
                  <a:lnTo>
                    <a:pt x="4216" y="8092"/>
                  </a:lnTo>
                  <a:lnTo>
                    <a:pt x="4014" y="7965"/>
                  </a:lnTo>
                  <a:lnTo>
                    <a:pt x="3840" y="7965"/>
                  </a:lnTo>
                  <a:lnTo>
                    <a:pt x="3588" y="7873"/>
                  </a:lnTo>
                  <a:lnTo>
                    <a:pt x="3378" y="7699"/>
                  </a:lnTo>
                  <a:lnTo>
                    <a:pt x="3049" y="7542"/>
                  </a:lnTo>
                  <a:lnTo>
                    <a:pt x="2961" y="7545"/>
                  </a:lnTo>
                  <a:lnTo>
                    <a:pt x="2898" y="7485"/>
                  </a:lnTo>
                  <a:lnTo>
                    <a:pt x="2752" y="7633"/>
                  </a:lnTo>
                  <a:lnTo>
                    <a:pt x="2631" y="7837"/>
                  </a:lnTo>
                  <a:lnTo>
                    <a:pt x="2451" y="7930"/>
                  </a:lnTo>
                  <a:lnTo>
                    <a:pt x="2268" y="7809"/>
                  </a:lnTo>
                  <a:lnTo>
                    <a:pt x="2074" y="7782"/>
                  </a:lnTo>
                  <a:lnTo>
                    <a:pt x="2061" y="8017"/>
                  </a:lnTo>
                  <a:lnTo>
                    <a:pt x="1980" y="8100"/>
                  </a:lnTo>
                  <a:lnTo>
                    <a:pt x="1969" y="8185"/>
                  </a:lnTo>
                  <a:lnTo>
                    <a:pt x="1747" y="8380"/>
                  </a:lnTo>
                  <a:lnTo>
                    <a:pt x="1626" y="8356"/>
                  </a:lnTo>
                  <a:lnTo>
                    <a:pt x="1611" y="8577"/>
                  </a:lnTo>
                  <a:lnTo>
                    <a:pt x="1768" y="8617"/>
                  </a:lnTo>
                  <a:lnTo>
                    <a:pt x="1912" y="8710"/>
                  </a:lnTo>
                  <a:lnTo>
                    <a:pt x="1948" y="8836"/>
                  </a:lnTo>
                  <a:lnTo>
                    <a:pt x="1951" y="9000"/>
                  </a:lnTo>
                  <a:lnTo>
                    <a:pt x="2104" y="9016"/>
                  </a:lnTo>
                  <a:lnTo>
                    <a:pt x="2296" y="9177"/>
                  </a:lnTo>
                  <a:lnTo>
                    <a:pt x="2467" y="9343"/>
                  </a:lnTo>
                  <a:lnTo>
                    <a:pt x="2557" y="9589"/>
                  </a:lnTo>
                  <a:lnTo>
                    <a:pt x="2610" y="9750"/>
                  </a:lnTo>
                  <a:lnTo>
                    <a:pt x="2353" y="10050"/>
                  </a:lnTo>
                  <a:lnTo>
                    <a:pt x="2431" y="10354"/>
                  </a:lnTo>
                  <a:lnTo>
                    <a:pt x="2557" y="10513"/>
                  </a:lnTo>
                  <a:lnTo>
                    <a:pt x="2569" y="10752"/>
                  </a:lnTo>
                  <a:lnTo>
                    <a:pt x="2610" y="10875"/>
                  </a:lnTo>
                  <a:lnTo>
                    <a:pt x="2749" y="10854"/>
                  </a:lnTo>
                  <a:lnTo>
                    <a:pt x="2880" y="11053"/>
                  </a:lnTo>
                  <a:lnTo>
                    <a:pt x="3003" y="10936"/>
                  </a:lnTo>
                  <a:lnTo>
                    <a:pt x="3001" y="10822"/>
                  </a:lnTo>
                  <a:lnTo>
                    <a:pt x="2988" y="10644"/>
                  </a:lnTo>
                  <a:lnTo>
                    <a:pt x="2971" y="10537"/>
                  </a:lnTo>
                  <a:lnTo>
                    <a:pt x="3000" y="10441"/>
                  </a:lnTo>
                  <a:lnTo>
                    <a:pt x="3115" y="10402"/>
                  </a:lnTo>
                  <a:lnTo>
                    <a:pt x="3285" y="10374"/>
                  </a:lnTo>
                  <a:lnTo>
                    <a:pt x="3375" y="10450"/>
                  </a:lnTo>
                  <a:lnTo>
                    <a:pt x="3366" y="10663"/>
                  </a:lnTo>
                  <a:lnTo>
                    <a:pt x="3525" y="10681"/>
                  </a:lnTo>
                  <a:lnTo>
                    <a:pt x="3679" y="11062"/>
                  </a:lnTo>
                  <a:lnTo>
                    <a:pt x="3771" y="11173"/>
                  </a:lnTo>
                  <a:lnTo>
                    <a:pt x="3735" y="11269"/>
                  </a:lnTo>
                  <a:lnTo>
                    <a:pt x="3786" y="11460"/>
                  </a:lnTo>
                  <a:lnTo>
                    <a:pt x="3705" y="11550"/>
                  </a:lnTo>
                  <a:lnTo>
                    <a:pt x="3901" y="11634"/>
                  </a:lnTo>
                  <a:lnTo>
                    <a:pt x="3931" y="11761"/>
                  </a:lnTo>
                  <a:lnTo>
                    <a:pt x="3996" y="11635"/>
                  </a:lnTo>
                  <a:lnTo>
                    <a:pt x="3951" y="11461"/>
                  </a:lnTo>
                  <a:lnTo>
                    <a:pt x="3949" y="11338"/>
                  </a:lnTo>
                  <a:lnTo>
                    <a:pt x="4018" y="11251"/>
                  </a:lnTo>
                  <a:lnTo>
                    <a:pt x="4072" y="11176"/>
                  </a:lnTo>
                  <a:lnTo>
                    <a:pt x="4020" y="11053"/>
                  </a:lnTo>
                  <a:lnTo>
                    <a:pt x="4096" y="10965"/>
                  </a:lnTo>
                  <a:lnTo>
                    <a:pt x="4246" y="10858"/>
                  </a:lnTo>
                  <a:lnTo>
                    <a:pt x="4348" y="10900"/>
                  </a:lnTo>
                  <a:lnTo>
                    <a:pt x="4470" y="10933"/>
                  </a:lnTo>
                  <a:lnTo>
                    <a:pt x="4521" y="11139"/>
                  </a:lnTo>
                  <a:lnTo>
                    <a:pt x="4626" y="11200"/>
                  </a:lnTo>
                  <a:lnTo>
                    <a:pt x="4650" y="11319"/>
                  </a:lnTo>
                  <a:lnTo>
                    <a:pt x="4788" y="11527"/>
                  </a:lnTo>
                  <a:lnTo>
                    <a:pt x="4719" y="11610"/>
                  </a:lnTo>
                  <a:lnTo>
                    <a:pt x="4816" y="11686"/>
                  </a:lnTo>
                  <a:lnTo>
                    <a:pt x="4861" y="11626"/>
                  </a:lnTo>
                  <a:lnTo>
                    <a:pt x="4789" y="11530"/>
                  </a:lnTo>
                  <a:lnTo>
                    <a:pt x="4911" y="11503"/>
                  </a:lnTo>
                  <a:lnTo>
                    <a:pt x="5013" y="11715"/>
                  </a:lnTo>
                  <a:lnTo>
                    <a:pt x="5148" y="11715"/>
                  </a:lnTo>
                  <a:lnTo>
                    <a:pt x="5203" y="11685"/>
                  </a:lnTo>
                  <a:lnTo>
                    <a:pt x="5107" y="11565"/>
                  </a:lnTo>
                  <a:lnTo>
                    <a:pt x="5131" y="11455"/>
                  </a:lnTo>
                  <a:lnTo>
                    <a:pt x="5011" y="11427"/>
                  </a:lnTo>
                  <a:lnTo>
                    <a:pt x="4911" y="11295"/>
                  </a:lnTo>
                  <a:lnTo>
                    <a:pt x="4878" y="11100"/>
                  </a:lnTo>
                  <a:lnTo>
                    <a:pt x="4911" y="11038"/>
                  </a:lnTo>
                  <a:lnTo>
                    <a:pt x="5055" y="11079"/>
                  </a:lnTo>
                  <a:lnTo>
                    <a:pt x="5056" y="10944"/>
                  </a:lnTo>
                  <a:lnTo>
                    <a:pt x="4938" y="10785"/>
                  </a:lnTo>
                  <a:lnTo>
                    <a:pt x="4821" y="10365"/>
                  </a:lnTo>
                  <a:lnTo>
                    <a:pt x="4791" y="10239"/>
                  </a:lnTo>
                  <a:lnTo>
                    <a:pt x="4668" y="10194"/>
                  </a:lnTo>
                  <a:lnTo>
                    <a:pt x="4696" y="10006"/>
                  </a:lnTo>
                  <a:lnTo>
                    <a:pt x="4561" y="9823"/>
                  </a:lnTo>
                  <a:lnTo>
                    <a:pt x="4356" y="9391"/>
                  </a:lnTo>
                  <a:lnTo>
                    <a:pt x="4378" y="9280"/>
                  </a:lnTo>
                  <a:lnTo>
                    <a:pt x="4473" y="9240"/>
                  </a:lnTo>
                  <a:lnTo>
                    <a:pt x="4548" y="9298"/>
                  </a:lnTo>
                  <a:lnTo>
                    <a:pt x="4648" y="9327"/>
                  </a:lnTo>
                  <a:lnTo>
                    <a:pt x="4759" y="9298"/>
                  </a:lnTo>
                  <a:lnTo>
                    <a:pt x="4912" y="9430"/>
                  </a:lnTo>
                  <a:lnTo>
                    <a:pt x="5088" y="9480"/>
                  </a:lnTo>
                  <a:lnTo>
                    <a:pt x="5089" y="9609"/>
                  </a:lnTo>
                  <a:lnTo>
                    <a:pt x="4969" y="9609"/>
                  </a:lnTo>
                  <a:lnTo>
                    <a:pt x="4996" y="9714"/>
                  </a:lnTo>
                  <a:lnTo>
                    <a:pt x="5145" y="9820"/>
                  </a:lnTo>
                  <a:lnTo>
                    <a:pt x="5206" y="9744"/>
                  </a:lnTo>
                  <a:lnTo>
                    <a:pt x="5328" y="9715"/>
                  </a:lnTo>
                  <a:lnTo>
                    <a:pt x="5281" y="9625"/>
                  </a:lnTo>
                  <a:lnTo>
                    <a:pt x="5404" y="9568"/>
                  </a:lnTo>
                  <a:lnTo>
                    <a:pt x="5715" y="9552"/>
                  </a:lnTo>
                  <a:lnTo>
                    <a:pt x="5731" y="9498"/>
                  </a:lnTo>
                  <a:lnTo>
                    <a:pt x="5541" y="9312"/>
                  </a:lnTo>
                  <a:lnTo>
                    <a:pt x="5566" y="9220"/>
                  </a:lnTo>
                  <a:lnTo>
                    <a:pt x="5572" y="9075"/>
                  </a:lnTo>
                  <a:lnTo>
                    <a:pt x="5445" y="9075"/>
                  </a:lnTo>
                  <a:lnTo>
                    <a:pt x="5374" y="9196"/>
                  </a:lnTo>
                  <a:lnTo>
                    <a:pt x="5254" y="9205"/>
                  </a:lnTo>
                  <a:lnTo>
                    <a:pt x="5160" y="9088"/>
                  </a:lnTo>
                  <a:lnTo>
                    <a:pt x="5163" y="8890"/>
                  </a:lnTo>
                  <a:lnTo>
                    <a:pt x="4996" y="8862"/>
                  </a:lnTo>
                  <a:lnTo>
                    <a:pt x="5148" y="8700"/>
                  </a:lnTo>
                  <a:lnTo>
                    <a:pt x="5209" y="8529"/>
                  </a:lnTo>
                  <a:lnTo>
                    <a:pt x="5001" y="8560"/>
                  </a:lnTo>
                  <a:lnTo>
                    <a:pt x="4831" y="8520"/>
                  </a:lnTo>
                  <a:lnTo>
                    <a:pt x="4933" y="8440"/>
                  </a:lnTo>
                  <a:lnTo>
                    <a:pt x="5076" y="8437"/>
                  </a:lnTo>
                  <a:lnTo>
                    <a:pt x="5179" y="8415"/>
                  </a:lnTo>
                  <a:lnTo>
                    <a:pt x="5271" y="8325"/>
                  </a:lnTo>
                  <a:lnTo>
                    <a:pt x="5550" y="8350"/>
                  </a:lnTo>
                  <a:lnTo>
                    <a:pt x="5611" y="8251"/>
                  </a:lnTo>
                  <a:lnTo>
                    <a:pt x="5760" y="8202"/>
                  </a:lnTo>
                  <a:lnTo>
                    <a:pt x="5880" y="8184"/>
                  </a:lnTo>
                  <a:lnTo>
                    <a:pt x="5853" y="8310"/>
                  </a:lnTo>
                  <a:lnTo>
                    <a:pt x="6073" y="8487"/>
                  </a:lnTo>
                  <a:lnTo>
                    <a:pt x="6199" y="8724"/>
                  </a:lnTo>
                  <a:lnTo>
                    <a:pt x="6306" y="8670"/>
                  </a:lnTo>
                  <a:lnTo>
                    <a:pt x="6411" y="8775"/>
                  </a:lnTo>
                  <a:lnTo>
                    <a:pt x="6469" y="8938"/>
                  </a:lnTo>
                  <a:lnTo>
                    <a:pt x="6466" y="9054"/>
                  </a:lnTo>
                  <a:lnTo>
                    <a:pt x="6682" y="9040"/>
                  </a:lnTo>
                  <a:lnTo>
                    <a:pt x="6691" y="8895"/>
                  </a:lnTo>
                  <a:lnTo>
                    <a:pt x="6750" y="8730"/>
                  </a:lnTo>
                  <a:lnTo>
                    <a:pt x="6684" y="8637"/>
                  </a:lnTo>
                  <a:lnTo>
                    <a:pt x="6618" y="8575"/>
                  </a:lnTo>
                  <a:lnTo>
                    <a:pt x="6675" y="8488"/>
                  </a:lnTo>
                  <a:lnTo>
                    <a:pt x="6607" y="8476"/>
                  </a:lnTo>
                  <a:lnTo>
                    <a:pt x="6559" y="8416"/>
                  </a:lnTo>
                  <a:lnTo>
                    <a:pt x="6601" y="8260"/>
                  </a:lnTo>
                  <a:lnTo>
                    <a:pt x="6571" y="8055"/>
                  </a:lnTo>
                  <a:lnTo>
                    <a:pt x="6721" y="7951"/>
                  </a:lnTo>
                  <a:lnTo>
                    <a:pt x="6636" y="7773"/>
                  </a:lnTo>
                  <a:lnTo>
                    <a:pt x="6511" y="7678"/>
                  </a:lnTo>
                  <a:lnTo>
                    <a:pt x="6232" y="7560"/>
                  </a:lnTo>
                  <a:lnTo>
                    <a:pt x="6024" y="7543"/>
                  </a:lnTo>
                  <a:lnTo>
                    <a:pt x="5935" y="7369"/>
                  </a:lnTo>
                  <a:lnTo>
                    <a:pt x="5857" y="7186"/>
                  </a:lnTo>
                  <a:lnTo>
                    <a:pt x="5460" y="6945"/>
                  </a:lnTo>
                  <a:lnTo>
                    <a:pt x="5313" y="6867"/>
                  </a:lnTo>
                  <a:lnTo>
                    <a:pt x="5209" y="6781"/>
                  </a:lnTo>
                  <a:lnTo>
                    <a:pt x="5161" y="6855"/>
                  </a:lnTo>
                  <a:lnTo>
                    <a:pt x="5047" y="6855"/>
                  </a:lnTo>
                  <a:lnTo>
                    <a:pt x="4966" y="6691"/>
                  </a:lnTo>
                  <a:lnTo>
                    <a:pt x="4867" y="6640"/>
                  </a:lnTo>
                  <a:lnTo>
                    <a:pt x="4686" y="6645"/>
                  </a:lnTo>
                  <a:lnTo>
                    <a:pt x="4563" y="6570"/>
                  </a:lnTo>
                  <a:lnTo>
                    <a:pt x="4410" y="6505"/>
                  </a:lnTo>
                  <a:lnTo>
                    <a:pt x="4161" y="6462"/>
                  </a:lnTo>
                  <a:lnTo>
                    <a:pt x="4113" y="6370"/>
                  </a:lnTo>
                  <a:lnTo>
                    <a:pt x="4189" y="6286"/>
                  </a:lnTo>
                  <a:lnTo>
                    <a:pt x="4335" y="6343"/>
                  </a:lnTo>
                  <a:lnTo>
                    <a:pt x="4516" y="6361"/>
                  </a:lnTo>
                  <a:lnTo>
                    <a:pt x="4605" y="6282"/>
                  </a:lnTo>
                  <a:lnTo>
                    <a:pt x="4734" y="6235"/>
                  </a:lnTo>
                  <a:lnTo>
                    <a:pt x="4768" y="6204"/>
                  </a:lnTo>
                  <a:lnTo>
                    <a:pt x="4866" y="6195"/>
                  </a:lnTo>
                  <a:lnTo>
                    <a:pt x="4909" y="6100"/>
                  </a:lnTo>
                  <a:lnTo>
                    <a:pt x="4995" y="6046"/>
                  </a:lnTo>
                  <a:lnTo>
                    <a:pt x="4941" y="5985"/>
                  </a:lnTo>
                  <a:lnTo>
                    <a:pt x="4875" y="6028"/>
                  </a:lnTo>
                  <a:lnTo>
                    <a:pt x="4875" y="5911"/>
                  </a:lnTo>
                  <a:lnTo>
                    <a:pt x="4831" y="5823"/>
                  </a:lnTo>
                  <a:lnTo>
                    <a:pt x="4729" y="5787"/>
                  </a:lnTo>
                  <a:lnTo>
                    <a:pt x="4699" y="5668"/>
                  </a:lnTo>
                  <a:lnTo>
                    <a:pt x="4665" y="5730"/>
                  </a:lnTo>
                  <a:lnTo>
                    <a:pt x="4591" y="5695"/>
                  </a:lnTo>
                  <a:lnTo>
                    <a:pt x="4605" y="5611"/>
                  </a:lnTo>
                  <a:lnTo>
                    <a:pt x="4561" y="5473"/>
                  </a:lnTo>
                  <a:lnTo>
                    <a:pt x="4624" y="5412"/>
                  </a:lnTo>
                  <a:lnTo>
                    <a:pt x="4741" y="5443"/>
                  </a:lnTo>
                  <a:lnTo>
                    <a:pt x="4836" y="5323"/>
                  </a:lnTo>
                  <a:lnTo>
                    <a:pt x="4987" y="5410"/>
                  </a:lnTo>
                  <a:lnTo>
                    <a:pt x="5071" y="5392"/>
                  </a:lnTo>
                  <a:lnTo>
                    <a:pt x="5167" y="5515"/>
                  </a:lnTo>
                  <a:lnTo>
                    <a:pt x="5211" y="5616"/>
                  </a:lnTo>
                  <a:lnTo>
                    <a:pt x="5281" y="5715"/>
                  </a:lnTo>
                  <a:lnTo>
                    <a:pt x="5211" y="5743"/>
                  </a:lnTo>
                  <a:lnTo>
                    <a:pt x="5151" y="5818"/>
                  </a:lnTo>
                  <a:lnTo>
                    <a:pt x="5062" y="5829"/>
                  </a:lnTo>
                  <a:lnTo>
                    <a:pt x="5092" y="5760"/>
                  </a:lnTo>
                  <a:lnTo>
                    <a:pt x="5040" y="5686"/>
                  </a:lnTo>
                  <a:lnTo>
                    <a:pt x="4966" y="5787"/>
                  </a:lnTo>
                  <a:lnTo>
                    <a:pt x="4981" y="5896"/>
                  </a:lnTo>
                  <a:lnTo>
                    <a:pt x="5086" y="5923"/>
                  </a:lnTo>
                  <a:lnTo>
                    <a:pt x="5298" y="5805"/>
                  </a:lnTo>
                  <a:lnTo>
                    <a:pt x="5511" y="5731"/>
                  </a:lnTo>
                  <a:lnTo>
                    <a:pt x="5419" y="5548"/>
                  </a:lnTo>
                  <a:lnTo>
                    <a:pt x="5313" y="5317"/>
                  </a:lnTo>
                  <a:lnTo>
                    <a:pt x="5164" y="5151"/>
                  </a:lnTo>
                  <a:lnTo>
                    <a:pt x="4966" y="4897"/>
                  </a:lnTo>
                  <a:lnTo>
                    <a:pt x="4758" y="4780"/>
                  </a:lnTo>
                  <a:lnTo>
                    <a:pt x="4687" y="4546"/>
                  </a:lnTo>
                  <a:lnTo>
                    <a:pt x="4681" y="4335"/>
                  </a:lnTo>
                  <a:lnTo>
                    <a:pt x="4447" y="4141"/>
                  </a:lnTo>
                  <a:lnTo>
                    <a:pt x="4399" y="3984"/>
                  </a:lnTo>
                  <a:lnTo>
                    <a:pt x="4221" y="3840"/>
                  </a:lnTo>
                  <a:lnTo>
                    <a:pt x="4174" y="3657"/>
                  </a:lnTo>
                  <a:lnTo>
                    <a:pt x="4147" y="3475"/>
                  </a:lnTo>
                  <a:lnTo>
                    <a:pt x="4263" y="3213"/>
                  </a:lnTo>
                  <a:lnTo>
                    <a:pt x="4413" y="3084"/>
                  </a:lnTo>
                  <a:lnTo>
                    <a:pt x="4356" y="3009"/>
                  </a:lnTo>
                  <a:lnTo>
                    <a:pt x="4266" y="2994"/>
                  </a:lnTo>
                  <a:lnTo>
                    <a:pt x="4233" y="2865"/>
                  </a:lnTo>
                  <a:lnTo>
                    <a:pt x="4251" y="2821"/>
                  </a:lnTo>
                  <a:lnTo>
                    <a:pt x="4356" y="2844"/>
                  </a:lnTo>
                  <a:lnTo>
                    <a:pt x="4320" y="2760"/>
                  </a:lnTo>
                  <a:lnTo>
                    <a:pt x="4386" y="2667"/>
                  </a:lnTo>
                  <a:lnTo>
                    <a:pt x="4455" y="2770"/>
                  </a:lnTo>
                  <a:lnTo>
                    <a:pt x="4504" y="2638"/>
                  </a:lnTo>
                  <a:lnTo>
                    <a:pt x="4597" y="2604"/>
                  </a:lnTo>
                  <a:lnTo>
                    <a:pt x="4729" y="2515"/>
                  </a:lnTo>
                  <a:lnTo>
                    <a:pt x="4852" y="2559"/>
                  </a:lnTo>
                  <a:lnTo>
                    <a:pt x="4894" y="2650"/>
                  </a:lnTo>
                  <a:lnTo>
                    <a:pt x="4800" y="2758"/>
                  </a:lnTo>
                  <a:lnTo>
                    <a:pt x="4641" y="2773"/>
                  </a:lnTo>
                  <a:lnTo>
                    <a:pt x="4701" y="2910"/>
                  </a:lnTo>
                  <a:lnTo>
                    <a:pt x="4771" y="3043"/>
                  </a:lnTo>
                  <a:lnTo>
                    <a:pt x="4890" y="3061"/>
                  </a:lnTo>
                  <a:lnTo>
                    <a:pt x="4981" y="3126"/>
                  </a:lnTo>
                  <a:lnTo>
                    <a:pt x="5092" y="3240"/>
                  </a:lnTo>
                  <a:lnTo>
                    <a:pt x="5211" y="3280"/>
                  </a:lnTo>
                  <a:lnTo>
                    <a:pt x="5476" y="3408"/>
                  </a:lnTo>
                  <a:lnTo>
                    <a:pt x="5416" y="3672"/>
                  </a:lnTo>
                  <a:lnTo>
                    <a:pt x="5541" y="3847"/>
                  </a:lnTo>
                  <a:lnTo>
                    <a:pt x="5538" y="3999"/>
                  </a:lnTo>
                  <a:lnTo>
                    <a:pt x="5695" y="3954"/>
                  </a:lnTo>
                  <a:lnTo>
                    <a:pt x="5839" y="4020"/>
                  </a:lnTo>
                  <a:lnTo>
                    <a:pt x="5928" y="4090"/>
                  </a:lnTo>
                  <a:lnTo>
                    <a:pt x="6153" y="4090"/>
                  </a:lnTo>
                  <a:lnTo>
                    <a:pt x="6141" y="4015"/>
                  </a:lnTo>
                  <a:lnTo>
                    <a:pt x="6073" y="3997"/>
                  </a:lnTo>
                  <a:lnTo>
                    <a:pt x="6021" y="3885"/>
                  </a:lnTo>
                  <a:lnTo>
                    <a:pt x="5763" y="3834"/>
                  </a:lnTo>
                  <a:lnTo>
                    <a:pt x="5647" y="3699"/>
                  </a:lnTo>
                  <a:lnTo>
                    <a:pt x="5542" y="3558"/>
                  </a:lnTo>
                  <a:lnTo>
                    <a:pt x="5481" y="3402"/>
                  </a:lnTo>
                  <a:lnTo>
                    <a:pt x="5514" y="3322"/>
                  </a:lnTo>
                  <a:lnTo>
                    <a:pt x="5596" y="3240"/>
                  </a:lnTo>
                  <a:lnTo>
                    <a:pt x="5806" y="3343"/>
                  </a:lnTo>
                  <a:lnTo>
                    <a:pt x="5926" y="3354"/>
                  </a:lnTo>
                  <a:lnTo>
                    <a:pt x="6036" y="3382"/>
                  </a:lnTo>
                  <a:lnTo>
                    <a:pt x="6157" y="3595"/>
                  </a:lnTo>
                  <a:lnTo>
                    <a:pt x="6240" y="3637"/>
                  </a:lnTo>
                  <a:lnTo>
                    <a:pt x="6232" y="3805"/>
                  </a:lnTo>
                  <a:lnTo>
                    <a:pt x="6399" y="3895"/>
                  </a:lnTo>
                  <a:lnTo>
                    <a:pt x="6483" y="4029"/>
                  </a:lnTo>
                  <a:lnTo>
                    <a:pt x="6607" y="3952"/>
                  </a:lnTo>
                  <a:lnTo>
                    <a:pt x="6651" y="3880"/>
                  </a:lnTo>
                  <a:lnTo>
                    <a:pt x="6571" y="3789"/>
                  </a:lnTo>
                  <a:lnTo>
                    <a:pt x="6558" y="3625"/>
                  </a:lnTo>
                  <a:lnTo>
                    <a:pt x="6442" y="3505"/>
                  </a:lnTo>
                  <a:lnTo>
                    <a:pt x="6240" y="3444"/>
                  </a:lnTo>
                  <a:lnTo>
                    <a:pt x="6096" y="3265"/>
                  </a:lnTo>
                  <a:lnTo>
                    <a:pt x="6094" y="3135"/>
                  </a:lnTo>
                  <a:lnTo>
                    <a:pt x="6171" y="3039"/>
                  </a:lnTo>
                  <a:lnTo>
                    <a:pt x="6850" y="3268"/>
                  </a:lnTo>
                  <a:lnTo>
                    <a:pt x="6951" y="3477"/>
                  </a:lnTo>
                  <a:lnTo>
                    <a:pt x="7185" y="3643"/>
                  </a:lnTo>
                  <a:lnTo>
                    <a:pt x="7275" y="3504"/>
                  </a:lnTo>
                  <a:lnTo>
                    <a:pt x="7113" y="3361"/>
                  </a:lnTo>
                  <a:lnTo>
                    <a:pt x="7008" y="3196"/>
                  </a:lnTo>
                  <a:lnTo>
                    <a:pt x="6727" y="3030"/>
                  </a:lnTo>
                  <a:lnTo>
                    <a:pt x="6637" y="2955"/>
                  </a:lnTo>
                  <a:lnTo>
                    <a:pt x="6532" y="3013"/>
                  </a:lnTo>
                  <a:lnTo>
                    <a:pt x="6394" y="2965"/>
                  </a:lnTo>
                  <a:lnTo>
                    <a:pt x="6316" y="2874"/>
                  </a:lnTo>
                  <a:lnTo>
                    <a:pt x="6285" y="2758"/>
                  </a:lnTo>
                  <a:lnTo>
                    <a:pt x="6393" y="2731"/>
                  </a:lnTo>
                  <a:lnTo>
                    <a:pt x="6471" y="2680"/>
                  </a:lnTo>
                  <a:lnTo>
                    <a:pt x="6354" y="2641"/>
                  </a:lnTo>
                  <a:lnTo>
                    <a:pt x="6181" y="2499"/>
                  </a:lnTo>
                  <a:lnTo>
                    <a:pt x="6060" y="2443"/>
                  </a:lnTo>
                  <a:lnTo>
                    <a:pt x="6019" y="2338"/>
                  </a:lnTo>
                  <a:lnTo>
                    <a:pt x="6100" y="2274"/>
                  </a:lnTo>
                  <a:lnTo>
                    <a:pt x="6397" y="2134"/>
                  </a:lnTo>
                  <a:lnTo>
                    <a:pt x="6573" y="2317"/>
                  </a:lnTo>
                  <a:lnTo>
                    <a:pt x="6757" y="2304"/>
                  </a:lnTo>
                  <a:lnTo>
                    <a:pt x="6997" y="2169"/>
                  </a:lnTo>
                  <a:lnTo>
                    <a:pt x="7134" y="1945"/>
                  </a:lnTo>
                  <a:lnTo>
                    <a:pt x="7233" y="1812"/>
                  </a:lnTo>
                  <a:lnTo>
                    <a:pt x="7432" y="1785"/>
                  </a:lnTo>
                  <a:lnTo>
                    <a:pt x="7533" y="1825"/>
                  </a:lnTo>
                  <a:lnTo>
                    <a:pt x="7608" y="1935"/>
                  </a:lnTo>
                  <a:lnTo>
                    <a:pt x="7761" y="1965"/>
                  </a:lnTo>
                  <a:lnTo>
                    <a:pt x="7824" y="2019"/>
                  </a:lnTo>
                  <a:lnTo>
                    <a:pt x="7950" y="1993"/>
                  </a:lnTo>
                  <a:lnTo>
                    <a:pt x="8074" y="1872"/>
                  </a:lnTo>
                  <a:lnTo>
                    <a:pt x="8236" y="1816"/>
                  </a:lnTo>
                  <a:lnTo>
                    <a:pt x="8311" y="1690"/>
                  </a:lnTo>
                  <a:lnTo>
                    <a:pt x="8451" y="1615"/>
                  </a:lnTo>
                  <a:lnTo>
                    <a:pt x="8359" y="1498"/>
                  </a:lnTo>
                  <a:lnTo>
                    <a:pt x="8418" y="1456"/>
                  </a:lnTo>
                  <a:lnTo>
                    <a:pt x="8527" y="1558"/>
                  </a:lnTo>
                  <a:lnTo>
                    <a:pt x="8520" y="1644"/>
                  </a:lnTo>
                  <a:lnTo>
                    <a:pt x="8481" y="1794"/>
                  </a:lnTo>
                  <a:lnTo>
                    <a:pt x="8704" y="1845"/>
                  </a:lnTo>
                  <a:lnTo>
                    <a:pt x="8805" y="1800"/>
                  </a:lnTo>
                  <a:lnTo>
                    <a:pt x="8898" y="1869"/>
                  </a:lnTo>
                  <a:lnTo>
                    <a:pt x="9066" y="1885"/>
                  </a:lnTo>
                  <a:lnTo>
                    <a:pt x="9198" y="1935"/>
                  </a:lnTo>
                  <a:lnTo>
                    <a:pt x="9346" y="1944"/>
                  </a:lnTo>
                  <a:lnTo>
                    <a:pt x="9499" y="2038"/>
                  </a:lnTo>
                  <a:lnTo>
                    <a:pt x="9666" y="1975"/>
                  </a:lnTo>
                  <a:lnTo>
                    <a:pt x="9960" y="2038"/>
                  </a:lnTo>
                  <a:lnTo>
                    <a:pt x="10024" y="2133"/>
                  </a:lnTo>
                  <a:lnTo>
                    <a:pt x="9978" y="2145"/>
                  </a:lnTo>
                  <a:lnTo>
                    <a:pt x="10066" y="2295"/>
                  </a:lnTo>
                  <a:lnTo>
                    <a:pt x="10381" y="1950"/>
                  </a:lnTo>
                  <a:lnTo>
                    <a:pt x="10470" y="1749"/>
                  </a:lnTo>
                  <a:lnTo>
                    <a:pt x="10611" y="1620"/>
                  </a:lnTo>
                  <a:lnTo>
                    <a:pt x="10509" y="1527"/>
                  </a:lnTo>
                  <a:lnTo>
                    <a:pt x="10477" y="1089"/>
                  </a:lnTo>
                  <a:lnTo>
                    <a:pt x="10644" y="1117"/>
                  </a:lnTo>
                  <a:lnTo>
                    <a:pt x="10803" y="879"/>
                  </a:lnTo>
                  <a:lnTo>
                    <a:pt x="10936" y="999"/>
                  </a:lnTo>
                  <a:lnTo>
                    <a:pt x="11040" y="895"/>
                  </a:lnTo>
                  <a:lnTo>
                    <a:pt x="10971" y="592"/>
                  </a:lnTo>
                  <a:lnTo>
                    <a:pt x="10957" y="340"/>
                  </a:lnTo>
                  <a:lnTo>
                    <a:pt x="10807" y="280"/>
                  </a:lnTo>
                  <a:lnTo>
                    <a:pt x="10728" y="130"/>
                  </a:lnTo>
                  <a:lnTo>
                    <a:pt x="10546" y="75"/>
                  </a:lnTo>
                  <a:lnTo>
                    <a:pt x="10431" y="118"/>
                  </a:lnTo>
                  <a:lnTo>
                    <a:pt x="10312" y="13"/>
                  </a:lnTo>
                  <a:lnTo>
                    <a:pt x="10155" y="0"/>
                  </a:lnTo>
                  <a:lnTo>
                    <a:pt x="10051" y="100"/>
                  </a:lnTo>
                  <a:lnTo>
                    <a:pt x="10035" y="195"/>
                  </a:lnTo>
                  <a:lnTo>
                    <a:pt x="10171" y="310"/>
                  </a:lnTo>
                  <a:lnTo>
                    <a:pt x="10188" y="445"/>
                  </a:lnTo>
                  <a:lnTo>
                    <a:pt x="10221" y="600"/>
                  </a:lnTo>
                  <a:lnTo>
                    <a:pt x="10183" y="867"/>
                  </a:lnTo>
                  <a:lnTo>
                    <a:pt x="9970" y="919"/>
                  </a:lnTo>
                  <a:lnTo>
                    <a:pt x="9786" y="1005"/>
                  </a:lnTo>
                  <a:lnTo>
                    <a:pt x="9681" y="910"/>
                  </a:lnTo>
                  <a:lnTo>
                    <a:pt x="9406" y="984"/>
                  </a:lnTo>
                  <a:lnTo>
                    <a:pt x="9202" y="931"/>
                  </a:lnTo>
                  <a:lnTo>
                    <a:pt x="9082" y="1035"/>
                  </a:lnTo>
                  <a:lnTo>
                    <a:pt x="8772" y="1123"/>
                  </a:lnTo>
                  <a:lnTo>
                    <a:pt x="8631" y="1120"/>
                  </a:lnTo>
                  <a:lnTo>
                    <a:pt x="8599" y="1014"/>
                  </a:lnTo>
                  <a:lnTo>
                    <a:pt x="8421" y="879"/>
                  </a:lnTo>
                  <a:lnTo>
                    <a:pt x="8161" y="805"/>
                  </a:lnTo>
                  <a:lnTo>
                    <a:pt x="7999" y="795"/>
                  </a:lnTo>
                  <a:lnTo>
                    <a:pt x="7863" y="850"/>
                  </a:lnTo>
                  <a:lnTo>
                    <a:pt x="7807" y="744"/>
                  </a:lnTo>
                  <a:lnTo>
                    <a:pt x="7638" y="723"/>
                  </a:lnTo>
                  <a:lnTo>
                    <a:pt x="7515" y="436"/>
                  </a:lnTo>
                  <a:lnTo>
                    <a:pt x="7386" y="430"/>
                  </a:lnTo>
                  <a:lnTo>
                    <a:pt x="7381" y="534"/>
                  </a:lnTo>
                  <a:lnTo>
                    <a:pt x="7251" y="523"/>
                  </a:lnTo>
                  <a:lnTo>
                    <a:pt x="7128" y="549"/>
                  </a:lnTo>
                  <a:lnTo>
                    <a:pt x="7141" y="447"/>
                  </a:lnTo>
                  <a:lnTo>
                    <a:pt x="7023" y="405"/>
                  </a:lnTo>
                  <a:lnTo>
                    <a:pt x="6900" y="508"/>
                  </a:lnTo>
                  <a:lnTo>
                    <a:pt x="6721" y="477"/>
                  </a:lnTo>
                  <a:lnTo>
                    <a:pt x="6708" y="622"/>
                  </a:lnTo>
                  <a:lnTo>
                    <a:pt x="6576" y="697"/>
                  </a:lnTo>
                  <a:lnTo>
                    <a:pt x="6457" y="625"/>
                  </a:lnTo>
                  <a:lnTo>
                    <a:pt x="6274" y="691"/>
                  </a:lnTo>
                  <a:lnTo>
                    <a:pt x="6186" y="787"/>
                  </a:lnTo>
                  <a:lnTo>
                    <a:pt x="6076" y="751"/>
                  </a:lnTo>
                  <a:lnTo>
                    <a:pt x="5961" y="852"/>
                  </a:lnTo>
                  <a:lnTo>
                    <a:pt x="5821" y="772"/>
                  </a:lnTo>
                  <a:lnTo>
                    <a:pt x="5670" y="805"/>
                  </a:lnTo>
                  <a:lnTo>
                    <a:pt x="5497" y="865"/>
                  </a:lnTo>
                  <a:lnTo>
                    <a:pt x="5464" y="772"/>
                  </a:lnTo>
                  <a:lnTo>
                    <a:pt x="5361" y="810"/>
                  </a:lnTo>
                  <a:lnTo>
                    <a:pt x="5346" y="915"/>
                  </a:lnTo>
                  <a:lnTo>
                    <a:pt x="5214" y="988"/>
                  </a:lnTo>
                  <a:lnTo>
                    <a:pt x="4881" y="922"/>
                  </a:lnTo>
                  <a:lnTo>
                    <a:pt x="4593" y="883"/>
                  </a:lnTo>
                  <a:lnTo>
                    <a:pt x="4534" y="988"/>
                  </a:lnTo>
                  <a:lnTo>
                    <a:pt x="4524" y="1299"/>
                  </a:lnTo>
                  <a:lnTo>
                    <a:pt x="4342" y="1216"/>
                  </a:lnTo>
                  <a:lnTo>
                    <a:pt x="4236" y="1386"/>
                  </a:lnTo>
                  <a:lnTo>
                    <a:pt x="4027" y="1410"/>
                  </a:lnTo>
                  <a:lnTo>
                    <a:pt x="3816" y="1348"/>
                  </a:lnTo>
                  <a:lnTo>
                    <a:pt x="3667" y="1228"/>
                  </a:lnTo>
                  <a:lnTo>
                    <a:pt x="3495" y="1330"/>
                  </a:lnTo>
                  <a:lnTo>
                    <a:pt x="3381" y="1305"/>
                  </a:lnTo>
                  <a:lnTo>
                    <a:pt x="3180" y="1402"/>
                  </a:lnTo>
                  <a:lnTo>
                    <a:pt x="3081" y="1543"/>
                  </a:lnTo>
                  <a:lnTo>
                    <a:pt x="2962" y="1651"/>
                  </a:lnTo>
                  <a:lnTo>
                    <a:pt x="2917" y="1798"/>
                  </a:lnTo>
                  <a:lnTo>
                    <a:pt x="2734" y="1795"/>
                  </a:lnTo>
                  <a:lnTo>
                    <a:pt x="2572" y="1927"/>
                  </a:lnTo>
                  <a:lnTo>
                    <a:pt x="2458" y="1813"/>
                  </a:lnTo>
                  <a:lnTo>
                    <a:pt x="2253" y="1815"/>
                  </a:lnTo>
                  <a:lnTo>
                    <a:pt x="2146" y="1912"/>
                  </a:lnTo>
                  <a:lnTo>
                    <a:pt x="1939" y="1869"/>
                  </a:lnTo>
                  <a:lnTo>
                    <a:pt x="1806" y="1917"/>
                  </a:lnTo>
                  <a:lnTo>
                    <a:pt x="1635" y="1911"/>
                  </a:lnTo>
                  <a:lnTo>
                    <a:pt x="1458" y="1944"/>
                  </a:lnTo>
                  <a:lnTo>
                    <a:pt x="1461" y="2142"/>
                  </a:lnTo>
                  <a:lnTo>
                    <a:pt x="1536" y="2161"/>
                  </a:lnTo>
                  <a:lnTo>
                    <a:pt x="1656" y="2290"/>
                  </a:lnTo>
                  <a:lnTo>
                    <a:pt x="1656" y="2425"/>
                  </a:lnTo>
                  <a:lnTo>
                    <a:pt x="1621" y="2590"/>
                  </a:lnTo>
                  <a:lnTo>
                    <a:pt x="1504" y="2662"/>
                  </a:lnTo>
                  <a:lnTo>
                    <a:pt x="1521" y="2758"/>
                  </a:lnTo>
                  <a:lnTo>
                    <a:pt x="1422" y="2785"/>
                  </a:lnTo>
                  <a:lnTo>
                    <a:pt x="1318" y="2770"/>
                  </a:lnTo>
                  <a:lnTo>
                    <a:pt x="1216" y="2833"/>
                  </a:lnTo>
                  <a:lnTo>
                    <a:pt x="1149" y="3067"/>
                  </a:lnTo>
                  <a:lnTo>
                    <a:pt x="1048" y="3217"/>
                  </a:lnTo>
                  <a:lnTo>
                    <a:pt x="991" y="3406"/>
                  </a:lnTo>
                  <a:lnTo>
                    <a:pt x="1020" y="3547"/>
                  </a:lnTo>
                  <a:lnTo>
                    <a:pt x="892" y="3640"/>
                  </a:lnTo>
                  <a:lnTo>
                    <a:pt x="586" y="3658"/>
                  </a:lnTo>
                  <a:lnTo>
                    <a:pt x="496" y="3778"/>
                  </a:lnTo>
                  <a:lnTo>
                    <a:pt x="396" y="3781"/>
                  </a:lnTo>
                  <a:lnTo>
                    <a:pt x="366" y="3835"/>
                  </a:lnTo>
                  <a:lnTo>
                    <a:pt x="405" y="3967"/>
                  </a:lnTo>
                  <a:lnTo>
                    <a:pt x="495" y="4078"/>
                  </a:lnTo>
                  <a:lnTo>
                    <a:pt x="553" y="4222"/>
                  </a:lnTo>
                  <a:lnTo>
                    <a:pt x="484" y="4255"/>
                  </a:lnTo>
                  <a:lnTo>
                    <a:pt x="423" y="4198"/>
                  </a:lnTo>
                  <a:lnTo>
                    <a:pt x="346" y="4198"/>
                  </a:lnTo>
                  <a:lnTo>
                    <a:pt x="379" y="4380"/>
                  </a:lnTo>
                  <a:lnTo>
                    <a:pt x="0" y="4672"/>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290" name="CustomShape 6"/>
            <p:cNvSpPr/>
            <p:nvPr/>
          </p:nvSpPr>
          <p:spPr>
            <a:xfrm>
              <a:off x="1806840" y="3116880"/>
              <a:ext cx="195480" cy="279720"/>
            </a:xfrm>
            <a:custGeom>
              <a:avLst/>
              <a:gdLst/>
              <a:ahLst/>
              <a:cxnLst/>
              <a:rect l="l" t="t" r="r" b="b"/>
              <a:pathLst>
                <a:path w="150" h="214">
                  <a:moveTo>
                    <a:pt x="144" y="214"/>
                  </a:moveTo>
                  <a:lnTo>
                    <a:pt x="117" y="187"/>
                  </a:lnTo>
                  <a:lnTo>
                    <a:pt x="98" y="177"/>
                  </a:lnTo>
                  <a:lnTo>
                    <a:pt x="80" y="166"/>
                  </a:lnTo>
                  <a:lnTo>
                    <a:pt x="63" y="147"/>
                  </a:lnTo>
                  <a:lnTo>
                    <a:pt x="57" y="105"/>
                  </a:lnTo>
                  <a:lnTo>
                    <a:pt x="35" y="99"/>
                  </a:lnTo>
                  <a:lnTo>
                    <a:pt x="21" y="73"/>
                  </a:lnTo>
                  <a:lnTo>
                    <a:pt x="15" y="51"/>
                  </a:lnTo>
                  <a:lnTo>
                    <a:pt x="0" y="45"/>
                  </a:lnTo>
                  <a:lnTo>
                    <a:pt x="0" y="7"/>
                  </a:lnTo>
                  <a:lnTo>
                    <a:pt x="44" y="9"/>
                  </a:lnTo>
                  <a:lnTo>
                    <a:pt x="71" y="0"/>
                  </a:lnTo>
                  <a:lnTo>
                    <a:pt x="95" y="15"/>
                  </a:lnTo>
                  <a:lnTo>
                    <a:pt x="102" y="45"/>
                  </a:lnTo>
                  <a:lnTo>
                    <a:pt x="66" y="57"/>
                  </a:lnTo>
                  <a:lnTo>
                    <a:pt x="68" y="93"/>
                  </a:lnTo>
                  <a:lnTo>
                    <a:pt x="92" y="145"/>
                  </a:lnTo>
                  <a:lnTo>
                    <a:pt x="108" y="159"/>
                  </a:lnTo>
                  <a:lnTo>
                    <a:pt x="125" y="169"/>
                  </a:lnTo>
                  <a:lnTo>
                    <a:pt x="137" y="163"/>
                  </a:lnTo>
                  <a:lnTo>
                    <a:pt x="150" y="183"/>
                  </a:lnTo>
                  <a:lnTo>
                    <a:pt x="144" y="214"/>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291" name="CustomShape 7"/>
            <p:cNvSpPr/>
            <p:nvPr/>
          </p:nvSpPr>
          <p:spPr>
            <a:xfrm>
              <a:off x="2075760" y="3896640"/>
              <a:ext cx="213840" cy="249480"/>
            </a:xfrm>
            <a:custGeom>
              <a:avLst/>
              <a:gdLst/>
              <a:ahLst/>
              <a:cxnLst/>
              <a:rect l="l" t="t" r="r" b="b"/>
              <a:pathLst>
                <a:path w="164" h="191">
                  <a:moveTo>
                    <a:pt x="138" y="189"/>
                  </a:moveTo>
                  <a:lnTo>
                    <a:pt x="159" y="191"/>
                  </a:lnTo>
                  <a:lnTo>
                    <a:pt x="164" y="162"/>
                  </a:lnTo>
                  <a:lnTo>
                    <a:pt x="135" y="117"/>
                  </a:lnTo>
                  <a:lnTo>
                    <a:pt x="136" y="91"/>
                  </a:lnTo>
                  <a:lnTo>
                    <a:pt x="128" y="95"/>
                  </a:lnTo>
                  <a:lnTo>
                    <a:pt x="108" y="105"/>
                  </a:lnTo>
                  <a:lnTo>
                    <a:pt x="98" y="78"/>
                  </a:lnTo>
                  <a:lnTo>
                    <a:pt x="102" y="33"/>
                  </a:lnTo>
                  <a:lnTo>
                    <a:pt x="92" y="18"/>
                  </a:lnTo>
                  <a:lnTo>
                    <a:pt x="91" y="0"/>
                  </a:lnTo>
                  <a:lnTo>
                    <a:pt x="80" y="6"/>
                  </a:lnTo>
                  <a:lnTo>
                    <a:pt x="71" y="21"/>
                  </a:lnTo>
                  <a:lnTo>
                    <a:pt x="78" y="39"/>
                  </a:lnTo>
                  <a:lnTo>
                    <a:pt x="53" y="75"/>
                  </a:lnTo>
                  <a:lnTo>
                    <a:pt x="44" y="36"/>
                  </a:lnTo>
                  <a:lnTo>
                    <a:pt x="14" y="44"/>
                  </a:lnTo>
                  <a:lnTo>
                    <a:pt x="17" y="81"/>
                  </a:lnTo>
                  <a:lnTo>
                    <a:pt x="11" y="99"/>
                  </a:lnTo>
                  <a:lnTo>
                    <a:pt x="11" y="116"/>
                  </a:lnTo>
                  <a:lnTo>
                    <a:pt x="0" y="136"/>
                  </a:lnTo>
                  <a:lnTo>
                    <a:pt x="21" y="152"/>
                  </a:lnTo>
                  <a:lnTo>
                    <a:pt x="45" y="136"/>
                  </a:lnTo>
                  <a:lnTo>
                    <a:pt x="39" y="113"/>
                  </a:lnTo>
                  <a:lnTo>
                    <a:pt x="33" y="95"/>
                  </a:lnTo>
                  <a:cubicBezTo>
                    <a:pt x="35" y="96"/>
                    <a:pt x="47" y="89"/>
                    <a:pt x="51" y="101"/>
                  </a:cubicBezTo>
                  <a:cubicBezTo>
                    <a:pt x="55" y="113"/>
                    <a:pt x="55" y="153"/>
                    <a:pt x="60" y="165"/>
                  </a:cubicBezTo>
                  <a:lnTo>
                    <a:pt x="80" y="173"/>
                  </a:lnTo>
                  <a:lnTo>
                    <a:pt x="93" y="164"/>
                  </a:lnTo>
                  <a:lnTo>
                    <a:pt x="116" y="167"/>
                  </a:lnTo>
                  <a:lnTo>
                    <a:pt x="138" y="189"/>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292" name="CustomShape 8"/>
            <p:cNvSpPr/>
            <p:nvPr/>
          </p:nvSpPr>
          <p:spPr>
            <a:xfrm>
              <a:off x="2189160" y="3687120"/>
              <a:ext cx="81000" cy="127080"/>
            </a:xfrm>
            <a:custGeom>
              <a:avLst/>
              <a:gdLst/>
              <a:ahLst/>
              <a:cxnLst/>
              <a:rect l="l" t="t" r="r" b="b"/>
              <a:pathLst>
                <a:path w="63" h="98">
                  <a:moveTo>
                    <a:pt x="63" y="12"/>
                  </a:moveTo>
                  <a:lnTo>
                    <a:pt x="39" y="0"/>
                  </a:lnTo>
                  <a:lnTo>
                    <a:pt x="12" y="20"/>
                  </a:lnTo>
                  <a:lnTo>
                    <a:pt x="5" y="68"/>
                  </a:lnTo>
                  <a:lnTo>
                    <a:pt x="0" y="98"/>
                  </a:lnTo>
                  <a:lnTo>
                    <a:pt x="43" y="98"/>
                  </a:lnTo>
                  <a:lnTo>
                    <a:pt x="48" y="62"/>
                  </a:lnTo>
                  <a:lnTo>
                    <a:pt x="61" y="47"/>
                  </a:lnTo>
                  <a:lnTo>
                    <a:pt x="63" y="12"/>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293" name="CustomShape 9"/>
            <p:cNvSpPr/>
            <p:nvPr/>
          </p:nvSpPr>
          <p:spPr>
            <a:xfrm>
              <a:off x="2206080" y="4220640"/>
              <a:ext cx="167760" cy="170280"/>
            </a:xfrm>
            <a:custGeom>
              <a:avLst/>
              <a:gdLst/>
              <a:ahLst/>
              <a:cxnLst/>
              <a:rect l="l" t="t" r="r" b="b"/>
              <a:pathLst>
                <a:path w="129" h="131">
                  <a:moveTo>
                    <a:pt x="72" y="131"/>
                  </a:moveTo>
                  <a:lnTo>
                    <a:pt x="54" y="113"/>
                  </a:lnTo>
                  <a:lnTo>
                    <a:pt x="30" y="86"/>
                  </a:lnTo>
                  <a:lnTo>
                    <a:pt x="15" y="68"/>
                  </a:lnTo>
                  <a:lnTo>
                    <a:pt x="11" y="48"/>
                  </a:lnTo>
                  <a:lnTo>
                    <a:pt x="0" y="17"/>
                  </a:lnTo>
                  <a:lnTo>
                    <a:pt x="21" y="0"/>
                  </a:lnTo>
                  <a:lnTo>
                    <a:pt x="39" y="26"/>
                  </a:lnTo>
                  <a:lnTo>
                    <a:pt x="57" y="41"/>
                  </a:lnTo>
                  <a:lnTo>
                    <a:pt x="77" y="38"/>
                  </a:lnTo>
                  <a:lnTo>
                    <a:pt x="98" y="54"/>
                  </a:lnTo>
                  <a:lnTo>
                    <a:pt x="120" y="56"/>
                  </a:lnTo>
                  <a:lnTo>
                    <a:pt x="120" y="75"/>
                  </a:lnTo>
                  <a:lnTo>
                    <a:pt x="129" y="104"/>
                  </a:lnTo>
                  <a:lnTo>
                    <a:pt x="86" y="89"/>
                  </a:lnTo>
                  <a:lnTo>
                    <a:pt x="71" y="105"/>
                  </a:lnTo>
                  <a:lnTo>
                    <a:pt x="81" y="117"/>
                  </a:lnTo>
                  <a:lnTo>
                    <a:pt x="72" y="131"/>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294" name="CustomShape 10"/>
            <p:cNvSpPr/>
            <p:nvPr/>
          </p:nvSpPr>
          <p:spPr>
            <a:xfrm>
              <a:off x="3509280" y="5536800"/>
              <a:ext cx="1290240" cy="436680"/>
            </a:xfrm>
            <a:custGeom>
              <a:avLst/>
              <a:gdLst/>
              <a:ahLst/>
              <a:cxnLst/>
              <a:rect l="l" t="t" r="r" b="b"/>
              <a:pathLst>
                <a:path w="4905" h="1666">
                  <a:moveTo>
                    <a:pt x="141" y="987"/>
                  </a:moveTo>
                  <a:lnTo>
                    <a:pt x="0" y="802"/>
                  </a:lnTo>
                  <a:lnTo>
                    <a:pt x="75" y="504"/>
                  </a:lnTo>
                  <a:lnTo>
                    <a:pt x="76" y="268"/>
                  </a:lnTo>
                  <a:lnTo>
                    <a:pt x="151" y="147"/>
                  </a:lnTo>
                  <a:lnTo>
                    <a:pt x="217" y="345"/>
                  </a:lnTo>
                  <a:lnTo>
                    <a:pt x="276" y="400"/>
                  </a:lnTo>
                  <a:lnTo>
                    <a:pt x="376" y="390"/>
                  </a:lnTo>
                  <a:lnTo>
                    <a:pt x="322" y="195"/>
                  </a:lnTo>
                  <a:lnTo>
                    <a:pt x="349" y="25"/>
                  </a:lnTo>
                  <a:lnTo>
                    <a:pt x="465" y="0"/>
                  </a:lnTo>
                  <a:lnTo>
                    <a:pt x="481" y="267"/>
                  </a:lnTo>
                  <a:lnTo>
                    <a:pt x="558" y="346"/>
                  </a:lnTo>
                  <a:lnTo>
                    <a:pt x="822" y="360"/>
                  </a:lnTo>
                  <a:lnTo>
                    <a:pt x="967" y="315"/>
                  </a:lnTo>
                  <a:lnTo>
                    <a:pt x="1011" y="226"/>
                  </a:lnTo>
                  <a:lnTo>
                    <a:pt x="1174" y="205"/>
                  </a:lnTo>
                  <a:lnTo>
                    <a:pt x="1230" y="297"/>
                  </a:lnTo>
                  <a:lnTo>
                    <a:pt x="1173" y="387"/>
                  </a:lnTo>
                  <a:lnTo>
                    <a:pt x="1008" y="400"/>
                  </a:lnTo>
                  <a:lnTo>
                    <a:pt x="1191" y="511"/>
                  </a:lnTo>
                  <a:lnTo>
                    <a:pt x="1281" y="466"/>
                  </a:lnTo>
                  <a:lnTo>
                    <a:pt x="1311" y="492"/>
                  </a:lnTo>
                  <a:lnTo>
                    <a:pt x="1321" y="658"/>
                  </a:lnTo>
                  <a:lnTo>
                    <a:pt x="1395" y="721"/>
                  </a:lnTo>
                  <a:lnTo>
                    <a:pt x="1464" y="699"/>
                  </a:lnTo>
                  <a:lnTo>
                    <a:pt x="1741" y="687"/>
                  </a:lnTo>
                  <a:lnTo>
                    <a:pt x="1894" y="631"/>
                  </a:lnTo>
                  <a:lnTo>
                    <a:pt x="2191" y="580"/>
                  </a:lnTo>
                  <a:lnTo>
                    <a:pt x="2305" y="600"/>
                  </a:lnTo>
                  <a:lnTo>
                    <a:pt x="2491" y="601"/>
                  </a:lnTo>
                  <a:lnTo>
                    <a:pt x="2691" y="610"/>
                  </a:lnTo>
                  <a:lnTo>
                    <a:pt x="2737" y="721"/>
                  </a:lnTo>
                  <a:lnTo>
                    <a:pt x="2914" y="753"/>
                  </a:lnTo>
                  <a:lnTo>
                    <a:pt x="3291" y="736"/>
                  </a:lnTo>
                  <a:lnTo>
                    <a:pt x="3382" y="840"/>
                  </a:lnTo>
                  <a:lnTo>
                    <a:pt x="3547" y="826"/>
                  </a:lnTo>
                  <a:lnTo>
                    <a:pt x="3706" y="790"/>
                  </a:lnTo>
                  <a:lnTo>
                    <a:pt x="3786" y="702"/>
                  </a:lnTo>
                  <a:lnTo>
                    <a:pt x="3907" y="717"/>
                  </a:lnTo>
                  <a:lnTo>
                    <a:pt x="3907" y="871"/>
                  </a:lnTo>
                  <a:lnTo>
                    <a:pt x="3931" y="1021"/>
                  </a:lnTo>
                  <a:lnTo>
                    <a:pt x="3901" y="1170"/>
                  </a:lnTo>
                  <a:lnTo>
                    <a:pt x="3978" y="1195"/>
                  </a:lnTo>
                  <a:lnTo>
                    <a:pt x="4059" y="1210"/>
                  </a:lnTo>
                  <a:lnTo>
                    <a:pt x="4188" y="1113"/>
                  </a:lnTo>
                  <a:lnTo>
                    <a:pt x="4311" y="1032"/>
                  </a:lnTo>
                  <a:lnTo>
                    <a:pt x="4321" y="873"/>
                  </a:lnTo>
                  <a:lnTo>
                    <a:pt x="4540" y="1032"/>
                  </a:lnTo>
                  <a:lnTo>
                    <a:pt x="4876" y="822"/>
                  </a:lnTo>
                  <a:lnTo>
                    <a:pt x="4905" y="1200"/>
                  </a:lnTo>
                  <a:lnTo>
                    <a:pt x="4807" y="1392"/>
                  </a:lnTo>
                  <a:lnTo>
                    <a:pt x="3951" y="1464"/>
                  </a:lnTo>
                  <a:lnTo>
                    <a:pt x="3631" y="1488"/>
                  </a:lnTo>
                  <a:lnTo>
                    <a:pt x="3319" y="1495"/>
                  </a:lnTo>
                  <a:lnTo>
                    <a:pt x="3178" y="1533"/>
                  </a:lnTo>
                  <a:lnTo>
                    <a:pt x="2926" y="1572"/>
                  </a:lnTo>
                  <a:lnTo>
                    <a:pt x="2811" y="1636"/>
                  </a:lnTo>
                  <a:lnTo>
                    <a:pt x="2466" y="1650"/>
                  </a:lnTo>
                  <a:lnTo>
                    <a:pt x="2359" y="1588"/>
                  </a:lnTo>
                  <a:lnTo>
                    <a:pt x="2271" y="1666"/>
                  </a:lnTo>
                  <a:lnTo>
                    <a:pt x="2182" y="1609"/>
                  </a:lnTo>
                  <a:lnTo>
                    <a:pt x="2191" y="1420"/>
                  </a:lnTo>
                  <a:lnTo>
                    <a:pt x="2113" y="1263"/>
                  </a:lnTo>
                  <a:lnTo>
                    <a:pt x="1881" y="1291"/>
                  </a:lnTo>
                  <a:lnTo>
                    <a:pt x="1773" y="1171"/>
                  </a:lnTo>
                  <a:lnTo>
                    <a:pt x="1579" y="1138"/>
                  </a:lnTo>
                  <a:lnTo>
                    <a:pt x="1351" y="1047"/>
                  </a:lnTo>
                  <a:lnTo>
                    <a:pt x="1141" y="1030"/>
                  </a:lnTo>
                  <a:lnTo>
                    <a:pt x="979" y="1051"/>
                  </a:lnTo>
                  <a:lnTo>
                    <a:pt x="850" y="1017"/>
                  </a:lnTo>
                  <a:lnTo>
                    <a:pt x="637" y="975"/>
                  </a:lnTo>
                  <a:lnTo>
                    <a:pt x="457" y="960"/>
                  </a:lnTo>
                  <a:lnTo>
                    <a:pt x="141" y="987"/>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295" name="CustomShape 11"/>
            <p:cNvSpPr/>
            <p:nvPr/>
          </p:nvSpPr>
          <p:spPr>
            <a:xfrm>
              <a:off x="3216600" y="5124600"/>
              <a:ext cx="113760" cy="144000"/>
            </a:xfrm>
            <a:custGeom>
              <a:avLst/>
              <a:gdLst/>
              <a:ahLst/>
              <a:cxnLst/>
              <a:rect l="l" t="t" r="r" b="b"/>
              <a:pathLst>
                <a:path w="88" h="111">
                  <a:moveTo>
                    <a:pt x="41" y="111"/>
                  </a:moveTo>
                  <a:lnTo>
                    <a:pt x="13" y="82"/>
                  </a:lnTo>
                  <a:lnTo>
                    <a:pt x="16" y="52"/>
                  </a:lnTo>
                  <a:lnTo>
                    <a:pt x="0" y="27"/>
                  </a:lnTo>
                  <a:lnTo>
                    <a:pt x="19" y="0"/>
                  </a:lnTo>
                  <a:lnTo>
                    <a:pt x="34" y="18"/>
                  </a:lnTo>
                  <a:lnTo>
                    <a:pt x="51" y="43"/>
                  </a:lnTo>
                  <a:lnTo>
                    <a:pt x="78" y="60"/>
                  </a:lnTo>
                  <a:lnTo>
                    <a:pt x="88" y="75"/>
                  </a:lnTo>
                  <a:lnTo>
                    <a:pt x="58" y="78"/>
                  </a:lnTo>
                  <a:lnTo>
                    <a:pt x="67" y="111"/>
                  </a:lnTo>
                  <a:lnTo>
                    <a:pt x="41" y="111"/>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296" name="CustomShape 12"/>
            <p:cNvSpPr/>
            <p:nvPr/>
          </p:nvSpPr>
          <p:spPr>
            <a:xfrm>
              <a:off x="4897800" y="4299840"/>
              <a:ext cx="219240" cy="112320"/>
            </a:xfrm>
            <a:custGeom>
              <a:avLst/>
              <a:gdLst/>
              <a:ahLst/>
              <a:cxnLst/>
              <a:rect l="l" t="t" r="r" b="b"/>
              <a:pathLst>
                <a:path w="168" h="87">
                  <a:moveTo>
                    <a:pt x="98" y="87"/>
                  </a:moveTo>
                  <a:lnTo>
                    <a:pt x="57" y="48"/>
                  </a:lnTo>
                  <a:lnTo>
                    <a:pt x="35" y="51"/>
                  </a:lnTo>
                  <a:lnTo>
                    <a:pt x="9" y="65"/>
                  </a:lnTo>
                  <a:lnTo>
                    <a:pt x="0" y="38"/>
                  </a:lnTo>
                  <a:lnTo>
                    <a:pt x="39" y="3"/>
                  </a:lnTo>
                  <a:lnTo>
                    <a:pt x="74" y="0"/>
                  </a:lnTo>
                  <a:lnTo>
                    <a:pt x="80" y="11"/>
                  </a:lnTo>
                  <a:lnTo>
                    <a:pt x="101" y="3"/>
                  </a:lnTo>
                  <a:lnTo>
                    <a:pt x="131" y="21"/>
                  </a:lnTo>
                  <a:lnTo>
                    <a:pt x="168" y="24"/>
                  </a:lnTo>
                  <a:lnTo>
                    <a:pt x="144" y="50"/>
                  </a:lnTo>
                  <a:lnTo>
                    <a:pt x="98" y="87"/>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297" name="CustomShape 13"/>
            <p:cNvSpPr/>
            <p:nvPr/>
          </p:nvSpPr>
          <p:spPr>
            <a:xfrm>
              <a:off x="4631760" y="4382640"/>
              <a:ext cx="173160" cy="108360"/>
            </a:xfrm>
            <a:custGeom>
              <a:avLst/>
              <a:gdLst/>
              <a:ahLst/>
              <a:cxnLst/>
              <a:rect l="l" t="t" r="r" b="b"/>
              <a:pathLst>
                <a:path w="133" h="84">
                  <a:moveTo>
                    <a:pt x="10" y="84"/>
                  </a:moveTo>
                  <a:lnTo>
                    <a:pt x="0" y="63"/>
                  </a:lnTo>
                  <a:lnTo>
                    <a:pt x="34" y="21"/>
                  </a:lnTo>
                  <a:lnTo>
                    <a:pt x="81" y="21"/>
                  </a:lnTo>
                  <a:lnTo>
                    <a:pt x="106" y="0"/>
                  </a:lnTo>
                  <a:lnTo>
                    <a:pt x="133" y="0"/>
                  </a:lnTo>
                  <a:lnTo>
                    <a:pt x="112" y="26"/>
                  </a:lnTo>
                  <a:lnTo>
                    <a:pt x="101" y="39"/>
                  </a:lnTo>
                  <a:lnTo>
                    <a:pt x="75" y="57"/>
                  </a:lnTo>
                  <a:lnTo>
                    <a:pt x="49" y="56"/>
                  </a:lnTo>
                  <a:lnTo>
                    <a:pt x="10" y="84"/>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298" name="CustomShape 14"/>
            <p:cNvSpPr/>
            <p:nvPr/>
          </p:nvSpPr>
          <p:spPr>
            <a:xfrm>
              <a:off x="5435280" y="5077080"/>
              <a:ext cx="253440" cy="311400"/>
            </a:xfrm>
            <a:custGeom>
              <a:avLst/>
              <a:gdLst/>
              <a:ahLst/>
              <a:cxnLst/>
              <a:rect l="l" t="t" r="r" b="b"/>
              <a:pathLst>
                <a:path w="194" h="238">
                  <a:moveTo>
                    <a:pt x="9" y="234"/>
                  </a:moveTo>
                  <a:lnTo>
                    <a:pt x="44" y="238"/>
                  </a:lnTo>
                  <a:lnTo>
                    <a:pt x="78" y="199"/>
                  </a:lnTo>
                  <a:lnTo>
                    <a:pt x="87" y="180"/>
                  </a:lnTo>
                  <a:lnTo>
                    <a:pt x="120" y="166"/>
                  </a:lnTo>
                  <a:lnTo>
                    <a:pt x="143" y="169"/>
                  </a:lnTo>
                  <a:lnTo>
                    <a:pt x="138" y="144"/>
                  </a:lnTo>
                  <a:lnTo>
                    <a:pt x="138" y="124"/>
                  </a:lnTo>
                  <a:lnTo>
                    <a:pt x="158" y="108"/>
                  </a:lnTo>
                  <a:lnTo>
                    <a:pt x="194" y="0"/>
                  </a:lnTo>
                  <a:lnTo>
                    <a:pt x="162" y="3"/>
                  </a:lnTo>
                  <a:lnTo>
                    <a:pt x="116" y="22"/>
                  </a:lnTo>
                  <a:lnTo>
                    <a:pt x="36" y="79"/>
                  </a:lnTo>
                  <a:lnTo>
                    <a:pt x="26" y="109"/>
                  </a:lnTo>
                  <a:lnTo>
                    <a:pt x="0" y="126"/>
                  </a:lnTo>
                  <a:lnTo>
                    <a:pt x="21" y="162"/>
                  </a:lnTo>
                  <a:lnTo>
                    <a:pt x="23" y="192"/>
                  </a:lnTo>
                  <a:lnTo>
                    <a:pt x="9" y="234"/>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299" name="CustomShape 15"/>
            <p:cNvSpPr/>
            <p:nvPr/>
          </p:nvSpPr>
          <p:spPr>
            <a:xfrm>
              <a:off x="5153400" y="5448600"/>
              <a:ext cx="92520" cy="235080"/>
            </a:xfrm>
            <a:custGeom>
              <a:avLst/>
              <a:gdLst/>
              <a:ahLst/>
              <a:cxnLst/>
              <a:rect l="l" t="t" r="r" b="b"/>
              <a:pathLst>
                <a:path w="72" h="180">
                  <a:moveTo>
                    <a:pt x="24" y="180"/>
                  </a:moveTo>
                  <a:lnTo>
                    <a:pt x="6" y="165"/>
                  </a:lnTo>
                  <a:lnTo>
                    <a:pt x="16" y="145"/>
                  </a:lnTo>
                  <a:lnTo>
                    <a:pt x="12" y="117"/>
                  </a:lnTo>
                  <a:lnTo>
                    <a:pt x="0" y="99"/>
                  </a:lnTo>
                  <a:lnTo>
                    <a:pt x="6" y="87"/>
                  </a:lnTo>
                  <a:lnTo>
                    <a:pt x="22" y="78"/>
                  </a:lnTo>
                  <a:lnTo>
                    <a:pt x="18" y="60"/>
                  </a:lnTo>
                  <a:lnTo>
                    <a:pt x="31" y="37"/>
                  </a:lnTo>
                  <a:lnTo>
                    <a:pt x="28" y="4"/>
                  </a:lnTo>
                  <a:lnTo>
                    <a:pt x="55" y="0"/>
                  </a:lnTo>
                  <a:lnTo>
                    <a:pt x="51" y="21"/>
                  </a:lnTo>
                  <a:lnTo>
                    <a:pt x="52" y="37"/>
                  </a:lnTo>
                  <a:lnTo>
                    <a:pt x="33" y="78"/>
                  </a:lnTo>
                  <a:lnTo>
                    <a:pt x="61" y="117"/>
                  </a:lnTo>
                  <a:lnTo>
                    <a:pt x="46" y="127"/>
                  </a:lnTo>
                  <a:lnTo>
                    <a:pt x="66" y="133"/>
                  </a:lnTo>
                  <a:lnTo>
                    <a:pt x="72" y="148"/>
                  </a:lnTo>
                  <a:lnTo>
                    <a:pt x="48" y="150"/>
                  </a:lnTo>
                  <a:lnTo>
                    <a:pt x="40" y="172"/>
                  </a:lnTo>
                  <a:lnTo>
                    <a:pt x="24" y="180"/>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00" name="CustomShape 16"/>
            <p:cNvSpPr/>
            <p:nvPr/>
          </p:nvSpPr>
          <p:spPr>
            <a:xfrm>
              <a:off x="5075640" y="4821480"/>
              <a:ext cx="199440" cy="136080"/>
            </a:xfrm>
            <a:custGeom>
              <a:avLst/>
              <a:gdLst/>
              <a:ahLst/>
              <a:cxnLst/>
              <a:rect l="l" t="t" r="r" b="b"/>
              <a:pathLst>
                <a:path w="153" h="105">
                  <a:moveTo>
                    <a:pt x="153" y="23"/>
                  </a:moveTo>
                  <a:lnTo>
                    <a:pt x="120" y="0"/>
                  </a:lnTo>
                  <a:lnTo>
                    <a:pt x="87" y="12"/>
                  </a:lnTo>
                  <a:lnTo>
                    <a:pt x="41" y="36"/>
                  </a:lnTo>
                  <a:lnTo>
                    <a:pt x="26" y="54"/>
                  </a:lnTo>
                  <a:lnTo>
                    <a:pt x="6" y="62"/>
                  </a:lnTo>
                  <a:lnTo>
                    <a:pt x="0" y="72"/>
                  </a:lnTo>
                  <a:lnTo>
                    <a:pt x="0" y="96"/>
                  </a:lnTo>
                  <a:lnTo>
                    <a:pt x="15" y="105"/>
                  </a:lnTo>
                  <a:lnTo>
                    <a:pt x="18" y="84"/>
                  </a:lnTo>
                  <a:lnTo>
                    <a:pt x="42" y="62"/>
                  </a:lnTo>
                  <a:lnTo>
                    <a:pt x="71" y="72"/>
                  </a:lnTo>
                  <a:lnTo>
                    <a:pt x="77" y="57"/>
                  </a:lnTo>
                  <a:lnTo>
                    <a:pt x="104" y="39"/>
                  </a:lnTo>
                  <a:lnTo>
                    <a:pt x="153" y="23"/>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01" name="CustomShape 17"/>
            <p:cNvSpPr/>
            <p:nvPr/>
          </p:nvSpPr>
          <p:spPr>
            <a:xfrm>
              <a:off x="5165280" y="4983480"/>
              <a:ext cx="53280" cy="47880"/>
            </a:xfrm>
            <a:custGeom>
              <a:avLst/>
              <a:gdLst/>
              <a:ahLst/>
              <a:cxnLst/>
              <a:rect l="l" t="t" r="r" b="b"/>
              <a:pathLst>
                <a:path w="42" h="38">
                  <a:moveTo>
                    <a:pt x="13" y="37"/>
                  </a:moveTo>
                  <a:lnTo>
                    <a:pt x="0" y="14"/>
                  </a:lnTo>
                  <a:lnTo>
                    <a:pt x="16" y="0"/>
                  </a:lnTo>
                  <a:lnTo>
                    <a:pt x="34" y="6"/>
                  </a:lnTo>
                  <a:lnTo>
                    <a:pt x="42" y="29"/>
                  </a:lnTo>
                  <a:lnTo>
                    <a:pt x="33" y="38"/>
                  </a:lnTo>
                  <a:lnTo>
                    <a:pt x="13" y="37"/>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02" name="CustomShape 18"/>
            <p:cNvSpPr/>
            <p:nvPr/>
          </p:nvSpPr>
          <p:spPr>
            <a:xfrm>
              <a:off x="5055840" y="4726800"/>
              <a:ext cx="79560" cy="88920"/>
            </a:xfrm>
            <a:custGeom>
              <a:avLst/>
              <a:gdLst/>
              <a:ahLst/>
              <a:cxnLst/>
              <a:rect l="l" t="t" r="r" b="b"/>
              <a:pathLst>
                <a:path w="62" h="69">
                  <a:moveTo>
                    <a:pt x="19" y="68"/>
                  </a:moveTo>
                  <a:lnTo>
                    <a:pt x="6" y="45"/>
                  </a:lnTo>
                  <a:lnTo>
                    <a:pt x="20" y="26"/>
                  </a:lnTo>
                  <a:lnTo>
                    <a:pt x="0" y="0"/>
                  </a:lnTo>
                  <a:lnTo>
                    <a:pt x="26" y="5"/>
                  </a:lnTo>
                  <a:lnTo>
                    <a:pt x="41" y="24"/>
                  </a:lnTo>
                  <a:lnTo>
                    <a:pt x="59" y="32"/>
                  </a:lnTo>
                  <a:lnTo>
                    <a:pt x="62" y="48"/>
                  </a:lnTo>
                  <a:lnTo>
                    <a:pt x="48" y="60"/>
                  </a:lnTo>
                  <a:lnTo>
                    <a:pt x="39" y="69"/>
                  </a:lnTo>
                  <a:lnTo>
                    <a:pt x="19" y="68"/>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03" name="CustomShape 19"/>
            <p:cNvSpPr/>
            <p:nvPr/>
          </p:nvSpPr>
          <p:spPr>
            <a:xfrm>
              <a:off x="4767120" y="4975560"/>
              <a:ext cx="107280" cy="78120"/>
            </a:xfrm>
            <a:custGeom>
              <a:avLst/>
              <a:gdLst/>
              <a:ahLst/>
              <a:cxnLst/>
              <a:rect l="l" t="t" r="r" b="b"/>
              <a:pathLst>
                <a:path w="83" h="61">
                  <a:moveTo>
                    <a:pt x="13" y="60"/>
                  </a:moveTo>
                  <a:lnTo>
                    <a:pt x="0" y="37"/>
                  </a:lnTo>
                  <a:lnTo>
                    <a:pt x="16" y="23"/>
                  </a:lnTo>
                  <a:lnTo>
                    <a:pt x="36" y="32"/>
                  </a:lnTo>
                  <a:lnTo>
                    <a:pt x="44" y="24"/>
                  </a:lnTo>
                  <a:lnTo>
                    <a:pt x="44" y="3"/>
                  </a:lnTo>
                  <a:lnTo>
                    <a:pt x="62" y="0"/>
                  </a:lnTo>
                  <a:lnTo>
                    <a:pt x="83" y="32"/>
                  </a:lnTo>
                  <a:lnTo>
                    <a:pt x="63" y="39"/>
                  </a:lnTo>
                  <a:lnTo>
                    <a:pt x="38" y="33"/>
                  </a:lnTo>
                  <a:lnTo>
                    <a:pt x="33" y="61"/>
                  </a:lnTo>
                  <a:lnTo>
                    <a:pt x="13" y="60"/>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04" name="CustomShape 20"/>
            <p:cNvSpPr/>
            <p:nvPr/>
          </p:nvSpPr>
          <p:spPr>
            <a:xfrm>
              <a:off x="5468040" y="4971600"/>
              <a:ext cx="53280" cy="69120"/>
            </a:xfrm>
            <a:custGeom>
              <a:avLst/>
              <a:gdLst/>
              <a:ahLst/>
              <a:cxnLst/>
              <a:rect l="l" t="t" r="r" b="b"/>
              <a:pathLst>
                <a:path w="42" h="54">
                  <a:moveTo>
                    <a:pt x="13" y="40"/>
                  </a:moveTo>
                  <a:lnTo>
                    <a:pt x="0" y="17"/>
                  </a:lnTo>
                  <a:lnTo>
                    <a:pt x="19" y="0"/>
                  </a:lnTo>
                  <a:lnTo>
                    <a:pt x="25" y="14"/>
                  </a:lnTo>
                  <a:lnTo>
                    <a:pt x="37" y="9"/>
                  </a:lnTo>
                  <a:lnTo>
                    <a:pt x="42" y="32"/>
                  </a:lnTo>
                  <a:lnTo>
                    <a:pt x="31" y="54"/>
                  </a:lnTo>
                  <a:lnTo>
                    <a:pt x="13" y="40"/>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05" name="CustomShape 21"/>
            <p:cNvSpPr/>
            <p:nvPr/>
          </p:nvSpPr>
          <p:spPr>
            <a:xfrm>
              <a:off x="4999320" y="4659480"/>
              <a:ext cx="54360" cy="53280"/>
            </a:xfrm>
            <a:custGeom>
              <a:avLst/>
              <a:gdLst/>
              <a:ahLst/>
              <a:cxnLst/>
              <a:rect l="l" t="t" r="r" b="b"/>
              <a:pathLst>
                <a:path w="43" h="42">
                  <a:moveTo>
                    <a:pt x="14" y="24"/>
                  </a:moveTo>
                  <a:lnTo>
                    <a:pt x="0" y="15"/>
                  </a:lnTo>
                  <a:lnTo>
                    <a:pt x="1" y="1"/>
                  </a:lnTo>
                  <a:lnTo>
                    <a:pt x="19" y="0"/>
                  </a:lnTo>
                  <a:lnTo>
                    <a:pt x="34" y="5"/>
                  </a:lnTo>
                  <a:lnTo>
                    <a:pt x="43" y="29"/>
                  </a:lnTo>
                  <a:lnTo>
                    <a:pt x="36" y="42"/>
                  </a:lnTo>
                  <a:lnTo>
                    <a:pt x="18" y="38"/>
                  </a:lnTo>
                  <a:lnTo>
                    <a:pt x="14" y="24"/>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06" name="CustomShape 22"/>
            <p:cNvSpPr/>
            <p:nvPr/>
          </p:nvSpPr>
          <p:spPr>
            <a:xfrm>
              <a:off x="5245560" y="5073120"/>
              <a:ext cx="79560" cy="53280"/>
            </a:xfrm>
            <a:custGeom>
              <a:avLst/>
              <a:gdLst/>
              <a:ahLst/>
              <a:cxnLst/>
              <a:rect l="l" t="t" r="r" b="b"/>
              <a:pathLst>
                <a:path w="62" h="42">
                  <a:moveTo>
                    <a:pt x="23" y="21"/>
                  </a:moveTo>
                  <a:lnTo>
                    <a:pt x="0" y="16"/>
                  </a:lnTo>
                  <a:lnTo>
                    <a:pt x="9" y="1"/>
                  </a:lnTo>
                  <a:lnTo>
                    <a:pt x="27" y="0"/>
                  </a:lnTo>
                  <a:lnTo>
                    <a:pt x="45" y="18"/>
                  </a:lnTo>
                  <a:lnTo>
                    <a:pt x="62" y="30"/>
                  </a:lnTo>
                  <a:lnTo>
                    <a:pt x="44" y="42"/>
                  </a:lnTo>
                  <a:lnTo>
                    <a:pt x="27" y="36"/>
                  </a:lnTo>
                  <a:lnTo>
                    <a:pt x="23" y="21"/>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07" name="CustomShape 23"/>
            <p:cNvSpPr/>
            <p:nvPr/>
          </p:nvSpPr>
          <p:spPr>
            <a:xfrm>
              <a:off x="5055840" y="5667120"/>
              <a:ext cx="83520" cy="53280"/>
            </a:xfrm>
            <a:custGeom>
              <a:avLst/>
              <a:gdLst/>
              <a:ahLst/>
              <a:cxnLst/>
              <a:rect l="l" t="t" r="r" b="b"/>
              <a:pathLst>
                <a:path w="65" h="42">
                  <a:moveTo>
                    <a:pt x="18" y="42"/>
                  </a:moveTo>
                  <a:lnTo>
                    <a:pt x="0" y="29"/>
                  </a:lnTo>
                  <a:lnTo>
                    <a:pt x="9" y="14"/>
                  </a:lnTo>
                  <a:lnTo>
                    <a:pt x="27" y="13"/>
                  </a:lnTo>
                  <a:lnTo>
                    <a:pt x="51" y="0"/>
                  </a:lnTo>
                  <a:lnTo>
                    <a:pt x="62" y="6"/>
                  </a:lnTo>
                  <a:lnTo>
                    <a:pt x="65" y="21"/>
                  </a:lnTo>
                  <a:lnTo>
                    <a:pt x="38" y="23"/>
                  </a:lnTo>
                  <a:lnTo>
                    <a:pt x="18" y="42"/>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08" name="CustomShape 24"/>
            <p:cNvSpPr/>
            <p:nvPr/>
          </p:nvSpPr>
          <p:spPr>
            <a:xfrm>
              <a:off x="4345560" y="4659480"/>
              <a:ext cx="119160" cy="174240"/>
            </a:xfrm>
            <a:custGeom>
              <a:avLst/>
              <a:gdLst/>
              <a:ahLst/>
              <a:cxnLst/>
              <a:rect l="l" t="t" r="r" b="b"/>
              <a:pathLst>
                <a:path w="92" h="134">
                  <a:moveTo>
                    <a:pt x="0" y="62"/>
                  </a:moveTo>
                  <a:lnTo>
                    <a:pt x="44" y="24"/>
                  </a:lnTo>
                  <a:lnTo>
                    <a:pt x="61" y="11"/>
                  </a:lnTo>
                  <a:lnTo>
                    <a:pt x="80" y="0"/>
                  </a:lnTo>
                  <a:lnTo>
                    <a:pt x="91" y="17"/>
                  </a:lnTo>
                  <a:lnTo>
                    <a:pt x="92" y="74"/>
                  </a:lnTo>
                  <a:lnTo>
                    <a:pt x="85" y="83"/>
                  </a:lnTo>
                  <a:lnTo>
                    <a:pt x="79" y="110"/>
                  </a:lnTo>
                  <a:lnTo>
                    <a:pt x="34" y="134"/>
                  </a:lnTo>
                  <a:lnTo>
                    <a:pt x="31" y="111"/>
                  </a:lnTo>
                  <a:lnTo>
                    <a:pt x="0" y="62"/>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09" name="CustomShape 25"/>
            <p:cNvSpPr/>
            <p:nvPr/>
          </p:nvSpPr>
          <p:spPr>
            <a:xfrm>
              <a:off x="4171680" y="4382640"/>
              <a:ext cx="135000" cy="96480"/>
            </a:xfrm>
            <a:custGeom>
              <a:avLst/>
              <a:gdLst/>
              <a:ahLst/>
              <a:cxnLst/>
              <a:rect l="l" t="t" r="r" b="b"/>
              <a:pathLst>
                <a:path w="104" h="75">
                  <a:moveTo>
                    <a:pt x="14" y="24"/>
                  </a:moveTo>
                  <a:lnTo>
                    <a:pt x="0" y="15"/>
                  </a:lnTo>
                  <a:lnTo>
                    <a:pt x="1" y="1"/>
                  </a:lnTo>
                  <a:lnTo>
                    <a:pt x="19" y="0"/>
                  </a:lnTo>
                  <a:lnTo>
                    <a:pt x="34" y="5"/>
                  </a:lnTo>
                  <a:lnTo>
                    <a:pt x="49" y="17"/>
                  </a:lnTo>
                  <a:lnTo>
                    <a:pt x="104" y="29"/>
                  </a:lnTo>
                  <a:lnTo>
                    <a:pt x="98" y="75"/>
                  </a:lnTo>
                  <a:lnTo>
                    <a:pt x="71" y="72"/>
                  </a:lnTo>
                  <a:lnTo>
                    <a:pt x="34" y="42"/>
                  </a:lnTo>
                  <a:lnTo>
                    <a:pt x="14" y="24"/>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10" name="CustomShape 26"/>
            <p:cNvSpPr/>
            <p:nvPr/>
          </p:nvSpPr>
          <p:spPr>
            <a:xfrm>
              <a:off x="4055760" y="4200840"/>
              <a:ext cx="128160" cy="174240"/>
            </a:xfrm>
            <a:custGeom>
              <a:avLst/>
              <a:gdLst/>
              <a:ahLst/>
              <a:cxnLst/>
              <a:rect l="l" t="t" r="r" b="b"/>
              <a:pathLst>
                <a:path w="99" h="134">
                  <a:moveTo>
                    <a:pt x="27" y="76"/>
                  </a:moveTo>
                  <a:lnTo>
                    <a:pt x="24" y="59"/>
                  </a:lnTo>
                  <a:lnTo>
                    <a:pt x="2" y="50"/>
                  </a:lnTo>
                  <a:lnTo>
                    <a:pt x="0" y="9"/>
                  </a:lnTo>
                  <a:lnTo>
                    <a:pt x="21" y="0"/>
                  </a:lnTo>
                  <a:lnTo>
                    <a:pt x="45" y="18"/>
                  </a:lnTo>
                  <a:lnTo>
                    <a:pt x="53" y="41"/>
                  </a:lnTo>
                  <a:lnTo>
                    <a:pt x="84" y="51"/>
                  </a:lnTo>
                  <a:lnTo>
                    <a:pt x="90" y="71"/>
                  </a:lnTo>
                  <a:lnTo>
                    <a:pt x="99" y="84"/>
                  </a:lnTo>
                  <a:lnTo>
                    <a:pt x="93" y="101"/>
                  </a:lnTo>
                  <a:lnTo>
                    <a:pt x="96" y="122"/>
                  </a:lnTo>
                  <a:lnTo>
                    <a:pt x="78" y="134"/>
                  </a:lnTo>
                  <a:lnTo>
                    <a:pt x="72" y="111"/>
                  </a:lnTo>
                  <a:lnTo>
                    <a:pt x="53" y="102"/>
                  </a:lnTo>
                  <a:lnTo>
                    <a:pt x="27" y="76"/>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11" name="CustomShape 27"/>
            <p:cNvSpPr/>
            <p:nvPr/>
          </p:nvSpPr>
          <p:spPr>
            <a:xfrm>
              <a:off x="4032000" y="4754160"/>
              <a:ext cx="51840" cy="81000"/>
            </a:xfrm>
            <a:custGeom>
              <a:avLst/>
              <a:gdLst/>
              <a:ahLst/>
              <a:cxnLst/>
              <a:rect l="l" t="t" r="r" b="b"/>
              <a:pathLst>
                <a:path w="41" h="63">
                  <a:moveTo>
                    <a:pt x="6" y="36"/>
                  </a:moveTo>
                  <a:lnTo>
                    <a:pt x="0" y="14"/>
                  </a:lnTo>
                  <a:lnTo>
                    <a:pt x="1" y="0"/>
                  </a:lnTo>
                  <a:lnTo>
                    <a:pt x="23" y="9"/>
                  </a:lnTo>
                  <a:lnTo>
                    <a:pt x="36" y="27"/>
                  </a:lnTo>
                  <a:lnTo>
                    <a:pt x="41" y="51"/>
                  </a:lnTo>
                  <a:lnTo>
                    <a:pt x="18" y="63"/>
                  </a:lnTo>
                  <a:lnTo>
                    <a:pt x="6" y="36"/>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12" name="CustomShape 28"/>
            <p:cNvSpPr/>
            <p:nvPr/>
          </p:nvSpPr>
          <p:spPr>
            <a:xfrm>
              <a:off x="3858120" y="4376160"/>
              <a:ext cx="58320" cy="79560"/>
            </a:xfrm>
            <a:custGeom>
              <a:avLst/>
              <a:gdLst/>
              <a:ahLst/>
              <a:cxnLst/>
              <a:rect l="l" t="t" r="r" b="b"/>
              <a:pathLst>
                <a:path w="46" h="62">
                  <a:moveTo>
                    <a:pt x="8" y="20"/>
                  </a:moveTo>
                  <a:lnTo>
                    <a:pt x="29" y="7"/>
                  </a:lnTo>
                  <a:lnTo>
                    <a:pt x="41" y="0"/>
                  </a:lnTo>
                  <a:lnTo>
                    <a:pt x="46" y="23"/>
                  </a:lnTo>
                  <a:lnTo>
                    <a:pt x="39" y="44"/>
                  </a:lnTo>
                  <a:lnTo>
                    <a:pt x="23" y="62"/>
                  </a:lnTo>
                  <a:lnTo>
                    <a:pt x="0" y="50"/>
                  </a:lnTo>
                  <a:lnTo>
                    <a:pt x="8" y="20"/>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13" name="CustomShape 29"/>
            <p:cNvSpPr/>
            <p:nvPr/>
          </p:nvSpPr>
          <p:spPr>
            <a:xfrm>
              <a:off x="4185000" y="4691160"/>
              <a:ext cx="136080" cy="124200"/>
            </a:xfrm>
            <a:custGeom>
              <a:avLst/>
              <a:gdLst/>
              <a:ahLst/>
              <a:cxnLst/>
              <a:rect l="l" t="t" r="r" b="b"/>
              <a:pathLst>
                <a:path w="105" h="96">
                  <a:moveTo>
                    <a:pt x="55" y="29"/>
                  </a:moveTo>
                  <a:lnTo>
                    <a:pt x="71" y="7"/>
                  </a:lnTo>
                  <a:lnTo>
                    <a:pt x="83" y="0"/>
                  </a:lnTo>
                  <a:lnTo>
                    <a:pt x="93" y="12"/>
                  </a:lnTo>
                  <a:lnTo>
                    <a:pt x="103" y="0"/>
                  </a:lnTo>
                  <a:lnTo>
                    <a:pt x="100" y="30"/>
                  </a:lnTo>
                  <a:lnTo>
                    <a:pt x="105" y="53"/>
                  </a:lnTo>
                  <a:lnTo>
                    <a:pt x="88" y="68"/>
                  </a:lnTo>
                  <a:lnTo>
                    <a:pt x="66" y="77"/>
                  </a:lnTo>
                  <a:lnTo>
                    <a:pt x="40" y="56"/>
                  </a:lnTo>
                  <a:lnTo>
                    <a:pt x="37" y="96"/>
                  </a:lnTo>
                  <a:lnTo>
                    <a:pt x="19" y="80"/>
                  </a:lnTo>
                  <a:lnTo>
                    <a:pt x="0" y="83"/>
                  </a:lnTo>
                  <a:lnTo>
                    <a:pt x="21" y="57"/>
                  </a:lnTo>
                  <a:lnTo>
                    <a:pt x="43" y="57"/>
                  </a:lnTo>
                  <a:lnTo>
                    <a:pt x="55" y="29"/>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14" name="CustomShape 30"/>
            <p:cNvSpPr/>
            <p:nvPr/>
          </p:nvSpPr>
          <p:spPr>
            <a:xfrm>
              <a:off x="3927960" y="4659480"/>
              <a:ext cx="54360" cy="53280"/>
            </a:xfrm>
            <a:custGeom>
              <a:avLst/>
              <a:gdLst/>
              <a:ahLst/>
              <a:cxnLst/>
              <a:rect l="l" t="t" r="r" b="b"/>
              <a:pathLst>
                <a:path w="43" h="42">
                  <a:moveTo>
                    <a:pt x="3" y="36"/>
                  </a:moveTo>
                  <a:lnTo>
                    <a:pt x="0" y="15"/>
                  </a:lnTo>
                  <a:lnTo>
                    <a:pt x="10" y="2"/>
                  </a:lnTo>
                  <a:lnTo>
                    <a:pt x="19" y="0"/>
                  </a:lnTo>
                  <a:lnTo>
                    <a:pt x="34" y="5"/>
                  </a:lnTo>
                  <a:lnTo>
                    <a:pt x="43" y="15"/>
                  </a:lnTo>
                  <a:lnTo>
                    <a:pt x="43" y="29"/>
                  </a:lnTo>
                  <a:lnTo>
                    <a:pt x="36" y="42"/>
                  </a:lnTo>
                  <a:lnTo>
                    <a:pt x="18" y="38"/>
                  </a:lnTo>
                  <a:lnTo>
                    <a:pt x="3" y="36"/>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15" name="CustomShape 31"/>
            <p:cNvSpPr/>
            <p:nvPr/>
          </p:nvSpPr>
          <p:spPr>
            <a:xfrm>
              <a:off x="4332600" y="4489560"/>
              <a:ext cx="81000" cy="51840"/>
            </a:xfrm>
            <a:custGeom>
              <a:avLst/>
              <a:gdLst/>
              <a:ahLst/>
              <a:cxnLst/>
              <a:rect l="l" t="t" r="r" b="b"/>
              <a:pathLst>
                <a:path w="63" h="41">
                  <a:moveTo>
                    <a:pt x="0" y="39"/>
                  </a:moveTo>
                  <a:lnTo>
                    <a:pt x="11" y="21"/>
                  </a:lnTo>
                  <a:lnTo>
                    <a:pt x="3" y="0"/>
                  </a:lnTo>
                  <a:lnTo>
                    <a:pt x="29" y="11"/>
                  </a:lnTo>
                  <a:lnTo>
                    <a:pt x="44" y="8"/>
                  </a:lnTo>
                  <a:lnTo>
                    <a:pt x="63" y="21"/>
                  </a:lnTo>
                  <a:lnTo>
                    <a:pt x="47" y="27"/>
                  </a:lnTo>
                  <a:lnTo>
                    <a:pt x="28" y="41"/>
                  </a:lnTo>
                  <a:lnTo>
                    <a:pt x="0" y="39"/>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16" name="CustomShape 32"/>
            <p:cNvSpPr/>
            <p:nvPr/>
          </p:nvSpPr>
          <p:spPr>
            <a:xfrm>
              <a:off x="4312800" y="4904640"/>
              <a:ext cx="67680" cy="79560"/>
            </a:xfrm>
            <a:custGeom>
              <a:avLst/>
              <a:gdLst/>
              <a:ahLst/>
              <a:cxnLst/>
              <a:rect l="l" t="t" r="r" b="b"/>
              <a:pathLst>
                <a:path w="53" h="62">
                  <a:moveTo>
                    <a:pt x="2" y="30"/>
                  </a:moveTo>
                  <a:lnTo>
                    <a:pt x="0" y="15"/>
                  </a:lnTo>
                  <a:lnTo>
                    <a:pt x="1" y="1"/>
                  </a:lnTo>
                  <a:lnTo>
                    <a:pt x="19" y="0"/>
                  </a:lnTo>
                  <a:lnTo>
                    <a:pt x="36" y="15"/>
                  </a:lnTo>
                  <a:lnTo>
                    <a:pt x="53" y="29"/>
                  </a:lnTo>
                  <a:lnTo>
                    <a:pt x="47" y="51"/>
                  </a:lnTo>
                  <a:lnTo>
                    <a:pt x="36" y="62"/>
                  </a:lnTo>
                  <a:lnTo>
                    <a:pt x="18" y="38"/>
                  </a:lnTo>
                  <a:lnTo>
                    <a:pt x="2" y="30"/>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17" name="CustomShape 33"/>
            <p:cNvSpPr/>
            <p:nvPr/>
          </p:nvSpPr>
          <p:spPr>
            <a:xfrm>
              <a:off x="3899160" y="4507920"/>
              <a:ext cx="54360" cy="92520"/>
            </a:xfrm>
            <a:custGeom>
              <a:avLst/>
              <a:gdLst/>
              <a:ahLst/>
              <a:cxnLst/>
              <a:rect l="l" t="t" r="r" b="b"/>
              <a:pathLst>
                <a:path w="43" h="72">
                  <a:moveTo>
                    <a:pt x="14" y="35"/>
                  </a:moveTo>
                  <a:lnTo>
                    <a:pt x="0" y="26"/>
                  </a:lnTo>
                  <a:lnTo>
                    <a:pt x="1" y="12"/>
                  </a:lnTo>
                  <a:lnTo>
                    <a:pt x="22" y="0"/>
                  </a:lnTo>
                  <a:lnTo>
                    <a:pt x="29" y="16"/>
                  </a:lnTo>
                  <a:lnTo>
                    <a:pt x="43" y="40"/>
                  </a:lnTo>
                  <a:lnTo>
                    <a:pt x="31" y="51"/>
                  </a:lnTo>
                  <a:lnTo>
                    <a:pt x="14" y="72"/>
                  </a:lnTo>
                  <a:lnTo>
                    <a:pt x="2" y="61"/>
                  </a:lnTo>
                  <a:lnTo>
                    <a:pt x="14" y="35"/>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18" name="CustomShape 34"/>
            <p:cNvSpPr/>
            <p:nvPr/>
          </p:nvSpPr>
          <p:spPr>
            <a:xfrm>
              <a:off x="3877920" y="4908600"/>
              <a:ext cx="112320" cy="73080"/>
            </a:xfrm>
            <a:custGeom>
              <a:avLst/>
              <a:gdLst/>
              <a:ahLst/>
              <a:cxnLst/>
              <a:rect l="l" t="t" r="r" b="b"/>
              <a:pathLst>
                <a:path w="87" h="57">
                  <a:moveTo>
                    <a:pt x="3" y="55"/>
                  </a:moveTo>
                  <a:lnTo>
                    <a:pt x="0" y="34"/>
                  </a:lnTo>
                  <a:lnTo>
                    <a:pt x="10" y="21"/>
                  </a:lnTo>
                  <a:lnTo>
                    <a:pt x="19" y="19"/>
                  </a:lnTo>
                  <a:lnTo>
                    <a:pt x="34" y="24"/>
                  </a:lnTo>
                  <a:lnTo>
                    <a:pt x="48" y="42"/>
                  </a:lnTo>
                  <a:lnTo>
                    <a:pt x="54" y="32"/>
                  </a:lnTo>
                  <a:lnTo>
                    <a:pt x="35" y="11"/>
                  </a:lnTo>
                  <a:lnTo>
                    <a:pt x="41" y="2"/>
                  </a:lnTo>
                  <a:lnTo>
                    <a:pt x="63" y="17"/>
                  </a:lnTo>
                  <a:lnTo>
                    <a:pt x="77" y="0"/>
                  </a:lnTo>
                  <a:lnTo>
                    <a:pt x="87" y="39"/>
                  </a:lnTo>
                  <a:lnTo>
                    <a:pt x="68" y="48"/>
                  </a:lnTo>
                  <a:lnTo>
                    <a:pt x="47" y="45"/>
                  </a:lnTo>
                  <a:lnTo>
                    <a:pt x="18" y="57"/>
                  </a:lnTo>
                  <a:lnTo>
                    <a:pt x="3" y="55"/>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19" name="CustomShape 35"/>
            <p:cNvSpPr/>
            <p:nvPr/>
          </p:nvSpPr>
          <p:spPr>
            <a:xfrm>
              <a:off x="4129560" y="4489560"/>
              <a:ext cx="49320" cy="81000"/>
            </a:xfrm>
            <a:custGeom>
              <a:avLst/>
              <a:gdLst/>
              <a:ahLst/>
              <a:cxnLst/>
              <a:rect l="l" t="t" r="r" b="b"/>
              <a:pathLst>
                <a:path w="39" h="63">
                  <a:moveTo>
                    <a:pt x="17" y="29"/>
                  </a:moveTo>
                  <a:lnTo>
                    <a:pt x="13" y="15"/>
                  </a:lnTo>
                  <a:lnTo>
                    <a:pt x="4" y="6"/>
                  </a:lnTo>
                  <a:lnTo>
                    <a:pt x="24" y="0"/>
                  </a:lnTo>
                  <a:lnTo>
                    <a:pt x="33" y="14"/>
                  </a:lnTo>
                  <a:lnTo>
                    <a:pt x="39" y="30"/>
                  </a:lnTo>
                  <a:lnTo>
                    <a:pt x="39" y="47"/>
                  </a:lnTo>
                  <a:lnTo>
                    <a:pt x="9" y="63"/>
                  </a:lnTo>
                  <a:lnTo>
                    <a:pt x="0" y="44"/>
                  </a:lnTo>
                  <a:lnTo>
                    <a:pt x="17" y="29"/>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20" name="CustomShape 36"/>
            <p:cNvSpPr/>
            <p:nvPr/>
          </p:nvSpPr>
          <p:spPr>
            <a:xfrm>
              <a:off x="4354920" y="5075640"/>
              <a:ext cx="66240" cy="90000"/>
            </a:xfrm>
            <a:custGeom>
              <a:avLst/>
              <a:gdLst/>
              <a:ahLst/>
              <a:cxnLst/>
              <a:rect l="l" t="t" r="r" b="b"/>
              <a:pathLst>
                <a:path w="52" h="70">
                  <a:moveTo>
                    <a:pt x="28" y="17"/>
                  </a:moveTo>
                  <a:lnTo>
                    <a:pt x="10" y="14"/>
                  </a:lnTo>
                  <a:lnTo>
                    <a:pt x="0" y="1"/>
                  </a:lnTo>
                  <a:lnTo>
                    <a:pt x="18" y="0"/>
                  </a:lnTo>
                  <a:lnTo>
                    <a:pt x="33" y="5"/>
                  </a:lnTo>
                  <a:lnTo>
                    <a:pt x="52" y="29"/>
                  </a:lnTo>
                  <a:lnTo>
                    <a:pt x="49" y="58"/>
                  </a:lnTo>
                  <a:lnTo>
                    <a:pt x="37" y="70"/>
                  </a:lnTo>
                  <a:lnTo>
                    <a:pt x="10" y="59"/>
                  </a:lnTo>
                  <a:lnTo>
                    <a:pt x="27" y="49"/>
                  </a:lnTo>
                  <a:lnTo>
                    <a:pt x="28" y="17"/>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21" name="CustomShape 37"/>
            <p:cNvSpPr/>
            <p:nvPr/>
          </p:nvSpPr>
          <p:spPr>
            <a:xfrm>
              <a:off x="4123080" y="4977000"/>
              <a:ext cx="54360" cy="38520"/>
            </a:xfrm>
            <a:custGeom>
              <a:avLst/>
              <a:gdLst/>
              <a:ahLst/>
              <a:cxnLst/>
              <a:rect l="l" t="t" r="r" b="b"/>
              <a:pathLst>
                <a:path w="43" h="31">
                  <a:moveTo>
                    <a:pt x="15" y="20"/>
                  </a:moveTo>
                  <a:lnTo>
                    <a:pt x="0" y="15"/>
                  </a:lnTo>
                  <a:lnTo>
                    <a:pt x="1" y="1"/>
                  </a:lnTo>
                  <a:lnTo>
                    <a:pt x="19" y="0"/>
                  </a:lnTo>
                  <a:lnTo>
                    <a:pt x="34" y="5"/>
                  </a:lnTo>
                  <a:lnTo>
                    <a:pt x="43" y="29"/>
                  </a:lnTo>
                  <a:lnTo>
                    <a:pt x="33" y="31"/>
                  </a:lnTo>
                  <a:lnTo>
                    <a:pt x="15" y="20"/>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22" name="CustomShape 38"/>
            <p:cNvSpPr/>
            <p:nvPr/>
          </p:nvSpPr>
          <p:spPr>
            <a:xfrm>
              <a:off x="4520880" y="4816080"/>
              <a:ext cx="169200" cy="100440"/>
            </a:xfrm>
            <a:custGeom>
              <a:avLst/>
              <a:gdLst/>
              <a:ahLst/>
              <a:cxnLst/>
              <a:rect l="l" t="t" r="r" b="b"/>
              <a:pathLst>
                <a:path w="130" h="78">
                  <a:moveTo>
                    <a:pt x="81" y="39"/>
                  </a:moveTo>
                  <a:lnTo>
                    <a:pt x="46" y="70"/>
                  </a:lnTo>
                  <a:lnTo>
                    <a:pt x="25" y="78"/>
                  </a:lnTo>
                  <a:lnTo>
                    <a:pt x="0" y="62"/>
                  </a:lnTo>
                  <a:lnTo>
                    <a:pt x="22" y="55"/>
                  </a:lnTo>
                  <a:lnTo>
                    <a:pt x="43" y="51"/>
                  </a:lnTo>
                  <a:lnTo>
                    <a:pt x="45" y="31"/>
                  </a:lnTo>
                  <a:lnTo>
                    <a:pt x="63" y="31"/>
                  </a:lnTo>
                  <a:lnTo>
                    <a:pt x="88" y="16"/>
                  </a:lnTo>
                  <a:lnTo>
                    <a:pt x="88" y="0"/>
                  </a:lnTo>
                  <a:lnTo>
                    <a:pt x="111" y="1"/>
                  </a:lnTo>
                  <a:lnTo>
                    <a:pt x="130" y="16"/>
                  </a:lnTo>
                  <a:lnTo>
                    <a:pt x="106" y="24"/>
                  </a:lnTo>
                  <a:lnTo>
                    <a:pt x="81" y="39"/>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23" name="CustomShape 39"/>
            <p:cNvSpPr/>
            <p:nvPr/>
          </p:nvSpPr>
          <p:spPr>
            <a:xfrm>
              <a:off x="4224600" y="4938840"/>
              <a:ext cx="57240" cy="53280"/>
            </a:xfrm>
            <a:custGeom>
              <a:avLst/>
              <a:gdLst/>
              <a:ahLst/>
              <a:cxnLst/>
              <a:rect l="l" t="t" r="r" b="b"/>
              <a:pathLst>
                <a:path w="45" h="42">
                  <a:moveTo>
                    <a:pt x="17" y="36"/>
                  </a:moveTo>
                  <a:lnTo>
                    <a:pt x="2" y="42"/>
                  </a:lnTo>
                  <a:lnTo>
                    <a:pt x="0" y="31"/>
                  </a:lnTo>
                  <a:lnTo>
                    <a:pt x="7" y="18"/>
                  </a:lnTo>
                  <a:lnTo>
                    <a:pt x="22" y="12"/>
                  </a:lnTo>
                  <a:lnTo>
                    <a:pt x="34" y="0"/>
                  </a:lnTo>
                  <a:lnTo>
                    <a:pt x="45" y="7"/>
                  </a:lnTo>
                  <a:lnTo>
                    <a:pt x="36" y="25"/>
                  </a:lnTo>
                  <a:lnTo>
                    <a:pt x="17" y="36"/>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24" name="CustomShape 40"/>
            <p:cNvSpPr/>
            <p:nvPr/>
          </p:nvSpPr>
          <p:spPr>
            <a:xfrm>
              <a:off x="4526280" y="5124600"/>
              <a:ext cx="65160" cy="38520"/>
            </a:xfrm>
            <a:custGeom>
              <a:avLst/>
              <a:gdLst/>
              <a:ahLst/>
              <a:cxnLst/>
              <a:rect l="l" t="t" r="r" b="b"/>
              <a:pathLst>
                <a:path w="51" h="31">
                  <a:moveTo>
                    <a:pt x="15" y="20"/>
                  </a:moveTo>
                  <a:lnTo>
                    <a:pt x="0" y="15"/>
                  </a:lnTo>
                  <a:lnTo>
                    <a:pt x="1" y="1"/>
                  </a:lnTo>
                  <a:lnTo>
                    <a:pt x="19" y="0"/>
                  </a:lnTo>
                  <a:lnTo>
                    <a:pt x="34" y="5"/>
                  </a:lnTo>
                  <a:lnTo>
                    <a:pt x="51" y="19"/>
                  </a:lnTo>
                  <a:lnTo>
                    <a:pt x="39" y="24"/>
                  </a:lnTo>
                  <a:lnTo>
                    <a:pt x="33" y="31"/>
                  </a:lnTo>
                  <a:lnTo>
                    <a:pt x="15" y="20"/>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25" name="CustomShape 41"/>
            <p:cNvSpPr/>
            <p:nvPr/>
          </p:nvSpPr>
          <p:spPr>
            <a:xfrm>
              <a:off x="3959640" y="2583000"/>
              <a:ext cx="128160" cy="125640"/>
            </a:xfrm>
            <a:custGeom>
              <a:avLst/>
              <a:gdLst/>
              <a:ahLst/>
              <a:cxnLst/>
              <a:rect l="l" t="t" r="r" b="b"/>
              <a:pathLst>
                <a:path w="99" h="97">
                  <a:moveTo>
                    <a:pt x="69" y="93"/>
                  </a:moveTo>
                  <a:lnTo>
                    <a:pt x="46" y="97"/>
                  </a:lnTo>
                  <a:lnTo>
                    <a:pt x="31" y="76"/>
                  </a:lnTo>
                  <a:lnTo>
                    <a:pt x="16" y="76"/>
                  </a:lnTo>
                  <a:lnTo>
                    <a:pt x="0" y="63"/>
                  </a:lnTo>
                  <a:lnTo>
                    <a:pt x="18" y="24"/>
                  </a:lnTo>
                  <a:lnTo>
                    <a:pt x="51" y="0"/>
                  </a:lnTo>
                  <a:lnTo>
                    <a:pt x="79" y="4"/>
                  </a:lnTo>
                  <a:lnTo>
                    <a:pt x="87" y="31"/>
                  </a:lnTo>
                  <a:lnTo>
                    <a:pt x="99" y="45"/>
                  </a:lnTo>
                  <a:lnTo>
                    <a:pt x="93" y="61"/>
                  </a:lnTo>
                  <a:lnTo>
                    <a:pt x="97" y="76"/>
                  </a:lnTo>
                  <a:lnTo>
                    <a:pt x="69" y="93"/>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26" name="CustomShape 42"/>
            <p:cNvSpPr/>
            <p:nvPr/>
          </p:nvSpPr>
          <p:spPr>
            <a:xfrm>
              <a:off x="4386600" y="2746440"/>
              <a:ext cx="104400" cy="71640"/>
            </a:xfrm>
            <a:custGeom>
              <a:avLst/>
              <a:gdLst/>
              <a:ahLst/>
              <a:cxnLst/>
              <a:rect l="l" t="t" r="r" b="b"/>
              <a:pathLst>
                <a:path w="81" h="56">
                  <a:moveTo>
                    <a:pt x="40" y="56"/>
                  </a:moveTo>
                  <a:lnTo>
                    <a:pt x="12" y="35"/>
                  </a:lnTo>
                  <a:lnTo>
                    <a:pt x="0" y="11"/>
                  </a:lnTo>
                  <a:lnTo>
                    <a:pt x="33" y="0"/>
                  </a:lnTo>
                  <a:lnTo>
                    <a:pt x="57" y="0"/>
                  </a:lnTo>
                  <a:lnTo>
                    <a:pt x="78" y="14"/>
                  </a:lnTo>
                  <a:lnTo>
                    <a:pt x="81" y="24"/>
                  </a:lnTo>
                  <a:lnTo>
                    <a:pt x="75" y="41"/>
                  </a:lnTo>
                  <a:lnTo>
                    <a:pt x="40" y="56"/>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27" name="CustomShape 43"/>
            <p:cNvSpPr/>
            <p:nvPr/>
          </p:nvSpPr>
          <p:spPr>
            <a:xfrm>
              <a:off x="4564440" y="3398760"/>
              <a:ext cx="353520" cy="245520"/>
            </a:xfrm>
            <a:custGeom>
              <a:avLst/>
              <a:gdLst/>
              <a:ahLst/>
              <a:cxnLst/>
              <a:rect l="l" t="t" r="r" b="b"/>
              <a:pathLst>
                <a:path w="270" h="188">
                  <a:moveTo>
                    <a:pt x="37" y="123"/>
                  </a:moveTo>
                  <a:lnTo>
                    <a:pt x="13" y="107"/>
                  </a:lnTo>
                  <a:lnTo>
                    <a:pt x="0" y="86"/>
                  </a:lnTo>
                  <a:lnTo>
                    <a:pt x="7" y="60"/>
                  </a:lnTo>
                  <a:lnTo>
                    <a:pt x="19" y="45"/>
                  </a:lnTo>
                  <a:lnTo>
                    <a:pt x="45" y="51"/>
                  </a:lnTo>
                  <a:lnTo>
                    <a:pt x="117" y="27"/>
                  </a:lnTo>
                  <a:lnTo>
                    <a:pt x="111" y="5"/>
                  </a:lnTo>
                  <a:lnTo>
                    <a:pt x="141" y="0"/>
                  </a:lnTo>
                  <a:lnTo>
                    <a:pt x="193" y="26"/>
                  </a:lnTo>
                  <a:lnTo>
                    <a:pt x="184" y="45"/>
                  </a:lnTo>
                  <a:lnTo>
                    <a:pt x="202" y="62"/>
                  </a:lnTo>
                  <a:lnTo>
                    <a:pt x="225" y="78"/>
                  </a:lnTo>
                  <a:lnTo>
                    <a:pt x="244" y="113"/>
                  </a:lnTo>
                  <a:lnTo>
                    <a:pt x="265" y="128"/>
                  </a:lnTo>
                  <a:lnTo>
                    <a:pt x="270" y="158"/>
                  </a:lnTo>
                  <a:lnTo>
                    <a:pt x="252" y="165"/>
                  </a:lnTo>
                  <a:lnTo>
                    <a:pt x="238" y="141"/>
                  </a:lnTo>
                  <a:lnTo>
                    <a:pt x="216" y="113"/>
                  </a:lnTo>
                  <a:lnTo>
                    <a:pt x="207" y="125"/>
                  </a:lnTo>
                  <a:lnTo>
                    <a:pt x="237" y="167"/>
                  </a:lnTo>
                  <a:lnTo>
                    <a:pt x="232" y="183"/>
                  </a:lnTo>
                  <a:lnTo>
                    <a:pt x="201" y="188"/>
                  </a:lnTo>
                  <a:lnTo>
                    <a:pt x="157" y="168"/>
                  </a:lnTo>
                  <a:lnTo>
                    <a:pt x="114" y="161"/>
                  </a:lnTo>
                  <a:lnTo>
                    <a:pt x="94" y="140"/>
                  </a:lnTo>
                  <a:lnTo>
                    <a:pt x="120" y="119"/>
                  </a:lnTo>
                  <a:lnTo>
                    <a:pt x="147" y="107"/>
                  </a:lnTo>
                  <a:lnTo>
                    <a:pt x="130" y="86"/>
                  </a:lnTo>
                  <a:lnTo>
                    <a:pt x="109" y="89"/>
                  </a:lnTo>
                  <a:lnTo>
                    <a:pt x="84" y="120"/>
                  </a:lnTo>
                  <a:lnTo>
                    <a:pt x="60" y="126"/>
                  </a:lnTo>
                  <a:lnTo>
                    <a:pt x="37" y="123"/>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28" name="CustomShape 44"/>
            <p:cNvSpPr/>
            <p:nvPr/>
          </p:nvSpPr>
          <p:spPr>
            <a:xfrm>
              <a:off x="4204800" y="3023280"/>
              <a:ext cx="185040" cy="142920"/>
            </a:xfrm>
            <a:custGeom>
              <a:avLst/>
              <a:gdLst/>
              <a:ahLst/>
              <a:cxnLst/>
              <a:rect l="l" t="t" r="r" b="b"/>
              <a:pathLst>
                <a:path w="142" h="110">
                  <a:moveTo>
                    <a:pt x="107" y="109"/>
                  </a:moveTo>
                  <a:lnTo>
                    <a:pt x="117" y="95"/>
                  </a:lnTo>
                  <a:lnTo>
                    <a:pt x="103" y="68"/>
                  </a:lnTo>
                  <a:lnTo>
                    <a:pt x="142" y="12"/>
                  </a:lnTo>
                  <a:lnTo>
                    <a:pt x="133" y="0"/>
                  </a:lnTo>
                  <a:lnTo>
                    <a:pt x="114" y="11"/>
                  </a:lnTo>
                  <a:lnTo>
                    <a:pt x="105" y="27"/>
                  </a:lnTo>
                  <a:lnTo>
                    <a:pt x="82" y="42"/>
                  </a:lnTo>
                  <a:lnTo>
                    <a:pt x="79" y="24"/>
                  </a:lnTo>
                  <a:lnTo>
                    <a:pt x="66" y="14"/>
                  </a:lnTo>
                  <a:lnTo>
                    <a:pt x="17" y="18"/>
                  </a:lnTo>
                  <a:lnTo>
                    <a:pt x="0" y="26"/>
                  </a:lnTo>
                  <a:lnTo>
                    <a:pt x="0" y="81"/>
                  </a:lnTo>
                  <a:lnTo>
                    <a:pt x="36" y="84"/>
                  </a:lnTo>
                  <a:lnTo>
                    <a:pt x="37" y="98"/>
                  </a:lnTo>
                  <a:lnTo>
                    <a:pt x="45" y="105"/>
                  </a:lnTo>
                  <a:lnTo>
                    <a:pt x="52" y="110"/>
                  </a:lnTo>
                  <a:lnTo>
                    <a:pt x="69" y="105"/>
                  </a:lnTo>
                  <a:lnTo>
                    <a:pt x="58" y="90"/>
                  </a:lnTo>
                  <a:lnTo>
                    <a:pt x="40" y="83"/>
                  </a:lnTo>
                  <a:lnTo>
                    <a:pt x="61" y="57"/>
                  </a:lnTo>
                  <a:lnTo>
                    <a:pt x="82" y="63"/>
                  </a:lnTo>
                  <a:lnTo>
                    <a:pt x="72" y="83"/>
                  </a:lnTo>
                  <a:lnTo>
                    <a:pt x="82" y="99"/>
                  </a:lnTo>
                  <a:lnTo>
                    <a:pt x="107" y="109"/>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29" name="CustomShape 45"/>
            <p:cNvSpPr/>
            <p:nvPr/>
          </p:nvSpPr>
          <p:spPr>
            <a:xfrm>
              <a:off x="4568400" y="3855960"/>
              <a:ext cx="144000" cy="255960"/>
            </a:xfrm>
            <a:custGeom>
              <a:avLst/>
              <a:gdLst/>
              <a:ahLst/>
              <a:cxnLst/>
              <a:rect l="l" t="t" r="r" b="b"/>
              <a:pathLst>
                <a:path w="111" h="196">
                  <a:moveTo>
                    <a:pt x="54" y="196"/>
                  </a:moveTo>
                  <a:lnTo>
                    <a:pt x="12" y="150"/>
                  </a:lnTo>
                  <a:lnTo>
                    <a:pt x="42" y="133"/>
                  </a:lnTo>
                  <a:lnTo>
                    <a:pt x="52" y="108"/>
                  </a:lnTo>
                  <a:lnTo>
                    <a:pt x="37" y="64"/>
                  </a:lnTo>
                  <a:lnTo>
                    <a:pt x="15" y="55"/>
                  </a:lnTo>
                  <a:lnTo>
                    <a:pt x="3" y="36"/>
                  </a:lnTo>
                  <a:lnTo>
                    <a:pt x="0" y="19"/>
                  </a:lnTo>
                  <a:lnTo>
                    <a:pt x="16" y="0"/>
                  </a:lnTo>
                  <a:lnTo>
                    <a:pt x="63" y="0"/>
                  </a:lnTo>
                  <a:lnTo>
                    <a:pt x="81" y="12"/>
                  </a:lnTo>
                  <a:lnTo>
                    <a:pt x="90" y="19"/>
                  </a:lnTo>
                  <a:lnTo>
                    <a:pt x="104" y="31"/>
                  </a:lnTo>
                  <a:lnTo>
                    <a:pt x="104" y="76"/>
                  </a:lnTo>
                  <a:lnTo>
                    <a:pt x="111" y="127"/>
                  </a:lnTo>
                  <a:lnTo>
                    <a:pt x="91" y="144"/>
                  </a:lnTo>
                  <a:lnTo>
                    <a:pt x="94" y="177"/>
                  </a:lnTo>
                  <a:lnTo>
                    <a:pt x="75" y="177"/>
                  </a:lnTo>
                  <a:lnTo>
                    <a:pt x="54" y="196"/>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30" name="CustomShape 46"/>
            <p:cNvSpPr/>
            <p:nvPr/>
          </p:nvSpPr>
          <p:spPr>
            <a:xfrm>
              <a:off x="3941280" y="3634560"/>
              <a:ext cx="104400" cy="132120"/>
            </a:xfrm>
            <a:custGeom>
              <a:avLst/>
              <a:gdLst/>
              <a:ahLst/>
              <a:cxnLst/>
              <a:rect l="l" t="t" r="r" b="b"/>
              <a:pathLst>
                <a:path w="81" h="102">
                  <a:moveTo>
                    <a:pt x="0" y="18"/>
                  </a:moveTo>
                  <a:lnTo>
                    <a:pt x="9" y="0"/>
                  </a:lnTo>
                  <a:lnTo>
                    <a:pt x="42" y="25"/>
                  </a:lnTo>
                  <a:lnTo>
                    <a:pt x="45" y="46"/>
                  </a:lnTo>
                  <a:lnTo>
                    <a:pt x="68" y="63"/>
                  </a:lnTo>
                  <a:lnTo>
                    <a:pt x="81" y="81"/>
                  </a:lnTo>
                  <a:lnTo>
                    <a:pt x="77" y="102"/>
                  </a:lnTo>
                  <a:lnTo>
                    <a:pt x="50" y="90"/>
                  </a:lnTo>
                  <a:lnTo>
                    <a:pt x="39" y="99"/>
                  </a:lnTo>
                  <a:lnTo>
                    <a:pt x="33" y="69"/>
                  </a:lnTo>
                  <a:lnTo>
                    <a:pt x="2" y="45"/>
                  </a:lnTo>
                  <a:lnTo>
                    <a:pt x="0" y="18"/>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31" name="CustomShape 47"/>
            <p:cNvSpPr/>
            <p:nvPr/>
          </p:nvSpPr>
          <p:spPr>
            <a:xfrm>
              <a:off x="3561840" y="3513240"/>
              <a:ext cx="77040" cy="69120"/>
            </a:xfrm>
            <a:custGeom>
              <a:avLst/>
              <a:gdLst/>
              <a:ahLst/>
              <a:cxnLst/>
              <a:rect l="l" t="t" r="r" b="b"/>
              <a:pathLst>
                <a:path w="60" h="54">
                  <a:moveTo>
                    <a:pt x="14" y="26"/>
                  </a:moveTo>
                  <a:lnTo>
                    <a:pt x="0" y="17"/>
                  </a:lnTo>
                  <a:lnTo>
                    <a:pt x="1" y="3"/>
                  </a:lnTo>
                  <a:lnTo>
                    <a:pt x="14" y="0"/>
                  </a:lnTo>
                  <a:lnTo>
                    <a:pt x="27" y="18"/>
                  </a:lnTo>
                  <a:lnTo>
                    <a:pt x="38" y="26"/>
                  </a:lnTo>
                  <a:lnTo>
                    <a:pt x="60" y="36"/>
                  </a:lnTo>
                  <a:lnTo>
                    <a:pt x="48" y="54"/>
                  </a:lnTo>
                  <a:lnTo>
                    <a:pt x="24" y="51"/>
                  </a:lnTo>
                  <a:lnTo>
                    <a:pt x="14" y="26"/>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32" name="CustomShape 48"/>
            <p:cNvSpPr/>
            <p:nvPr/>
          </p:nvSpPr>
          <p:spPr>
            <a:xfrm>
              <a:off x="3668400" y="3464640"/>
              <a:ext cx="59760" cy="82080"/>
            </a:xfrm>
            <a:custGeom>
              <a:avLst/>
              <a:gdLst/>
              <a:ahLst/>
              <a:cxnLst/>
              <a:rect l="l" t="t" r="r" b="b"/>
              <a:pathLst>
                <a:path w="47" h="64">
                  <a:moveTo>
                    <a:pt x="22" y="20"/>
                  </a:moveTo>
                  <a:lnTo>
                    <a:pt x="26" y="4"/>
                  </a:lnTo>
                  <a:lnTo>
                    <a:pt x="39" y="0"/>
                  </a:lnTo>
                  <a:lnTo>
                    <a:pt x="47" y="11"/>
                  </a:lnTo>
                  <a:lnTo>
                    <a:pt x="35" y="29"/>
                  </a:lnTo>
                  <a:lnTo>
                    <a:pt x="31" y="43"/>
                  </a:lnTo>
                  <a:lnTo>
                    <a:pt x="21" y="52"/>
                  </a:lnTo>
                  <a:lnTo>
                    <a:pt x="9" y="64"/>
                  </a:lnTo>
                  <a:lnTo>
                    <a:pt x="0" y="55"/>
                  </a:lnTo>
                  <a:lnTo>
                    <a:pt x="3" y="39"/>
                  </a:lnTo>
                  <a:lnTo>
                    <a:pt x="22" y="20"/>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33" name="CustomShape 49"/>
            <p:cNvSpPr/>
            <p:nvPr/>
          </p:nvSpPr>
          <p:spPr>
            <a:xfrm>
              <a:off x="3470760" y="3506760"/>
              <a:ext cx="45360" cy="38520"/>
            </a:xfrm>
            <a:custGeom>
              <a:avLst/>
              <a:gdLst/>
              <a:ahLst/>
              <a:cxnLst/>
              <a:rect l="l" t="t" r="r" b="b"/>
              <a:pathLst>
                <a:path w="36" h="31">
                  <a:moveTo>
                    <a:pt x="11" y="31"/>
                  </a:moveTo>
                  <a:lnTo>
                    <a:pt x="0" y="17"/>
                  </a:lnTo>
                  <a:lnTo>
                    <a:pt x="14" y="4"/>
                  </a:lnTo>
                  <a:lnTo>
                    <a:pt x="32" y="0"/>
                  </a:lnTo>
                  <a:lnTo>
                    <a:pt x="36" y="20"/>
                  </a:lnTo>
                  <a:lnTo>
                    <a:pt x="26" y="31"/>
                  </a:lnTo>
                  <a:lnTo>
                    <a:pt x="11" y="31"/>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34" name="CustomShape 50"/>
            <p:cNvSpPr/>
            <p:nvPr/>
          </p:nvSpPr>
          <p:spPr>
            <a:xfrm>
              <a:off x="3212640" y="3594960"/>
              <a:ext cx="792360" cy="639360"/>
            </a:xfrm>
            <a:custGeom>
              <a:avLst/>
              <a:gdLst/>
              <a:ahLst/>
              <a:cxnLst/>
              <a:rect l="l" t="t" r="r" b="b"/>
              <a:pathLst>
                <a:path w="603" h="487">
                  <a:moveTo>
                    <a:pt x="1" y="81"/>
                  </a:moveTo>
                  <a:lnTo>
                    <a:pt x="0" y="97"/>
                  </a:lnTo>
                  <a:lnTo>
                    <a:pt x="39" y="97"/>
                  </a:lnTo>
                  <a:lnTo>
                    <a:pt x="66" y="79"/>
                  </a:lnTo>
                  <a:lnTo>
                    <a:pt x="89" y="93"/>
                  </a:lnTo>
                  <a:lnTo>
                    <a:pt x="117" y="87"/>
                  </a:lnTo>
                  <a:lnTo>
                    <a:pt x="145" y="118"/>
                  </a:lnTo>
                  <a:lnTo>
                    <a:pt x="180" y="142"/>
                  </a:lnTo>
                  <a:lnTo>
                    <a:pt x="208" y="169"/>
                  </a:lnTo>
                  <a:lnTo>
                    <a:pt x="231" y="190"/>
                  </a:lnTo>
                  <a:lnTo>
                    <a:pt x="234" y="201"/>
                  </a:lnTo>
                  <a:lnTo>
                    <a:pt x="253" y="207"/>
                  </a:lnTo>
                  <a:lnTo>
                    <a:pt x="271" y="235"/>
                  </a:lnTo>
                  <a:lnTo>
                    <a:pt x="280" y="264"/>
                  </a:lnTo>
                  <a:lnTo>
                    <a:pt x="346" y="294"/>
                  </a:lnTo>
                  <a:lnTo>
                    <a:pt x="385" y="288"/>
                  </a:lnTo>
                  <a:lnTo>
                    <a:pt x="412" y="294"/>
                  </a:lnTo>
                  <a:lnTo>
                    <a:pt x="421" y="321"/>
                  </a:lnTo>
                  <a:lnTo>
                    <a:pt x="438" y="327"/>
                  </a:lnTo>
                  <a:lnTo>
                    <a:pt x="438" y="352"/>
                  </a:lnTo>
                  <a:lnTo>
                    <a:pt x="452" y="365"/>
                  </a:lnTo>
                  <a:lnTo>
                    <a:pt x="472" y="384"/>
                  </a:lnTo>
                  <a:lnTo>
                    <a:pt x="468" y="403"/>
                  </a:lnTo>
                  <a:lnTo>
                    <a:pt x="471" y="427"/>
                  </a:lnTo>
                  <a:lnTo>
                    <a:pt x="495" y="424"/>
                  </a:lnTo>
                  <a:lnTo>
                    <a:pt x="507" y="462"/>
                  </a:lnTo>
                  <a:lnTo>
                    <a:pt x="525" y="475"/>
                  </a:lnTo>
                  <a:lnTo>
                    <a:pt x="537" y="475"/>
                  </a:lnTo>
                  <a:lnTo>
                    <a:pt x="535" y="456"/>
                  </a:lnTo>
                  <a:lnTo>
                    <a:pt x="553" y="457"/>
                  </a:lnTo>
                  <a:lnTo>
                    <a:pt x="561" y="487"/>
                  </a:lnTo>
                  <a:lnTo>
                    <a:pt x="592" y="466"/>
                  </a:lnTo>
                  <a:lnTo>
                    <a:pt x="603" y="441"/>
                  </a:lnTo>
                  <a:lnTo>
                    <a:pt x="600" y="408"/>
                  </a:lnTo>
                  <a:lnTo>
                    <a:pt x="580" y="403"/>
                  </a:lnTo>
                  <a:lnTo>
                    <a:pt x="546" y="399"/>
                  </a:lnTo>
                  <a:lnTo>
                    <a:pt x="501" y="375"/>
                  </a:lnTo>
                  <a:lnTo>
                    <a:pt x="475" y="312"/>
                  </a:lnTo>
                  <a:lnTo>
                    <a:pt x="463" y="262"/>
                  </a:lnTo>
                  <a:lnTo>
                    <a:pt x="472" y="231"/>
                  </a:lnTo>
                  <a:lnTo>
                    <a:pt x="441" y="202"/>
                  </a:lnTo>
                  <a:lnTo>
                    <a:pt x="451" y="181"/>
                  </a:lnTo>
                  <a:lnTo>
                    <a:pt x="433" y="163"/>
                  </a:lnTo>
                  <a:lnTo>
                    <a:pt x="352" y="168"/>
                  </a:lnTo>
                  <a:lnTo>
                    <a:pt x="313" y="148"/>
                  </a:lnTo>
                  <a:lnTo>
                    <a:pt x="303" y="124"/>
                  </a:lnTo>
                  <a:lnTo>
                    <a:pt x="270" y="126"/>
                  </a:lnTo>
                  <a:lnTo>
                    <a:pt x="228" y="97"/>
                  </a:lnTo>
                  <a:lnTo>
                    <a:pt x="211" y="75"/>
                  </a:lnTo>
                  <a:lnTo>
                    <a:pt x="207" y="48"/>
                  </a:lnTo>
                  <a:lnTo>
                    <a:pt x="187" y="37"/>
                  </a:lnTo>
                  <a:lnTo>
                    <a:pt x="190" y="21"/>
                  </a:lnTo>
                  <a:lnTo>
                    <a:pt x="165" y="10"/>
                  </a:lnTo>
                  <a:lnTo>
                    <a:pt x="162" y="0"/>
                  </a:lnTo>
                  <a:lnTo>
                    <a:pt x="138" y="19"/>
                  </a:lnTo>
                  <a:lnTo>
                    <a:pt x="96" y="25"/>
                  </a:lnTo>
                  <a:lnTo>
                    <a:pt x="81" y="45"/>
                  </a:lnTo>
                  <a:lnTo>
                    <a:pt x="51" y="66"/>
                  </a:lnTo>
                  <a:lnTo>
                    <a:pt x="1" y="81"/>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35" name="CustomShape 51"/>
            <p:cNvSpPr/>
            <p:nvPr/>
          </p:nvSpPr>
          <p:spPr>
            <a:xfrm>
              <a:off x="3470760" y="4331520"/>
              <a:ext cx="71640" cy="61200"/>
            </a:xfrm>
            <a:custGeom>
              <a:avLst/>
              <a:gdLst/>
              <a:ahLst/>
              <a:cxnLst/>
              <a:rect l="l" t="t" r="r" b="b"/>
              <a:pathLst>
                <a:path w="56" h="48">
                  <a:moveTo>
                    <a:pt x="9" y="3"/>
                  </a:moveTo>
                  <a:lnTo>
                    <a:pt x="32" y="0"/>
                  </a:lnTo>
                  <a:lnTo>
                    <a:pt x="56" y="3"/>
                  </a:lnTo>
                  <a:lnTo>
                    <a:pt x="36" y="32"/>
                  </a:lnTo>
                  <a:lnTo>
                    <a:pt x="24" y="48"/>
                  </a:lnTo>
                  <a:lnTo>
                    <a:pt x="0" y="12"/>
                  </a:lnTo>
                  <a:lnTo>
                    <a:pt x="9" y="3"/>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36" name="CustomShape 52"/>
            <p:cNvSpPr/>
            <p:nvPr/>
          </p:nvSpPr>
          <p:spPr>
            <a:xfrm>
              <a:off x="3463200" y="4203720"/>
              <a:ext cx="69120" cy="73080"/>
            </a:xfrm>
            <a:custGeom>
              <a:avLst/>
              <a:gdLst/>
              <a:ahLst/>
              <a:cxnLst/>
              <a:rect l="l" t="t" r="r" b="b"/>
              <a:pathLst>
                <a:path w="54" h="57">
                  <a:moveTo>
                    <a:pt x="18" y="57"/>
                  </a:moveTo>
                  <a:lnTo>
                    <a:pt x="42" y="39"/>
                  </a:lnTo>
                  <a:lnTo>
                    <a:pt x="54" y="21"/>
                  </a:lnTo>
                  <a:lnTo>
                    <a:pt x="36" y="0"/>
                  </a:lnTo>
                  <a:lnTo>
                    <a:pt x="14" y="9"/>
                  </a:lnTo>
                  <a:lnTo>
                    <a:pt x="18" y="21"/>
                  </a:lnTo>
                  <a:lnTo>
                    <a:pt x="33" y="18"/>
                  </a:lnTo>
                  <a:lnTo>
                    <a:pt x="30" y="33"/>
                  </a:lnTo>
                  <a:lnTo>
                    <a:pt x="11" y="31"/>
                  </a:lnTo>
                  <a:lnTo>
                    <a:pt x="0" y="43"/>
                  </a:lnTo>
                  <a:lnTo>
                    <a:pt x="18" y="57"/>
                  </a:lnTo>
                  <a:close/>
                </a:path>
              </a:pathLst>
            </a:custGeom>
            <a:solidFill>
              <a:srgbClr val="7EA3C6"/>
            </a:solidFill>
            <a:ln w="19050">
              <a:solidFill>
                <a:srgbClr val="FFFFFF"/>
              </a:solidFill>
              <a:round/>
            </a:ln>
            <a:effectLst>
              <a:outerShdw dist="27691" dir="6973916" algn="ctr" rotWithShape="0">
                <a:srgbClr val="B2B2B2">
                  <a:alpha val="49000"/>
                </a:srgbClr>
              </a:outerShdw>
            </a:effectLst>
          </p:spPr>
          <p:style>
            <a:lnRef idx="0">
              <a:scrgbClr r="0" g="0" b="0"/>
            </a:lnRef>
            <a:fillRef idx="0">
              <a:scrgbClr r="0" g="0" b="0"/>
            </a:fillRef>
            <a:effectRef idx="0">
              <a:scrgbClr r="0" g="0" b="0"/>
            </a:effectRef>
            <a:fontRef idx="minor"/>
          </p:style>
          <p:txBody>
            <a:bodyPr/>
            <a:lstStyle/>
            <a:p>
              <a:endParaRPr lang="el-GR"/>
            </a:p>
          </p:txBody>
        </p:sp>
      </p:grpSp>
      <p:sp>
        <p:nvSpPr>
          <p:cNvPr id="337" name="CustomShape 53"/>
          <p:cNvSpPr/>
          <p:nvPr/>
        </p:nvSpPr>
        <p:spPr>
          <a:xfrm>
            <a:off x="4937400" y="3662280"/>
            <a:ext cx="1080000" cy="252360"/>
          </a:xfrm>
          <a:prstGeom prst="roundRect">
            <a:avLst>
              <a:gd name="adj" fmla="val 50000"/>
            </a:avLst>
          </a:prstGeom>
          <a:solidFill>
            <a:schemeClr val="lt1"/>
          </a:solidFill>
          <a:ln w="9525">
            <a:solidFill>
              <a:schemeClr val="dk1"/>
            </a:solidFill>
            <a:prstDash val="dash"/>
            <a:miter/>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l-GR" sz="1200" b="1" strike="noStrike" spc="-1">
                <a:solidFill>
                  <a:srgbClr val="000000"/>
                </a:solidFill>
                <a:latin typeface="Arial"/>
                <a:ea typeface="Arial"/>
              </a:rPr>
              <a:t>Αθήνα</a:t>
            </a:r>
            <a:endParaRPr lang="en-US" sz="1200" b="0" strike="noStrike" spc="-1">
              <a:latin typeface="Arial"/>
            </a:endParaRPr>
          </a:p>
        </p:txBody>
      </p:sp>
      <p:sp>
        <p:nvSpPr>
          <p:cNvPr id="338" name="CustomShape 54"/>
          <p:cNvSpPr/>
          <p:nvPr/>
        </p:nvSpPr>
        <p:spPr>
          <a:xfrm rot="16200000">
            <a:off x="4112640" y="3286440"/>
            <a:ext cx="317520" cy="1327320"/>
          </a:xfrm>
          <a:prstGeom prst="bentConnector2">
            <a:avLst/>
          </a:prstGeom>
          <a:noFill/>
          <a:ln w="9525">
            <a:solidFill>
              <a:schemeClr val="dk1"/>
            </a:solidFill>
            <a:prstDash val="dash"/>
            <a:miter/>
          </a:ln>
        </p:spPr>
        <p:style>
          <a:lnRef idx="0">
            <a:scrgbClr r="0" g="0" b="0"/>
          </a:lnRef>
          <a:fillRef idx="0">
            <a:scrgbClr r="0" g="0" b="0"/>
          </a:fillRef>
          <a:effectRef idx="0">
            <a:scrgbClr r="0" g="0" b="0"/>
          </a:effectRef>
          <a:fontRef idx="minor"/>
        </p:style>
        <p:txBody>
          <a:bodyPr/>
          <a:lstStyle/>
          <a:p>
            <a:endParaRPr lang="el-GR"/>
          </a:p>
        </p:txBody>
      </p:sp>
      <p:sp>
        <p:nvSpPr>
          <p:cNvPr id="339" name="CustomShape 55"/>
          <p:cNvSpPr/>
          <p:nvPr/>
        </p:nvSpPr>
        <p:spPr>
          <a:xfrm>
            <a:off x="2314440" y="3151800"/>
            <a:ext cx="88200" cy="88200"/>
          </a:xfrm>
          <a:prstGeom prst="ellipse">
            <a:avLst/>
          </a:prstGeom>
          <a:solidFill>
            <a:srgbClr val="C00000"/>
          </a:solidFill>
          <a:ln w="12700">
            <a:solidFill>
              <a:schemeClr val="lt1"/>
            </a:solidFill>
            <a:round/>
          </a:ln>
          <a:effectLst>
            <a:outerShdw dist="35638" dir="2700000" sx="66000" sy="66000" algn="ctr" rotWithShape="0">
              <a:srgbClr val="1C1C1C">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40" name="CustomShape 56"/>
          <p:cNvSpPr/>
          <p:nvPr/>
        </p:nvSpPr>
        <p:spPr>
          <a:xfrm>
            <a:off x="847080" y="3351960"/>
            <a:ext cx="1080000" cy="252360"/>
          </a:xfrm>
          <a:prstGeom prst="roundRect">
            <a:avLst>
              <a:gd name="adj" fmla="val 50000"/>
            </a:avLst>
          </a:prstGeom>
          <a:solidFill>
            <a:schemeClr val="lt1"/>
          </a:solidFill>
          <a:ln w="9525">
            <a:solidFill>
              <a:schemeClr val="dk1"/>
            </a:solidFill>
            <a:prstDash val="dash"/>
            <a:miter/>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l-GR" sz="1200" b="1" strike="noStrike" spc="-1">
                <a:solidFill>
                  <a:srgbClr val="000000"/>
                </a:solidFill>
                <a:latin typeface="Arial"/>
                <a:ea typeface="Arial"/>
              </a:rPr>
              <a:t>Ιωάννινα</a:t>
            </a:r>
            <a:endParaRPr lang="en-US" sz="1200" b="0" strike="noStrike" spc="-1">
              <a:latin typeface="Arial"/>
            </a:endParaRPr>
          </a:p>
        </p:txBody>
      </p:sp>
      <p:sp>
        <p:nvSpPr>
          <p:cNvPr id="341" name="CustomShape 57"/>
          <p:cNvSpPr/>
          <p:nvPr/>
        </p:nvSpPr>
        <p:spPr>
          <a:xfrm rot="5400000">
            <a:off x="2027880" y="3145320"/>
            <a:ext cx="235080" cy="428400"/>
          </a:xfrm>
          <a:prstGeom prst="bentConnector2">
            <a:avLst/>
          </a:prstGeom>
          <a:noFill/>
          <a:ln w="9525">
            <a:solidFill>
              <a:schemeClr val="dk1"/>
            </a:solidFill>
            <a:prstDash val="dash"/>
            <a:miter/>
          </a:ln>
        </p:spPr>
        <p:style>
          <a:lnRef idx="0">
            <a:scrgbClr r="0" g="0" b="0"/>
          </a:lnRef>
          <a:fillRef idx="0">
            <a:scrgbClr r="0" g="0" b="0"/>
          </a:fillRef>
          <a:effectRef idx="0">
            <a:scrgbClr r="0" g="0" b="0"/>
          </a:effectRef>
          <a:fontRef idx="minor"/>
        </p:style>
        <p:txBody>
          <a:bodyPr/>
          <a:lstStyle/>
          <a:p>
            <a:endParaRPr lang="el-GR"/>
          </a:p>
        </p:txBody>
      </p:sp>
      <p:sp>
        <p:nvSpPr>
          <p:cNvPr id="342" name="CustomShape 58"/>
          <p:cNvSpPr/>
          <p:nvPr/>
        </p:nvSpPr>
        <p:spPr>
          <a:xfrm>
            <a:off x="3218400" y="2603880"/>
            <a:ext cx="88200" cy="88200"/>
          </a:xfrm>
          <a:prstGeom prst="ellipse">
            <a:avLst/>
          </a:prstGeom>
          <a:solidFill>
            <a:srgbClr val="C00000"/>
          </a:solidFill>
          <a:ln w="12700">
            <a:solidFill>
              <a:schemeClr val="lt1"/>
            </a:solidFill>
            <a:round/>
          </a:ln>
          <a:effectLst>
            <a:outerShdw dist="35638" dir="2700000" sx="66000" sy="66000" algn="ctr" rotWithShape="0">
              <a:srgbClr val="1C1C1C">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43" name="CustomShape 59"/>
          <p:cNvSpPr/>
          <p:nvPr/>
        </p:nvSpPr>
        <p:spPr>
          <a:xfrm>
            <a:off x="1526040" y="2061360"/>
            <a:ext cx="1408320" cy="252360"/>
          </a:xfrm>
          <a:prstGeom prst="roundRect">
            <a:avLst>
              <a:gd name="adj" fmla="val 50000"/>
            </a:avLst>
          </a:prstGeom>
          <a:solidFill>
            <a:schemeClr val="lt1"/>
          </a:solidFill>
          <a:ln w="9525">
            <a:solidFill>
              <a:schemeClr val="dk1"/>
            </a:solidFill>
            <a:prstDash val="dash"/>
            <a:miter/>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l-GR" sz="1200" b="1" strike="noStrike" spc="-1">
                <a:solidFill>
                  <a:srgbClr val="000000"/>
                </a:solidFill>
                <a:latin typeface="Arial"/>
                <a:ea typeface="Arial"/>
              </a:rPr>
              <a:t>Θεσσαλονίκη</a:t>
            </a:r>
            <a:endParaRPr lang="en-US" sz="1200" b="0" strike="noStrike" spc="-1">
              <a:latin typeface="Arial"/>
            </a:endParaRPr>
          </a:p>
        </p:txBody>
      </p:sp>
      <p:sp>
        <p:nvSpPr>
          <p:cNvPr id="344" name="CustomShape 60"/>
          <p:cNvSpPr/>
          <p:nvPr/>
        </p:nvSpPr>
        <p:spPr>
          <a:xfrm rot="5400000" flipH="1">
            <a:off x="2890080" y="2234880"/>
            <a:ext cx="413280" cy="324720"/>
          </a:xfrm>
          <a:prstGeom prst="bentConnector2">
            <a:avLst/>
          </a:prstGeom>
          <a:noFill/>
          <a:ln w="9525">
            <a:solidFill>
              <a:schemeClr val="dk1"/>
            </a:solidFill>
            <a:prstDash val="dash"/>
            <a:miter/>
          </a:ln>
        </p:spPr>
        <p:style>
          <a:lnRef idx="0">
            <a:scrgbClr r="0" g="0" b="0"/>
          </a:lnRef>
          <a:fillRef idx="0">
            <a:scrgbClr r="0" g="0" b="0"/>
          </a:fillRef>
          <a:effectRef idx="0">
            <a:scrgbClr r="0" g="0" b="0"/>
          </a:effectRef>
          <a:fontRef idx="minor"/>
        </p:style>
        <p:txBody>
          <a:bodyPr/>
          <a:lstStyle/>
          <a:p>
            <a:endParaRPr lang="el-GR"/>
          </a:p>
        </p:txBody>
      </p:sp>
      <p:sp>
        <p:nvSpPr>
          <p:cNvPr id="345" name="CustomShape 61"/>
          <p:cNvSpPr/>
          <p:nvPr/>
        </p:nvSpPr>
        <p:spPr>
          <a:xfrm>
            <a:off x="2679840" y="4038480"/>
            <a:ext cx="88200" cy="88200"/>
          </a:xfrm>
          <a:prstGeom prst="ellipse">
            <a:avLst/>
          </a:prstGeom>
          <a:solidFill>
            <a:srgbClr val="C00000"/>
          </a:solidFill>
          <a:ln w="12700">
            <a:solidFill>
              <a:schemeClr val="lt1"/>
            </a:solidFill>
            <a:round/>
          </a:ln>
          <a:effectLst>
            <a:outerShdw dist="35638" dir="2700000" sx="66000" sy="66000" algn="ctr" rotWithShape="0">
              <a:srgbClr val="1C1C1C">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46" name="CustomShape 62"/>
          <p:cNvSpPr/>
          <p:nvPr/>
        </p:nvSpPr>
        <p:spPr>
          <a:xfrm>
            <a:off x="846720" y="3780720"/>
            <a:ext cx="1080000" cy="252360"/>
          </a:xfrm>
          <a:prstGeom prst="roundRect">
            <a:avLst>
              <a:gd name="adj" fmla="val 50000"/>
            </a:avLst>
          </a:prstGeom>
          <a:solidFill>
            <a:schemeClr val="lt1"/>
          </a:solidFill>
          <a:ln w="9525">
            <a:solidFill>
              <a:schemeClr val="dk1"/>
            </a:solidFill>
            <a:prstDash val="dash"/>
            <a:miter/>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l-GR" sz="1200" b="1" strike="noStrike" spc="-1">
                <a:solidFill>
                  <a:srgbClr val="000000"/>
                </a:solidFill>
                <a:latin typeface="Arial"/>
                <a:ea typeface="Arial"/>
              </a:rPr>
              <a:t>Πάτρα</a:t>
            </a:r>
            <a:endParaRPr lang="en-US" sz="1200" b="0" strike="noStrike" spc="-1">
              <a:latin typeface="Arial"/>
            </a:endParaRPr>
          </a:p>
        </p:txBody>
      </p:sp>
      <p:sp>
        <p:nvSpPr>
          <p:cNvPr id="347" name="CustomShape 63"/>
          <p:cNvSpPr/>
          <p:nvPr/>
        </p:nvSpPr>
        <p:spPr>
          <a:xfrm rot="5400000" flipH="1">
            <a:off x="2259360" y="3576960"/>
            <a:ext cx="128520" cy="794520"/>
          </a:xfrm>
          <a:prstGeom prst="bentConnector2">
            <a:avLst/>
          </a:prstGeom>
          <a:noFill/>
          <a:ln w="9525">
            <a:solidFill>
              <a:schemeClr val="dk1"/>
            </a:solidFill>
            <a:prstDash val="dash"/>
            <a:miter/>
          </a:ln>
        </p:spPr>
        <p:style>
          <a:lnRef idx="0">
            <a:scrgbClr r="0" g="0" b="0"/>
          </a:lnRef>
          <a:fillRef idx="0">
            <a:scrgbClr r="0" g="0" b="0"/>
          </a:fillRef>
          <a:effectRef idx="0">
            <a:scrgbClr r="0" g="0" b="0"/>
          </a:effectRef>
          <a:fontRef idx="minor"/>
        </p:style>
        <p:txBody>
          <a:bodyPr/>
          <a:lstStyle/>
          <a:p>
            <a:endParaRPr lang="el-GR"/>
          </a:p>
        </p:txBody>
      </p:sp>
      <p:sp>
        <p:nvSpPr>
          <p:cNvPr id="348" name="CustomShape 64"/>
          <p:cNvSpPr/>
          <p:nvPr/>
        </p:nvSpPr>
        <p:spPr>
          <a:xfrm>
            <a:off x="4215960" y="5722560"/>
            <a:ext cx="88200" cy="88200"/>
          </a:xfrm>
          <a:prstGeom prst="ellipse">
            <a:avLst/>
          </a:prstGeom>
          <a:solidFill>
            <a:srgbClr val="C00000"/>
          </a:solidFill>
          <a:ln w="12700">
            <a:solidFill>
              <a:schemeClr val="lt1"/>
            </a:solidFill>
            <a:round/>
          </a:ln>
          <a:effectLst>
            <a:outerShdw dist="35638" dir="2700000" sx="66000" sy="66000" algn="ctr" rotWithShape="0">
              <a:srgbClr val="1C1C1C">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49" name="CustomShape 65"/>
          <p:cNvSpPr/>
          <p:nvPr/>
        </p:nvSpPr>
        <p:spPr>
          <a:xfrm>
            <a:off x="2743560" y="5262840"/>
            <a:ext cx="1080000" cy="252360"/>
          </a:xfrm>
          <a:prstGeom prst="roundRect">
            <a:avLst>
              <a:gd name="adj" fmla="val 50000"/>
            </a:avLst>
          </a:prstGeom>
          <a:solidFill>
            <a:schemeClr val="lt1"/>
          </a:solidFill>
          <a:ln w="9525">
            <a:solidFill>
              <a:schemeClr val="dk1"/>
            </a:solidFill>
            <a:prstDash val="dash"/>
            <a:miter/>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l-GR" sz="1200" b="1" strike="noStrike" spc="-1">
                <a:solidFill>
                  <a:srgbClr val="000000"/>
                </a:solidFill>
                <a:latin typeface="Arial"/>
                <a:ea typeface="Arial"/>
              </a:rPr>
              <a:t>Ηράκλειο</a:t>
            </a:r>
            <a:endParaRPr lang="en-US" sz="1200" b="0" strike="noStrike" spc="-1">
              <a:latin typeface="Arial"/>
            </a:endParaRPr>
          </a:p>
        </p:txBody>
      </p:sp>
      <p:sp>
        <p:nvSpPr>
          <p:cNvPr id="350" name="CustomShape 66"/>
          <p:cNvSpPr/>
          <p:nvPr/>
        </p:nvSpPr>
        <p:spPr>
          <a:xfrm rot="5400000" flipH="1">
            <a:off x="3875040" y="5340600"/>
            <a:ext cx="330480" cy="433080"/>
          </a:xfrm>
          <a:prstGeom prst="bentConnector2">
            <a:avLst/>
          </a:prstGeom>
          <a:noFill/>
          <a:ln w="9525">
            <a:solidFill>
              <a:schemeClr val="dk1"/>
            </a:solidFill>
            <a:prstDash val="dash"/>
            <a:miter/>
          </a:ln>
        </p:spPr>
        <p:style>
          <a:lnRef idx="0">
            <a:scrgbClr r="0" g="0" b="0"/>
          </a:lnRef>
          <a:fillRef idx="0">
            <a:scrgbClr r="0" g="0" b="0"/>
          </a:fillRef>
          <a:effectRef idx="0">
            <a:scrgbClr r="0" g="0" b="0"/>
          </a:effectRef>
          <a:fontRef idx="minor"/>
        </p:style>
        <p:txBody>
          <a:bodyPr/>
          <a:lstStyle/>
          <a:p>
            <a:endParaRPr lang="el-GR"/>
          </a:p>
        </p:txBody>
      </p:sp>
      <p:sp>
        <p:nvSpPr>
          <p:cNvPr id="351" name="CustomShape 67"/>
          <p:cNvSpPr/>
          <p:nvPr/>
        </p:nvSpPr>
        <p:spPr>
          <a:xfrm>
            <a:off x="2994480" y="3233160"/>
            <a:ext cx="88200" cy="88200"/>
          </a:xfrm>
          <a:prstGeom prst="ellipse">
            <a:avLst/>
          </a:prstGeom>
          <a:solidFill>
            <a:srgbClr val="C00000"/>
          </a:solidFill>
          <a:ln w="12700">
            <a:solidFill>
              <a:schemeClr val="lt1"/>
            </a:solidFill>
            <a:round/>
          </a:ln>
          <a:effectLst>
            <a:outerShdw dist="35638" dir="2700000" sx="66000" sy="66000" algn="ctr" rotWithShape="0">
              <a:srgbClr val="1C1C1C">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52" name="CustomShape 68"/>
          <p:cNvSpPr/>
          <p:nvPr/>
        </p:nvSpPr>
        <p:spPr>
          <a:xfrm>
            <a:off x="1143000" y="2654280"/>
            <a:ext cx="1080000" cy="252360"/>
          </a:xfrm>
          <a:prstGeom prst="roundRect">
            <a:avLst>
              <a:gd name="adj" fmla="val 50000"/>
            </a:avLst>
          </a:prstGeom>
          <a:solidFill>
            <a:schemeClr val="lt1"/>
          </a:solidFill>
          <a:ln w="9525">
            <a:solidFill>
              <a:schemeClr val="dk1"/>
            </a:solidFill>
            <a:prstDash val="dash"/>
            <a:miter/>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l-GR" sz="1200" b="1" strike="noStrike" spc="-1">
                <a:solidFill>
                  <a:srgbClr val="000000"/>
                </a:solidFill>
                <a:latin typeface="Arial"/>
                <a:ea typeface="Arial"/>
              </a:rPr>
              <a:t>Λάρισα</a:t>
            </a:r>
            <a:endParaRPr lang="en-US" sz="1200" b="0" strike="noStrike" spc="-1">
              <a:latin typeface="Arial"/>
            </a:endParaRPr>
          </a:p>
        </p:txBody>
      </p:sp>
      <p:sp>
        <p:nvSpPr>
          <p:cNvPr id="353" name="CustomShape 69"/>
          <p:cNvSpPr/>
          <p:nvPr/>
        </p:nvSpPr>
        <p:spPr>
          <a:xfrm rot="5400000" flipH="1">
            <a:off x="2404440" y="2602080"/>
            <a:ext cx="449640" cy="812520"/>
          </a:xfrm>
          <a:prstGeom prst="bentConnector2">
            <a:avLst/>
          </a:prstGeom>
          <a:noFill/>
          <a:ln w="9525">
            <a:solidFill>
              <a:schemeClr val="dk1"/>
            </a:solidFill>
            <a:prstDash val="dash"/>
            <a:miter/>
          </a:ln>
        </p:spPr>
        <p:style>
          <a:lnRef idx="0">
            <a:scrgbClr r="0" g="0" b="0"/>
          </a:lnRef>
          <a:fillRef idx="0">
            <a:scrgbClr r="0" g="0" b="0"/>
          </a:fillRef>
          <a:effectRef idx="0">
            <a:scrgbClr r="0" g="0" b="0"/>
          </a:effectRef>
          <a:fontRef idx="minor"/>
        </p:style>
        <p:txBody>
          <a:bodyPr/>
          <a:lstStyle/>
          <a:p>
            <a:endParaRPr lang="el-GR"/>
          </a:p>
        </p:txBody>
      </p:sp>
      <p:sp>
        <p:nvSpPr>
          <p:cNvPr id="354" name="CustomShape 70"/>
          <p:cNvSpPr/>
          <p:nvPr/>
        </p:nvSpPr>
        <p:spPr>
          <a:xfrm>
            <a:off x="4497480" y="2466720"/>
            <a:ext cx="88200" cy="88200"/>
          </a:xfrm>
          <a:prstGeom prst="ellipse">
            <a:avLst/>
          </a:prstGeom>
          <a:solidFill>
            <a:srgbClr val="C00000"/>
          </a:solidFill>
          <a:ln w="12700">
            <a:solidFill>
              <a:schemeClr val="lt1"/>
            </a:solidFill>
            <a:round/>
          </a:ln>
          <a:effectLst>
            <a:outerShdw dist="35638" dir="2700000" sx="66000" sy="66000" algn="ctr" rotWithShape="0">
              <a:srgbClr val="1C1C1C">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55" name="CustomShape 71"/>
          <p:cNvSpPr/>
          <p:nvPr/>
        </p:nvSpPr>
        <p:spPr>
          <a:xfrm>
            <a:off x="5281560" y="2208960"/>
            <a:ext cx="1626840" cy="252360"/>
          </a:xfrm>
          <a:prstGeom prst="roundRect">
            <a:avLst>
              <a:gd name="adj" fmla="val 50000"/>
            </a:avLst>
          </a:prstGeom>
          <a:solidFill>
            <a:schemeClr val="lt1"/>
          </a:solidFill>
          <a:ln w="9525">
            <a:solidFill>
              <a:schemeClr val="dk1"/>
            </a:solidFill>
            <a:prstDash val="dash"/>
            <a:miter/>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l-GR" sz="1200" b="1" strike="noStrike" spc="-1">
                <a:solidFill>
                  <a:srgbClr val="000000"/>
                </a:solidFill>
                <a:latin typeface="Arial"/>
                <a:ea typeface="Arial"/>
              </a:rPr>
              <a:t>Αλεξανδρούπολη</a:t>
            </a:r>
            <a:endParaRPr lang="en-US" sz="1200" b="0" strike="noStrike" spc="-1">
              <a:latin typeface="Arial"/>
            </a:endParaRPr>
          </a:p>
        </p:txBody>
      </p:sp>
      <p:sp>
        <p:nvSpPr>
          <p:cNvPr id="356" name="CustomShape 72"/>
          <p:cNvSpPr/>
          <p:nvPr/>
        </p:nvSpPr>
        <p:spPr>
          <a:xfrm rot="10800000" flipH="1">
            <a:off x="4587480" y="2338200"/>
            <a:ext cx="691920" cy="173520"/>
          </a:xfrm>
          <a:prstGeom prst="bentConnector3">
            <a:avLst>
              <a:gd name="adj1" fmla="val 49992"/>
            </a:avLst>
          </a:prstGeom>
          <a:noFill/>
          <a:ln w="9525">
            <a:solidFill>
              <a:schemeClr val="dk1"/>
            </a:solidFill>
            <a:prstDash val="dash"/>
            <a:miter/>
          </a:ln>
        </p:spPr>
        <p:style>
          <a:lnRef idx="0">
            <a:scrgbClr r="0" g="0" b="0"/>
          </a:lnRef>
          <a:fillRef idx="0">
            <a:scrgbClr r="0" g="0" b="0"/>
          </a:fillRef>
          <a:effectRef idx="0">
            <a:scrgbClr r="0" g="0" b="0"/>
          </a:effectRef>
          <a:fontRef idx="minor"/>
        </p:style>
        <p:txBody>
          <a:bodyPr/>
          <a:lstStyle/>
          <a:p>
            <a:endParaRPr lang="el-GR"/>
          </a:p>
        </p:txBody>
      </p:sp>
      <p:sp>
        <p:nvSpPr>
          <p:cNvPr id="357" name="CustomShape 73"/>
          <p:cNvSpPr/>
          <p:nvPr/>
        </p:nvSpPr>
        <p:spPr>
          <a:xfrm>
            <a:off x="3562920" y="4109040"/>
            <a:ext cx="88200" cy="88200"/>
          </a:xfrm>
          <a:prstGeom prst="ellipse">
            <a:avLst/>
          </a:prstGeom>
          <a:solidFill>
            <a:srgbClr val="C00000"/>
          </a:solidFill>
          <a:ln w="12700">
            <a:solidFill>
              <a:schemeClr val="lt1"/>
            </a:solidFill>
            <a:round/>
          </a:ln>
          <a:effectLst>
            <a:outerShdw dist="35638" dir="2700000" sx="66000" sy="66000" algn="ctr" rotWithShape="0">
              <a:srgbClr val="1C1C1C">
                <a:alpha val="49000"/>
              </a:srgbClr>
            </a:outerShdw>
          </a:effectLst>
        </p:spPr>
        <p:style>
          <a:lnRef idx="0">
            <a:scrgbClr r="0" g="0" b="0"/>
          </a:lnRef>
          <a:fillRef idx="0">
            <a:scrgbClr r="0" g="0" b="0"/>
          </a:fillRef>
          <a:effectRef idx="0">
            <a:scrgbClr r="0" g="0" b="0"/>
          </a:effectRef>
          <a:fontRef idx="minor"/>
        </p:style>
        <p:txBody>
          <a:bodyPr/>
          <a:lstStyle/>
          <a:p>
            <a:endParaRPr lang="el-GR"/>
          </a:p>
        </p:txBody>
      </p:sp>
      <p:sp>
        <p:nvSpPr>
          <p:cNvPr id="358" name="CustomShape 74"/>
          <p:cNvSpPr/>
          <p:nvPr/>
        </p:nvSpPr>
        <p:spPr>
          <a:xfrm>
            <a:off x="6149520" y="3370320"/>
            <a:ext cx="3839760" cy="8704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7000"/>
              </a:lnSpc>
              <a:tabLst>
                <a:tab pos="0" algn="l"/>
              </a:tabLst>
            </a:pPr>
            <a:r>
              <a:rPr lang="el-GR" sz="1600" b="0" strike="noStrike" spc="-1">
                <a:solidFill>
                  <a:srgbClr val="000000"/>
                </a:solidFill>
                <a:latin typeface="Calibri"/>
                <a:ea typeface="Calibri"/>
              </a:rPr>
              <a:t>Για την Αθήνα ενδέχεται να καθοριστούν 2 Κέντρα Υγείας αυξάνοντας τον συνολικό αριθμό στα 8.</a:t>
            </a:r>
            <a:endParaRPr lang="en-US" sz="1600" b="0" strike="noStrike" spc="-1">
              <a:latin typeface="Aria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 name="CustomShape 1"/>
          <p:cNvSpPr/>
          <p:nvPr/>
        </p:nvSpPr>
        <p:spPr>
          <a:xfrm>
            <a:off x="327600" y="399600"/>
            <a:ext cx="11341440" cy="833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oAutofit/>
          </a:bodyPr>
          <a:lstStyle/>
          <a:p>
            <a:pPr>
              <a:lnSpc>
                <a:spcPct val="90000"/>
              </a:lnSpc>
              <a:tabLst>
                <a:tab pos="0" algn="l"/>
              </a:tabLst>
            </a:pPr>
            <a:r>
              <a:rPr lang="el-GR" sz="2600" b="1" strike="noStrike" spc="-1">
                <a:solidFill>
                  <a:srgbClr val="31506D"/>
                </a:solidFill>
                <a:latin typeface="Calibri"/>
                <a:ea typeface="Calibri"/>
              </a:rPr>
              <a:t>Στελέχωση κάθε Πανεπιστημιακού Κέντρου Υγείας με 4 μέλη ΔΕΠ κατάλληλων ειδικοτήτων - Στην Αθήνα και Θεσσαλονίκη με 5</a:t>
            </a:r>
            <a:endParaRPr lang="en-US" sz="2600" b="0" strike="noStrike" spc="-1">
              <a:latin typeface="Arial"/>
            </a:endParaRPr>
          </a:p>
        </p:txBody>
      </p:sp>
      <p:sp>
        <p:nvSpPr>
          <p:cNvPr id="360" name="CustomShape 2"/>
          <p:cNvSpPr/>
          <p:nvPr/>
        </p:nvSpPr>
        <p:spPr>
          <a:xfrm>
            <a:off x="11296440" y="6377040"/>
            <a:ext cx="519840" cy="25344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chor="ctr">
            <a:noAutofit/>
          </a:bodyPr>
          <a:lstStyle/>
          <a:p>
            <a:pPr>
              <a:lnSpc>
                <a:spcPct val="100000"/>
              </a:lnSpc>
              <a:tabLst>
                <a:tab pos="0" algn="l"/>
              </a:tabLst>
            </a:pPr>
            <a:fld id="{B319DF40-CEB3-45DA-823C-D07F227CD928}" type="slidenum">
              <a:rPr lang="el-GR" sz="1000" b="0" strike="noStrike" spc="-1">
                <a:solidFill>
                  <a:srgbClr val="000000"/>
                </a:solidFill>
                <a:latin typeface="Calibri"/>
                <a:ea typeface="Calibri"/>
              </a:rPr>
              <a:t>14</a:t>
            </a:fld>
            <a:endParaRPr lang="en-US" sz="1000" b="0" strike="noStrike" spc="-1">
              <a:latin typeface="Arial"/>
            </a:endParaRPr>
          </a:p>
        </p:txBody>
      </p:sp>
      <p:sp>
        <p:nvSpPr>
          <p:cNvPr id="361" name="CustomShape 3"/>
          <p:cNvSpPr/>
          <p:nvPr/>
        </p:nvSpPr>
        <p:spPr>
          <a:xfrm>
            <a:off x="326160" y="1251720"/>
            <a:ext cx="11341440" cy="365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chor="ctr">
            <a:noAutofit/>
          </a:bodyPr>
          <a:lstStyle/>
          <a:p>
            <a:pPr>
              <a:lnSpc>
                <a:spcPct val="100000"/>
              </a:lnSpc>
              <a:tabLst>
                <a:tab pos="0" algn="l"/>
              </a:tabLst>
            </a:pPr>
            <a:r>
              <a:rPr lang="el-GR" sz="1800" b="1" strike="noStrike" spc="-1">
                <a:solidFill>
                  <a:srgbClr val="363636"/>
                </a:solidFill>
                <a:latin typeface="Calibri"/>
                <a:ea typeface="Calibri"/>
              </a:rPr>
              <a:t>Πανεπιστημιακά Κέντρα Υγείας: Πλήθος και ειδικότητα μελών ΔΕΠ</a:t>
            </a:r>
            <a:endParaRPr lang="en-US" sz="1800" b="0" strike="noStrike" spc="-1">
              <a:latin typeface="Arial"/>
            </a:endParaRPr>
          </a:p>
        </p:txBody>
      </p:sp>
      <p:graphicFrame>
        <p:nvGraphicFramePr>
          <p:cNvPr id="362" name="Table 4"/>
          <p:cNvGraphicFramePr/>
          <p:nvPr/>
        </p:nvGraphicFramePr>
        <p:xfrm>
          <a:off x="452160" y="1800360"/>
          <a:ext cx="11495880" cy="4231200"/>
        </p:xfrm>
        <a:graphic>
          <a:graphicData uri="http://schemas.openxmlformats.org/drawingml/2006/table">
            <a:tbl>
              <a:tblPr/>
              <a:tblGrid>
                <a:gridCol w="3157200">
                  <a:extLst>
                    <a:ext uri="{9D8B030D-6E8A-4147-A177-3AD203B41FA5}">
                      <a16:colId xmlns:a16="http://schemas.microsoft.com/office/drawing/2014/main" val="20000"/>
                    </a:ext>
                  </a:extLst>
                </a:gridCol>
                <a:gridCol w="1042200">
                  <a:extLst>
                    <a:ext uri="{9D8B030D-6E8A-4147-A177-3AD203B41FA5}">
                      <a16:colId xmlns:a16="http://schemas.microsoft.com/office/drawing/2014/main" val="20001"/>
                    </a:ext>
                  </a:extLst>
                </a:gridCol>
                <a:gridCol w="1042200">
                  <a:extLst>
                    <a:ext uri="{9D8B030D-6E8A-4147-A177-3AD203B41FA5}">
                      <a16:colId xmlns:a16="http://schemas.microsoft.com/office/drawing/2014/main" val="20002"/>
                    </a:ext>
                  </a:extLst>
                </a:gridCol>
                <a:gridCol w="1042200">
                  <a:extLst>
                    <a:ext uri="{9D8B030D-6E8A-4147-A177-3AD203B41FA5}">
                      <a16:colId xmlns:a16="http://schemas.microsoft.com/office/drawing/2014/main" val="20003"/>
                    </a:ext>
                  </a:extLst>
                </a:gridCol>
                <a:gridCol w="1042200">
                  <a:extLst>
                    <a:ext uri="{9D8B030D-6E8A-4147-A177-3AD203B41FA5}">
                      <a16:colId xmlns:a16="http://schemas.microsoft.com/office/drawing/2014/main" val="20004"/>
                    </a:ext>
                  </a:extLst>
                </a:gridCol>
                <a:gridCol w="1042200">
                  <a:extLst>
                    <a:ext uri="{9D8B030D-6E8A-4147-A177-3AD203B41FA5}">
                      <a16:colId xmlns:a16="http://schemas.microsoft.com/office/drawing/2014/main" val="20005"/>
                    </a:ext>
                  </a:extLst>
                </a:gridCol>
                <a:gridCol w="1042200">
                  <a:extLst>
                    <a:ext uri="{9D8B030D-6E8A-4147-A177-3AD203B41FA5}">
                      <a16:colId xmlns:a16="http://schemas.microsoft.com/office/drawing/2014/main" val="20006"/>
                    </a:ext>
                  </a:extLst>
                </a:gridCol>
                <a:gridCol w="1042200">
                  <a:extLst>
                    <a:ext uri="{9D8B030D-6E8A-4147-A177-3AD203B41FA5}">
                      <a16:colId xmlns:a16="http://schemas.microsoft.com/office/drawing/2014/main" val="20007"/>
                    </a:ext>
                  </a:extLst>
                </a:gridCol>
                <a:gridCol w="1043280">
                  <a:extLst>
                    <a:ext uri="{9D8B030D-6E8A-4147-A177-3AD203B41FA5}">
                      <a16:colId xmlns:a16="http://schemas.microsoft.com/office/drawing/2014/main" val="20008"/>
                    </a:ext>
                  </a:extLst>
                </a:gridCol>
              </a:tblGrid>
              <a:tr h="720000">
                <a:tc>
                  <a:txBody>
                    <a:bodyPr/>
                    <a:lstStyle/>
                    <a:p>
                      <a:pPr>
                        <a:lnSpc>
                          <a:spcPct val="100000"/>
                        </a:lnSpc>
                        <a:tabLst>
                          <a:tab pos="0" algn="l"/>
                        </a:tabLst>
                      </a:pPr>
                      <a:r>
                        <a:rPr lang="el-GR" sz="1400" b="1" strike="noStrike" spc="-1">
                          <a:solidFill>
                            <a:srgbClr val="FFFFFF"/>
                          </a:solidFill>
                          <a:latin typeface="Arial"/>
                          <a:ea typeface="Arial"/>
                        </a:rPr>
                        <a:t>Ειδικότητα Μέλους ΔΕΠ</a:t>
                      </a:r>
                      <a:endParaRPr lang="en-US" sz="1400" b="0" strike="noStrike" spc="-1">
                        <a:latin typeface="Arial"/>
                      </a:endParaRPr>
                    </a:p>
                  </a:txBody>
                  <a:tcPr marL="108000" marR="108000">
                    <a:lnL w="18720">
                      <a:solidFill>
                        <a:srgbClr val="F2F2F2"/>
                      </a:solidFill>
                    </a:lnL>
                    <a:lnR w="18720">
                      <a:solidFill>
                        <a:srgbClr val="F2F2F2"/>
                      </a:solidFill>
                    </a:lnR>
                    <a:lnT w="18720">
                      <a:solidFill>
                        <a:srgbClr val="F2F2F2"/>
                      </a:solidFill>
                    </a:lnT>
                    <a:lnB w="9360">
                      <a:solidFill>
                        <a:srgbClr val="7F7F7F"/>
                      </a:solidFill>
                    </a:lnB>
                    <a:solidFill>
                      <a:srgbClr val="0070C0"/>
                    </a:solidFill>
                  </a:tcPr>
                </a:tc>
                <a:tc>
                  <a:txBody>
                    <a:bodyPr/>
                    <a:lstStyle/>
                    <a:p>
                      <a:pPr algn="ctr">
                        <a:lnSpc>
                          <a:spcPct val="100000"/>
                        </a:lnSpc>
                        <a:tabLst>
                          <a:tab pos="0" algn="l"/>
                        </a:tabLst>
                      </a:pPr>
                      <a:r>
                        <a:rPr lang="el-GR" sz="1200" b="1" strike="noStrike" spc="-1">
                          <a:solidFill>
                            <a:srgbClr val="FFFFFF"/>
                          </a:solidFill>
                          <a:latin typeface="Arial"/>
                          <a:ea typeface="Arial"/>
                        </a:rPr>
                        <a:t>Αθήνα</a:t>
                      </a:r>
                      <a:endParaRPr lang="en-US" sz="1200" b="0" strike="noStrike" spc="-1">
                        <a:latin typeface="Arial"/>
                      </a:endParaRPr>
                    </a:p>
                  </a:txBody>
                  <a:tcPr>
                    <a:lnL w="18720">
                      <a:solidFill>
                        <a:srgbClr val="F2F2F2"/>
                      </a:solidFill>
                    </a:lnL>
                    <a:lnR w="18720">
                      <a:solidFill>
                        <a:srgbClr val="F2F2F2"/>
                      </a:solidFill>
                    </a:lnR>
                    <a:lnT w="18720">
                      <a:solidFill>
                        <a:srgbClr val="F2F2F2"/>
                      </a:solidFill>
                    </a:lnT>
                    <a:lnB w="9360">
                      <a:solidFill>
                        <a:srgbClr val="7F7F7F"/>
                      </a:solidFill>
                    </a:lnB>
                    <a:solidFill>
                      <a:srgbClr val="0070C0"/>
                    </a:solidFill>
                  </a:tcPr>
                </a:tc>
                <a:tc>
                  <a:txBody>
                    <a:bodyPr/>
                    <a:lstStyle/>
                    <a:p>
                      <a:pPr algn="ctr">
                        <a:lnSpc>
                          <a:spcPct val="100000"/>
                        </a:lnSpc>
                        <a:tabLst>
                          <a:tab pos="0" algn="l"/>
                        </a:tabLst>
                      </a:pPr>
                      <a:r>
                        <a:rPr lang="el-GR" sz="1200" b="1" strike="noStrike" spc="-1">
                          <a:solidFill>
                            <a:srgbClr val="FFFFFF"/>
                          </a:solidFill>
                          <a:latin typeface="Arial"/>
                          <a:ea typeface="Arial"/>
                        </a:rPr>
                        <a:t>Θεσσαλονίκη</a:t>
                      </a:r>
                      <a:endParaRPr lang="en-US" sz="1200" b="0" strike="noStrike" spc="-1">
                        <a:latin typeface="Arial"/>
                      </a:endParaRPr>
                    </a:p>
                  </a:txBody>
                  <a:tcPr>
                    <a:lnL w="18720">
                      <a:solidFill>
                        <a:srgbClr val="F2F2F2"/>
                      </a:solidFill>
                    </a:lnL>
                    <a:lnR w="18720">
                      <a:solidFill>
                        <a:srgbClr val="F2F2F2"/>
                      </a:solidFill>
                    </a:lnR>
                    <a:lnT w="18720">
                      <a:solidFill>
                        <a:srgbClr val="F2F2F2"/>
                      </a:solidFill>
                    </a:lnT>
                    <a:lnB w="9360">
                      <a:solidFill>
                        <a:srgbClr val="7F7F7F"/>
                      </a:solidFill>
                    </a:lnB>
                    <a:solidFill>
                      <a:srgbClr val="0070C0"/>
                    </a:solidFill>
                  </a:tcPr>
                </a:tc>
                <a:tc>
                  <a:txBody>
                    <a:bodyPr/>
                    <a:lstStyle/>
                    <a:p>
                      <a:pPr algn="ctr">
                        <a:lnSpc>
                          <a:spcPct val="100000"/>
                        </a:lnSpc>
                        <a:tabLst>
                          <a:tab pos="0" algn="l"/>
                        </a:tabLst>
                      </a:pPr>
                      <a:r>
                        <a:rPr lang="el-GR" sz="1200" b="1" strike="noStrike" spc="-1">
                          <a:solidFill>
                            <a:srgbClr val="FFFFFF"/>
                          </a:solidFill>
                          <a:latin typeface="Arial"/>
                          <a:ea typeface="Arial"/>
                        </a:rPr>
                        <a:t>Αλεξανδρού-πολη</a:t>
                      </a:r>
                      <a:endParaRPr lang="en-US" sz="1200" b="0" strike="noStrike" spc="-1">
                        <a:latin typeface="Arial"/>
                      </a:endParaRPr>
                    </a:p>
                  </a:txBody>
                  <a:tcPr>
                    <a:lnL w="18720">
                      <a:solidFill>
                        <a:srgbClr val="F2F2F2"/>
                      </a:solidFill>
                    </a:lnL>
                    <a:lnR w="18720">
                      <a:solidFill>
                        <a:srgbClr val="F2F2F2"/>
                      </a:solidFill>
                    </a:lnR>
                    <a:lnT w="18720">
                      <a:solidFill>
                        <a:srgbClr val="F2F2F2"/>
                      </a:solidFill>
                    </a:lnT>
                    <a:lnB w="9360">
                      <a:solidFill>
                        <a:srgbClr val="7F7F7F"/>
                      </a:solidFill>
                    </a:lnB>
                    <a:solidFill>
                      <a:srgbClr val="0070C0"/>
                    </a:solidFill>
                  </a:tcPr>
                </a:tc>
                <a:tc>
                  <a:txBody>
                    <a:bodyPr/>
                    <a:lstStyle/>
                    <a:p>
                      <a:pPr algn="ctr">
                        <a:lnSpc>
                          <a:spcPct val="100000"/>
                        </a:lnSpc>
                        <a:tabLst>
                          <a:tab pos="0" algn="l"/>
                        </a:tabLst>
                      </a:pPr>
                      <a:r>
                        <a:rPr lang="el-GR" sz="1200" b="1" strike="noStrike" spc="-1">
                          <a:solidFill>
                            <a:srgbClr val="FFFFFF"/>
                          </a:solidFill>
                          <a:latin typeface="Arial"/>
                          <a:ea typeface="Arial"/>
                        </a:rPr>
                        <a:t>Λάρισα</a:t>
                      </a:r>
                      <a:endParaRPr lang="en-US" sz="1200" b="0" strike="noStrike" spc="-1">
                        <a:latin typeface="Arial"/>
                      </a:endParaRPr>
                    </a:p>
                  </a:txBody>
                  <a:tcPr>
                    <a:lnL w="18720">
                      <a:solidFill>
                        <a:srgbClr val="F2F2F2"/>
                      </a:solidFill>
                    </a:lnL>
                    <a:lnR w="18720">
                      <a:solidFill>
                        <a:srgbClr val="F2F2F2"/>
                      </a:solidFill>
                    </a:lnR>
                    <a:lnT w="18720">
                      <a:solidFill>
                        <a:srgbClr val="F2F2F2"/>
                      </a:solidFill>
                    </a:lnT>
                    <a:lnB w="9360">
                      <a:solidFill>
                        <a:srgbClr val="7F7F7F"/>
                      </a:solidFill>
                    </a:lnB>
                    <a:solidFill>
                      <a:srgbClr val="0070C0"/>
                    </a:solidFill>
                  </a:tcPr>
                </a:tc>
                <a:tc>
                  <a:txBody>
                    <a:bodyPr/>
                    <a:lstStyle/>
                    <a:p>
                      <a:pPr algn="ctr">
                        <a:lnSpc>
                          <a:spcPct val="100000"/>
                        </a:lnSpc>
                        <a:tabLst>
                          <a:tab pos="0" algn="l"/>
                        </a:tabLst>
                      </a:pPr>
                      <a:r>
                        <a:rPr lang="el-GR" sz="1200" b="1" strike="noStrike" spc="-1">
                          <a:solidFill>
                            <a:srgbClr val="FFFFFF"/>
                          </a:solidFill>
                          <a:latin typeface="Arial"/>
                          <a:ea typeface="Arial"/>
                        </a:rPr>
                        <a:t>Πάτρα</a:t>
                      </a:r>
                      <a:endParaRPr lang="en-US" sz="1200" b="0" strike="noStrike" spc="-1">
                        <a:latin typeface="Arial"/>
                      </a:endParaRPr>
                    </a:p>
                  </a:txBody>
                  <a:tcPr>
                    <a:lnL w="18720">
                      <a:solidFill>
                        <a:srgbClr val="F2F2F2"/>
                      </a:solidFill>
                    </a:lnL>
                    <a:lnR w="18720">
                      <a:solidFill>
                        <a:srgbClr val="F2F2F2"/>
                      </a:solidFill>
                    </a:lnR>
                    <a:lnT w="18720">
                      <a:solidFill>
                        <a:srgbClr val="F2F2F2"/>
                      </a:solidFill>
                    </a:lnT>
                    <a:lnB w="9360">
                      <a:solidFill>
                        <a:srgbClr val="7F7F7F"/>
                      </a:solidFill>
                    </a:lnB>
                    <a:solidFill>
                      <a:srgbClr val="0070C0"/>
                    </a:solidFill>
                  </a:tcPr>
                </a:tc>
                <a:tc>
                  <a:txBody>
                    <a:bodyPr/>
                    <a:lstStyle/>
                    <a:p>
                      <a:pPr algn="ctr">
                        <a:lnSpc>
                          <a:spcPct val="100000"/>
                        </a:lnSpc>
                        <a:tabLst>
                          <a:tab pos="0" algn="l"/>
                        </a:tabLst>
                      </a:pPr>
                      <a:r>
                        <a:rPr lang="el-GR" sz="1200" b="1" strike="noStrike" spc="-1">
                          <a:solidFill>
                            <a:srgbClr val="FFFFFF"/>
                          </a:solidFill>
                          <a:latin typeface="Arial"/>
                          <a:ea typeface="Arial"/>
                        </a:rPr>
                        <a:t>Ιωάννινα</a:t>
                      </a:r>
                      <a:endParaRPr lang="en-US" sz="1200" b="0" strike="noStrike" spc="-1">
                        <a:latin typeface="Arial"/>
                      </a:endParaRPr>
                    </a:p>
                  </a:txBody>
                  <a:tcPr>
                    <a:lnL w="18720">
                      <a:solidFill>
                        <a:srgbClr val="F2F2F2"/>
                      </a:solidFill>
                    </a:lnL>
                    <a:lnR w="18720">
                      <a:solidFill>
                        <a:srgbClr val="F2F2F2"/>
                      </a:solidFill>
                    </a:lnR>
                    <a:lnT w="18720">
                      <a:solidFill>
                        <a:srgbClr val="F2F2F2"/>
                      </a:solidFill>
                    </a:lnT>
                    <a:lnB w="9360">
                      <a:solidFill>
                        <a:srgbClr val="7F7F7F"/>
                      </a:solidFill>
                    </a:lnB>
                    <a:solidFill>
                      <a:srgbClr val="0070C0"/>
                    </a:solidFill>
                  </a:tcPr>
                </a:tc>
                <a:tc>
                  <a:txBody>
                    <a:bodyPr/>
                    <a:lstStyle/>
                    <a:p>
                      <a:pPr algn="ctr">
                        <a:lnSpc>
                          <a:spcPct val="100000"/>
                        </a:lnSpc>
                        <a:tabLst>
                          <a:tab pos="0" algn="l"/>
                        </a:tabLst>
                      </a:pPr>
                      <a:r>
                        <a:rPr lang="el-GR" sz="1200" b="1" strike="noStrike" spc="-1">
                          <a:solidFill>
                            <a:srgbClr val="FFFFFF"/>
                          </a:solidFill>
                          <a:latin typeface="Arial"/>
                          <a:ea typeface="Arial"/>
                        </a:rPr>
                        <a:t>Κρήτη</a:t>
                      </a:r>
                      <a:endParaRPr lang="en-US" sz="1200" b="0" strike="noStrike" spc="-1">
                        <a:latin typeface="Arial"/>
                      </a:endParaRPr>
                    </a:p>
                  </a:txBody>
                  <a:tcPr>
                    <a:lnL w="18720">
                      <a:solidFill>
                        <a:srgbClr val="F2F2F2"/>
                      </a:solidFill>
                    </a:lnL>
                    <a:lnR w="9360">
                      <a:solidFill>
                        <a:srgbClr val="7F7F7F"/>
                      </a:solidFill>
                    </a:lnR>
                    <a:lnT w="18720">
                      <a:solidFill>
                        <a:srgbClr val="F2F2F2"/>
                      </a:solidFill>
                    </a:lnT>
                    <a:lnB w="9360">
                      <a:solidFill>
                        <a:srgbClr val="7F7F7F"/>
                      </a:solidFill>
                    </a:lnB>
                    <a:solidFill>
                      <a:srgbClr val="0070C0"/>
                    </a:solidFill>
                  </a:tcPr>
                </a:tc>
                <a:tc>
                  <a:txBody>
                    <a:bodyPr/>
                    <a:lstStyle/>
                    <a:p>
                      <a:pPr algn="ctr">
                        <a:lnSpc>
                          <a:spcPct val="100000"/>
                        </a:lnSpc>
                        <a:tabLst>
                          <a:tab pos="0" algn="l"/>
                        </a:tabLst>
                      </a:pPr>
                      <a:r>
                        <a:rPr lang="el-GR" sz="1200" b="1" strike="noStrike" spc="-1">
                          <a:solidFill>
                            <a:srgbClr val="000000"/>
                          </a:solidFill>
                          <a:latin typeface="Arial"/>
                          <a:ea typeface="Arial"/>
                        </a:rPr>
                        <a:t>ΣΥΝΟΛΟ ΜΕΛΩΝ ΔΕΠ</a:t>
                      </a:r>
                      <a:endParaRPr lang="en-US" sz="1200" b="0" strike="noStrike" spc="-1">
                        <a:latin typeface="Arial"/>
                      </a:endParaRPr>
                    </a:p>
                  </a:txBody>
                  <a:tcPr>
                    <a:lnL w="9360">
                      <a:solidFill>
                        <a:srgbClr val="7F7F7F"/>
                      </a:solidFill>
                    </a:lnL>
                    <a:lnR w="9360">
                      <a:solidFill>
                        <a:srgbClr val="7F7F7F"/>
                      </a:solidFill>
                    </a:lnR>
                    <a:lnT w="9360">
                      <a:solidFill>
                        <a:srgbClr val="7F7F7F"/>
                      </a:solidFill>
                    </a:lnT>
                    <a:lnB w="9360">
                      <a:solidFill>
                        <a:srgbClr val="7F7F7F"/>
                      </a:solidFill>
                    </a:lnB>
                    <a:solidFill>
                      <a:srgbClr val="D9D9D9"/>
                    </a:solidFill>
                  </a:tcPr>
                </a:tc>
                <a:extLst>
                  <a:ext uri="{0D108BD9-81ED-4DB2-BD59-A6C34878D82A}">
                    <a16:rowId xmlns:a16="http://schemas.microsoft.com/office/drawing/2014/main" val="10000"/>
                  </a:ext>
                </a:extLst>
              </a:tr>
              <a:tr h="741600">
                <a:tc>
                  <a:txBody>
                    <a:bodyPr/>
                    <a:lstStyle/>
                    <a:p>
                      <a:pPr>
                        <a:lnSpc>
                          <a:spcPct val="100000"/>
                        </a:lnSpc>
                        <a:tabLst>
                          <a:tab pos="0" algn="l"/>
                        </a:tabLst>
                      </a:pPr>
                      <a:r>
                        <a:rPr lang="el-GR" sz="1100" b="0" strike="noStrike" spc="-1">
                          <a:solidFill>
                            <a:srgbClr val="000000"/>
                          </a:solidFill>
                          <a:latin typeface="Arial"/>
                          <a:ea typeface="Arial"/>
                        </a:rPr>
                        <a:t>Προληπτική Ιατρική: 1 Παθολόγος/Γενικός ιατρός με εξειδίκευση στην επείγουσα ιατρική (υπεύθυνος για την παροχή υπηρεσιών τηλεϊατρικής)</a:t>
                      </a:r>
                      <a:endParaRPr lang="en-US" sz="11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7</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solidFill>
                      <a:srgbClr val="D9D9D9"/>
                    </a:solidFill>
                  </a:tcPr>
                </a:tc>
                <a:extLst>
                  <a:ext uri="{0D108BD9-81ED-4DB2-BD59-A6C34878D82A}">
                    <a16:rowId xmlns:a16="http://schemas.microsoft.com/office/drawing/2014/main" val="10001"/>
                  </a:ext>
                </a:extLst>
              </a:tr>
              <a:tr h="741600">
                <a:tc>
                  <a:txBody>
                    <a:bodyPr/>
                    <a:lstStyle/>
                    <a:p>
                      <a:pPr>
                        <a:lnSpc>
                          <a:spcPct val="100000"/>
                        </a:lnSpc>
                        <a:tabLst>
                          <a:tab pos="0" algn="l"/>
                        </a:tabLst>
                      </a:pPr>
                      <a:r>
                        <a:rPr lang="el-GR" sz="1100" b="0" strike="noStrike" spc="-1">
                          <a:solidFill>
                            <a:srgbClr val="000000"/>
                          </a:solidFill>
                          <a:latin typeface="Arial"/>
                          <a:ea typeface="Arial"/>
                        </a:rPr>
                        <a:t>Προληπτική Ιατρική : 1-2 Παθολόγοι/Γενικοί Ιατροί με μετεκπαίδευση στην πρόληψη καρδιαγγειακών νοσημάτων με έμφαση στη δυσλιπιδαιμία</a:t>
                      </a:r>
                      <a:endParaRPr lang="en-US" sz="11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2</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solidFill>
                      <a:srgbClr val="D3E5F6"/>
                    </a:solidFill>
                  </a:tcPr>
                </a:tc>
                <a:tc>
                  <a:txBody>
                    <a:bodyPr/>
                    <a:lstStyle/>
                    <a:p>
                      <a:pPr algn="ctr">
                        <a:lnSpc>
                          <a:spcPct val="100000"/>
                        </a:lnSpc>
                        <a:tabLst>
                          <a:tab pos="0" algn="l"/>
                        </a:tabLst>
                      </a:pPr>
                      <a:r>
                        <a:rPr lang="el-GR" sz="1400" b="0" strike="noStrike" spc="-1">
                          <a:solidFill>
                            <a:srgbClr val="000000"/>
                          </a:solidFill>
                          <a:latin typeface="Arial"/>
                          <a:ea typeface="Arial"/>
                        </a:rPr>
                        <a:t>2</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solidFill>
                      <a:srgbClr val="D3E5F6"/>
                    </a:solid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9</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solidFill>
                      <a:srgbClr val="D9D9D9"/>
                    </a:solidFill>
                  </a:tcPr>
                </a:tc>
                <a:extLst>
                  <a:ext uri="{0D108BD9-81ED-4DB2-BD59-A6C34878D82A}">
                    <a16:rowId xmlns:a16="http://schemas.microsoft.com/office/drawing/2014/main" val="10002"/>
                  </a:ext>
                </a:extLst>
              </a:tr>
              <a:tr h="741600">
                <a:tc>
                  <a:txBody>
                    <a:bodyPr/>
                    <a:lstStyle/>
                    <a:p>
                      <a:pPr>
                        <a:lnSpc>
                          <a:spcPct val="100000"/>
                        </a:lnSpc>
                        <a:tabLst>
                          <a:tab pos="0" algn="l"/>
                        </a:tabLst>
                      </a:pPr>
                      <a:r>
                        <a:rPr lang="el-GR" sz="1100" b="0" strike="noStrike" spc="-1">
                          <a:solidFill>
                            <a:srgbClr val="000000"/>
                          </a:solidFill>
                          <a:latin typeface="Arial"/>
                          <a:ea typeface="Arial"/>
                        </a:rPr>
                        <a:t>Προληπτική Ιατρική: 1 Παιδίατρος με εξειδίκευση στον σακχαρώδη διαβήτη και την παιδική παχυσαρκία</a:t>
                      </a:r>
                      <a:endParaRPr lang="en-US" sz="11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7</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solidFill>
                      <a:srgbClr val="D9D9D9"/>
                    </a:solidFill>
                  </a:tcPr>
                </a:tc>
                <a:extLst>
                  <a:ext uri="{0D108BD9-81ED-4DB2-BD59-A6C34878D82A}">
                    <a16:rowId xmlns:a16="http://schemas.microsoft.com/office/drawing/2014/main" val="10003"/>
                  </a:ext>
                </a:extLst>
              </a:tr>
              <a:tr h="741600">
                <a:tc>
                  <a:txBody>
                    <a:bodyPr/>
                    <a:lstStyle/>
                    <a:p>
                      <a:pPr>
                        <a:lnSpc>
                          <a:spcPct val="100000"/>
                        </a:lnSpc>
                        <a:tabLst>
                          <a:tab pos="0" algn="l"/>
                        </a:tabLst>
                      </a:pPr>
                      <a:r>
                        <a:rPr lang="el-GR" sz="1100" b="0" strike="noStrike" spc="-1">
                          <a:solidFill>
                            <a:srgbClr val="000000"/>
                          </a:solidFill>
                          <a:latin typeface="Arial"/>
                          <a:ea typeface="Arial"/>
                        </a:rPr>
                        <a:t>Προληπτική Ιατρική: 1 Ψυχολόγος στο αντικείμενο της ψυχολογίας της υγείας ή ελλείψει αυτού στην προαγωγή της υγείας</a:t>
                      </a:r>
                      <a:endParaRPr lang="en-US" sz="11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7</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solidFill>
                      <a:srgbClr val="D9D9D9"/>
                    </a:solidFill>
                  </a:tcPr>
                </a:tc>
                <a:extLst>
                  <a:ext uri="{0D108BD9-81ED-4DB2-BD59-A6C34878D82A}">
                    <a16:rowId xmlns:a16="http://schemas.microsoft.com/office/drawing/2014/main" val="10004"/>
                  </a:ext>
                </a:extLst>
              </a:tr>
              <a:tr h="504000">
                <a:tc>
                  <a:txBody>
                    <a:bodyPr/>
                    <a:lstStyle/>
                    <a:p>
                      <a:pPr>
                        <a:lnSpc>
                          <a:spcPct val="100000"/>
                        </a:lnSpc>
                        <a:tabLst>
                          <a:tab pos="0" algn="l"/>
                        </a:tabLst>
                      </a:pPr>
                      <a:r>
                        <a:rPr lang="el-GR" sz="1100" b="1" strike="noStrike" spc="-1">
                          <a:solidFill>
                            <a:srgbClr val="000000"/>
                          </a:solidFill>
                          <a:latin typeface="Arial"/>
                          <a:ea typeface="Arial"/>
                        </a:rPr>
                        <a:t>ΣΥΝΟΛΟ ΜΕΛΩΝ ΔΕΠ</a:t>
                      </a:r>
                      <a:endParaRPr lang="en-US" sz="11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solidFill>
                      <a:srgbClr val="D8D8D8"/>
                    </a:solidFill>
                  </a:tcPr>
                </a:tc>
                <a:tc>
                  <a:txBody>
                    <a:bodyPr/>
                    <a:lstStyle/>
                    <a:p>
                      <a:pPr algn="ctr">
                        <a:lnSpc>
                          <a:spcPct val="100000"/>
                        </a:lnSpc>
                        <a:tabLst>
                          <a:tab pos="0" algn="l"/>
                        </a:tabLst>
                      </a:pPr>
                      <a:r>
                        <a:rPr lang="el-GR" sz="1400" b="1" strike="noStrike" spc="-1">
                          <a:solidFill>
                            <a:srgbClr val="000000"/>
                          </a:solidFill>
                          <a:latin typeface="Arial"/>
                          <a:ea typeface="Arial"/>
                        </a:rPr>
                        <a:t>5</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solidFill>
                      <a:srgbClr val="D8D8D8"/>
                    </a:solidFill>
                  </a:tcPr>
                </a:tc>
                <a:tc>
                  <a:txBody>
                    <a:bodyPr/>
                    <a:lstStyle/>
                    <a:p>
                      <a:pPr algn="ctr">
                        <a:lnSpc>
                          <a:spcPct val="100000"/>
                        </a:lnSpc>
                        <a:tabLst>
                          <a:tab pos="0" algn="l"/>
                        </a:tabLst>
                      </a:pPr>
                      <a:r>
                        <a:rPr lang="el-GR" sz="1400" b="1" strike="noStrike" spc="-1">
                          <a:solidFill>
                            <a:srgbClr val="000000"/>
                          </a:solidFill>
                          <a:latin typeface="Arial"/>
                          <a:ea typeface="Arial"/>
                        </a:rPr>
                        <a:t>5</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solidFill>
                      <a:srgbClr val="D8D8D8"/>
                    </a:solidFill>
                  </a:tcPr>
                </a:tc>
                <a:tc>
                  <a:txBody>
                    <a:bodyPr/>
                    <a:lstStyle/>
                    <a:p>
                      <a:pPr algn="ctr">
                        <a:lnSpc>
                          <a:spcPct val="100000"/>
                        </a:lnSpc>
                        <a:tabLst>
                          <a:tab pos="0" algn="l"/>
                        </a:tabLst>
                      </a:pPr>
                      <a:r>
                        <a:rPr lang="el-GR" sz="1400" b="1" strike="noStrike" spc="-1">
                          <a:solidFill>
                            <a:srgbClr val="000000"/>
                          </a:solidFill>
                          <a:latin typeface="Arial"/>
                          <a:ea typeface="Arial"/>
                        </a:rPr>
                        <a:t>4</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solidFill>
                      <a:srgbClr val="D8D8D8"/>
                    </a:solidFill>
                  </a:tcPr>
                </a:tc>
                <a:tc>
                  <a:txBody>
                    <a:bodyPr/>
                    <a:lstStyle/>
                    <a:p>
                      <a:pPr algn="ctr">
                        <a:lnSpc>
                          <a:spcPct val="100000"/>
                        </a:lnSpc>
                        <a:tabLst>
                          <a:tab pos="0" algn="l"/>
                        </a:tabLst>
                      </a:pPr>
                      <a:r>
                        <a:rPr lang="el-GR" sz="1400" b="1" strike="noStrike" spc="-1">
                          <a:solidFill>
                            <a:srgbClr val="000000"/>
                          </a:solidFill>
                          <a:latin typeface="Arial"/>
                          <a:ea typeface="Arial"/>
                        </a:rPr>
                        <a:t>4</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solidFill>
                      <a:srgbClr val="D8D8D8"/>
                    </a:solidFill>
                  </a:tcPr>
                </a:tc>
                <a:tc>
                  <a:txBody>
                    <a:bodyPr/>
                    <a:lstStyle/>
                    <a:p>
                      <a:pPr algn="ctr">
                        <a:lnSpc>
                          <a:spcPct val="100000"/>
                        </a:lnSpc>
                        <a:tabLst>
                          <a:tab pos="0" algn="l"/>
                        </a:tabLst>
                      </a:pPr>
                      <a:r>
                        <a:rPr lang="el-GR" sz="1400" b="1" strike="noStrike" spc="-1">
                          <a:solidFill>
                            <a:srgbClr val="000000"/>
                          </a:solidFill>
                          <a:latin typeface="Arial"/>
                          <a:ea typeface="Arial"/>
                        </a:rPr>
                        <a:t>4</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solidFill>
                      <a:srgbClr val="D8D8D8"/>
                    </a:solidFill>
                  </a:tcPr>
                </a:tc>
                <a:tc>
                  <a:txBody>
                    <a:bodyPr/>
                    <a:lstStyle/>
                    <a:p>
                      <a:pPr algn="ctr">
                        <a:lnSpc>
                          <a:spcPct val="100000"/>
                        </a:lnSpc>
                        <a:tabLst>
                          <a:tab pos="0" algn="l"/>
                        </a:tabLst>
                      </a:pPr>
                      <a:r>
                        <a:rPr lang="el-GR" sz="1400" b="1" strike="noStrike" spc="-1">
                          <a:solidFill>
                            <a:srgbClr val="000000"/>
                          </a:solidFill>
                          <a:latin typeface="Arial"/>
                          <a:ea typeface="Arial"/>
                        </a:rPr>
                        <a:t>4</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solidFill>
                      <a:srgbClr val="D8D8D8"/>
                    </a:solidFill>
                  </a:tcPr>
                </a:tc>
                <a:tc>
                  <a:txBody>
                    <a:bodyPr/>
                    <a:lstStyle/>
                    <a:p>
                      <a:pPr algn="ctr">
                        <a:lnSpc>
                          <a:spcPct val="100000"/>
                        </a:lnSpc>
                        <a:tabLst>
                          <a:tab pos="0" algn="l"/>
                        </a:tabLst>
                      </a:pPr>
                      <a:r>
                        <a:rPr lang="el-GR" sz="1400" b="1" strike="noStrike" spc="-1">
                          <a:solidFill>
                            <a:srgbClr val="000000"/>
                          </a:solidFill>
                          <a:latin typeface="Arial"/>
                          <a:ea typeface="Arial"/>
                        </a:rPr>
                        <a:t>4</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solidFill>
                      <a:srgbClr val="D8D8D8"/>
                    </a:solidFill>
                  </a:tcPr>
                </a:tc>
                <a:tc>
                  <a:txBody>
                    <a:bodyPr/>
                    <a:lstStyle/>
                    <a:p>
                      <a:pPr algn="ctr">
                        <a:lnSpc>
                          <a:spcPct val="100000"/>
                        </a:lnSpc>
                        <a:tabLst>
                          <a:tab pos="0" algn="l"/>
                        </a:tabLst>
                      </a:pPr>
                      <a:r>
                        <a:rPr lang="el-GR" sz="1400" b="1" strike="noStrike" spc="-1">
                          <a:solidFill>
                            <a:srgbClr val="000000"/>
                          </a:solidFill>
                          <a:latin typeface="Arial"/>
                          <a:ea typeface="Arial"/>
                        </a:rPr>
                        <a:t>30</a:t>
                      </a:r>
                      <a:endParaRPr lang="en-US" sz="1400" b="0" strike="noStrike" spc="-1">
                        <a:latin typeface="Arial"/>
                      </a:endParaRPr>
                    </a:p>
                  </a:txBody>
                  <a:tcPr marL="108000" marR="108000">
                    <a:lnL w="9360">
                      <a:solidFill>
                        <a:srgbClr val="7F7F7F"/>
                      </a:solidFill>
                    </a:lnL>
                    <a:lnR w="9360">
                      <a:solidFill>
                        <a:srgbClr val="7F7F7F"/>
                      </a:solidFill>
                    </a:lnR>
                    <a:lnT w="9360">
                      <a:solidFill>
                        <a:srgbClr val="7F7F7F"/>
                      </a:solidFill>
                    </a:lnT>
                    <a:lnB w="9360">
                      <a:solidFill>
                        <a:srgbClr val="7F7F7F"/>
                      </a:solidFill>
                    </a:lnB>
                    <a:solidFill>
                      <a:srgbClr val="D8D8D8"/>
                    </a:solidFill>
                  </a:tcPr>
                </a:tc>
                <a:extLst>
                  <a:ext uri="{0D108BD9-81ED-4DB2-BD59-A6C34878D82A}">
                    <a16:rowId xmlns:a16="http://schemas.microsoft.com/office/drawing/2014/main" val="10005"/>
                  </a:ext>
                </a:extLst>
              </a:tr>
            </a:tbl>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3" name="CustomShape 1"/>
          <p:cNvSpPr/>
          <p:nvPr/>
        </p:nvSpPr>
        <p:spPr>
          <a:xfrm>
            <a:off x="327600" y="399600"/>
            <a:ext cx="11341440" cy="833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oAutofit/>
          </a:bodyPr>
          <a:lstStyle/>
          <a:p>
            <a:pPr>
              <a:lnSpc>
                <a:spcPct val="90000"/>
              </a:lnSpc>
              <a:tabLst>
                <a:tab pos="0" algn="l"/>
              </a:tabLst>
            </a:pPr>
            <a:r>
              <a:rPr lang="el-GR" sz="2600" b="1" strike="noStrike" spc="-1">
                <a:solidFill>
                  <a:srgbClr val="31506D"/>
                </a:solidFill>
                <a:latin typeface="Calibri"/>
                <a:ea typeface="Calibri"/>
              </a:rPr>
              <a:t>Στα 7 Πανεπιστημιακά Κέντρα Υγείας προβλέπεται εγκατάσταση εκπαιδευτικών σταθμών τηλεϊατρικής στα πλαίσια του υφιστάμενου έργου ψηφιοποίησης</a:t>
            </a:r>
            <a:endParaRPr lang="en-US" sz="2600" b="0" strike="noStrike" spc="-1">
              <a:latin typeface="Arial"/>
            </a:endParaRPr>
          </a:p>
        </p:txBody>
      </p:sp>
      <p:sp>
        <p:nvSpPr>
          <p:cNvPr id="364" name="CustomShape 2"/>
          <p:cNvSpPr/>
          <p:nvPr/>
        </p:nvSpPr>
        <p:spPr>
          <a:xfrm>
            <a:off x="11296440" y="6377040"/>
            <a:ext cx="519840" cy="25344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chor="ctr">
            <a:noAutofit/>
          </a:bodyPr>
          <a:lstStyle/>
          <a:p>
            <a:pPr>
              <a:lnSpc>
                <a:spcPct val="100000"/>
              </a:lnSpc>
              <a:tabLst>
                <a:tab pos="0" algn="l"/>
              </a:tabLst>
            </a:pPr>
            <a:fld id="{A137EB05-1313-46F3-966A-FB30617DD2F0}" type="slidenum">
              <a:rPr lang="el-GR" sz="1000" b="0" strike="noStrike" spc="-1">
                <a:solidFill>
                  <a:srgbClr val="000000"/>
                </a:solidFill>
                <a:latin typeface="Calibri"/>
                <a:ea typeface="Calibri"/>
              </a:rPr>
              <a:t>15</a:t>
            </a:fld>
            <a:endParaRPr lang="en-US" sz="1000" b="0" strike="noStrike" spc="-1">
              <a:latin typeface="Arial"/>
            </a:endParaRPr>
          </a:p>
        </p:txBody>
      </p:sp>
      <p:sp>
        <p:nvSpPr>
          <p:cNvPr id="365" name="CustomShape 3"/>
          <p:cNvSpPr/>
          <p:nvPr/>
        </p:nvSpPr>
        <p:spPr>
          <a:xfrm>
            <a:off x="326160" y="1251720"/>
            <a:ext cx="11341440" cy="365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chor="ctr">
            <a:noAutofit/>
          </a:bodyPr>
          <a:lstStyle/>
          <a:p>
            <a:pPr>
              <a:lnSpc>
                <a:spcPct val="100000"/>
              </a:lnSpc>
              <a:tabLst>
                <a:tab pos="0" algn="l"/>
              </a:tabLst>
            </a:pPr>
            <a:r>
              <a:rPr lang="el-GR" sz="1800" b="1" strike="noStrike" spc="-1">
                <a:solidFill>
                  <a:srgbClr val="363636"/>
                </a:solidFill>
                <a:latin typeface="Calibri"/>
                <a:ea typeface="Calibri"/>
              </a:rPr>
              <a:t>Πανεπιστημιακά Κέντρα Υγείας: Εγκατάσταση τηλεϊατρικής</a:t>
            </a:r>
            <a:endParaRPr lang="en-US" sz="1800" b="0" strike="noStrike" spc="-1">
              <a:latin typeface="Arial"/>
            </a:endParaRPr>
          </a:p>
        </p:txBody>
      </p:sp>
      <p:sp>
        <p:nvSpPr>
          <p:cNvPr id="366" name="CustomShape 4"/>
          <p:cNvSpPr/>
          <p:nvPr/>
        </p:nvSpPr>
        <p:spPr>
          <a:xfrm>
            <a:off x="3081240" y="4263840"/>
            <a:ext cx="5710680" cy="15814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tabLst>
                <a:tab pos="0" algn="l"/>
              </a:tabLst>
            </a:pPr>
            <a:r>
              <a:rPr lang="el-GR" sz="1400" b="0" strike="noStrike" spc="-1">
                <a:solidFill>
                  <a:srgbClr val="000000"/>
                </a:solidFill>
                <a:latin typeface="Calibri"/>
                <a:ea typeface="Calibri"/>
              </a:rPr>
              <a:t>Ο </a:t>
            </a:r>
            <a:r>
              <a:rPr lang="el-GR" sz="1400" b="1" strike="noStrike" spc="-1">
                <a:solidFill>
                  <a:srgbClr val="000000"/>
                </a:solidFill>
                <a:latin typeface="Calibri"/>
                <a:ea typeface="Calibri"/>
              </a:rPr>
              <a:t>ΣΤΙΑ</a:t>
            </a:r>
            <a:r>
              <a:rPr lang="el-GR" sz="1400" b="0" strike="noStrike" spc="-1">
                <a:solidFill>
                  <a:srgbClr val="000000"/>
                </a:solidFill>
                <a:latin typeface="Calibri"/>
                <a:ea typeface="Calibri"/>
              </a:rPr>
              <a:t> είναι ο φυσικός χώρος ο οποίος υποδέχεται τον ασθενή και μέσα στον οποίο γίνεται η εξέταση, παρουσία του ιατρού. Είναι εγκατεστημένος στις απομακρυσμένες Υγειονομικές Μονάδες του ΕΣΥ και σκοπός του είναι να εξυπηρετήσει τις ανάγκες πρόσβασης σε εξειδικευμένες ιατρικές υπηρεσίες των ιατρών που υπηρετούν εκεί, με απώτερο σκοπό την βελτίωση των παρεχόμενων υπηρεσιών υγείας στον τοπικό πληθυσμό μέσω του ΕΔΙΤ και του ΕΣΥ γενικότερα</a:t>
            </a:r>
            <a:endParaRPr lang="en-US" sz="1400" b="0" strike="noStrike" spc="-1">
              <a:latin typeface="Arial"/>
            </a:endParaRPr>
          </a:p>
        </p:txBody>
      </p:sp>
      <p:sp>
        <p:nvSpPr>
          <p:cNvPr id="367" name="CustomShape 5"/>
          <p:cNvSpPr/>
          <p:nvPr/>
        </p:nvSpPr>
        <p:spPr>
          <a:xfrm>
            <a:off x="3081240" y="2616120"/>
            <a:ext cx="5885280" cy="13683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tabLst>
                <a:tab pos="0" algn="l"/>
              </a:tabLst>
            </a:pPr>
            <a:r>
              <a:rPr lang="el-GR" sz="1400" b="0" strike="noStrike" spc="-1">
                <a:solidFill>
                  <a:srgbClr val="000000"/>
                </a:solidFill>
                <a:latin typeface="Calibri"/>
                <a:ea typeface="Calibri"/>
              </a:rPr>
              <a:t>Ο </a:t>
            </a:r>
            <a:r>
              <a:rPr lang="el-GR" sz="1400" b="1" strike="noStrike" spc="-1">
                <a:solidFill>
                  <a:srgbClr val="000000"/>
                </a:solidFill>
                <a:latin typeface="Calibri"/>
                <a:ea typeface="Calibri"/>
              </a:rPr>
              <a:t>ΣΤΙΣ</a:t>
            </a:r>
            <a:r>
              <a:rPr lang="el-GR" sz="1400" b="0" strike="noStrike" spc="-1">
                <a:solidFill>
                  <a:srgbClr val="000000"/>
                </a:solidFill>
                <a:latin typeface="Calibri"/>
                <a:ea typeface="Calibri"/>
              </a:rPr>
              <a:t> αποτελεί το άλλο άκρο μιας συνόδου τηλεϊατρικής σε σχέση με τον ΣΤΙΑ. Διαθέτει τον απαραίτητο εξοπλισμό, προκειμένου να εμφανίζονται στον Ιατρό Σύμβουλο τα δεδομένα, οι ζωτικές  ενδείξεις και η εικόνα του εξεταζόμενου από το σταθμό ΣΤΙΑ. Διαμορφώνεται όπως και ένας σταθμός ΣΤΙΑ, με μόνη διαφορά ότι δεν διαθέτει διαγνωστικά ιατρικά όργανα. Είναι συνήθως τοποθετημένος στα Νοσοκομεία και κατ ’εξαίρεση σε Κέντρα Υγείας</a:t>
            </a:r>
            <a:endParaRPr lang="en-US" sz="1400" b="0" strike="noStrike" spc="-1">
              <a:latin typeface="Arial"/>
            </a:endParaRPr>
          </a:p>
        </p:txBody>
      </p:sp>
      <p:sp>
        <p:nvSpPr>
          <p:cNvPr id="368" name="CustomShape 6"/>
          <p:cNvSpPr/>
          <p:nvPr/>
        </p:nvSpPr>
        <p:spPr>
          <a:xfrm>
            <a:off x="1048680" y="4468320"/>
            <a:ext cx="1879920" cy="1239840"/>
          </a:xfrm>
          <a:prstGeom prst="rect">
            <a:avLst/>
          </a:prstGeom>
          <a:solidFill>
            <a:schemeClr val="accent1"/>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l-GR" sz="1400" b="0" strike="noStrike" spc="-1">
                <a:solidFill>
                  <a:srgbClr val="FFFFFF"/>
                </a:solidFill>
                <a:latin typeface="Arial"/>
                <a:ea typeface="Arial"/>
              </a:rPr>
              <a:t>Σταθμός Τηλεϊατρικής Ιατρού Ασθενούς (ΣΤΙΑ)</a:t>
            </a:r>
            <a:endParaRPr lang="en-US" sz="1400" b="0" strike="noStrike" spc="-1">
              <a:latin typeface="Arial"/>
            </a:endParaRPr>
          </a:p>
        </p:txBody>
      </p:sp>
      <p:sp>
        <p:nvSpPr>
          <p:cNvPr id="369" name="CustomShape 7"/>
          <p:cNvSpPr/>
          <p:nvPr/>
        </p:nvSpPr>
        <p:spPr>
          <a:xfrm>
            <a:off x="1048680" y="2661120"/>
            <a:ext cx="1879920" cy="1239840"/>
          </a:xfrm>
          <a:prstGeom prst="rect">
            <a:avLst/>
          </a:prstGeom>
          <a:solidFill>
            <a:schemeClr val="accent1"/>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l-GR" sz="1400" b="0" strike="noStrike" spc="-1">
                <a:solidFill>
                  <a:srgbClr val="FFFFFF"/>
                </a:solidFill>
                <a:latin typeface="Arial"/>
                <a:ea typeface="Arial"/>
              </a:rPr>
              <a:t>Σταθμός Τηλεϊατρικής Ιατρού Συμβούλου (ΣΤΙΣ)</a:t>
            </a:r>
            <a:endParaRPr lang="en-US" sz="1400" b="0" strike="noStrike" spc="-1">
              <a:latin typeface="Arial"/>
            </a:endParaRPr>
          </a:p>
        </p:txBody>
      </p:sp>
      <p:sp>
        <p:nvSpPr>
          <p:cNvPr id="370" name="CustomShape 8"/>
          <p:cNvSpPr/>
          <p:nvPr/>
        </p:nvSpPr>
        <p:spPr>
          <a:xfrm rot="16200000">
            <a:off x="1797120" y="3779280"/>
            <a:ext cx="382680" cy="756720"/>
          </a:xfrm>
          <a:prstGeom prst="rightArrow">
            <a:avLst>
              <a:gd name="adj1" fmla="val 50000"/>
              <a:gd name="adj2" fmla="val 50000"/>
            </a:avLst>
          </a:prstGeom>
          <a:solidFill>
            <a:srgbClr val="ED7C30"/>
          </a:solidFill>
          <a:ln w="0">
            <a:noFill/>
          </a:ln>
        </p:spPr>
        <p:style>
          <a:lnRef idx="0">
            <a:scrgbClr r="0" g="0" b="0"/>
          </a:lnRef>
          <a:fillRef idx="0">
            <a:scrgbClr r="0" g="0" b="0"/>
          </a:fillRef>
          <a:effectRef idx="0">
            <a:scrgbClr r="0" g="0" b="0"/>
          </a:effectRef>
          <a:fontRef idx="minor"/>
        </p:style>
        <p:txBody>
          <a:bodyPr/>
          <a:lstStyle/>
          <a:p>
            <a:endParaRPr lang="el-GR"/>
          </a:p>
        </p:txBody>
      </p:sp>
      <p:pic>
        <p:nvPicPr>
          <p:cNvPr id="371" name="Google Shape;362;p33" descr="Timeline&#10;&#10;Description automatically generated"/>
          <p:cNvPicPr/>
          <p:nvPr/>
        </p:nvPicPr>
        <p:blipFill>
          <a:blip r:embed="rId2"/>
          <a:srcRect l="30429" t="54376" r="59097" b="32136"/>
          <a:stretch/>
        </p:blipFill>
        <p:spPr>
          <a:xfrm>
            <a:off x="154440" y="4692960"/>
            <a:ext cx="892080" cy="739440"/>
          </a:xfrm>
          <a:prstGeom prst="rect">
            <a:avLst/>
          </a:prstGeom>
          <a:ln w="0">
            <a:noFill/>
          </a:ln>
        </p:spPr>
      </p:pic>
      <p:pic>
        <p:nvPicPr>
          <p:cNvPr id="372" name="Google Shape;363;p33" descr="Timeline&#10;&#10;Description automatically generated"/>
          <p:cNvPicPr/>
          <p:nvPr/>
        </p:nvPicPr>
        <p:blipFill>
          <a:blip r:embed="rId2"/>
          <a:srcRect l="30429" t="32247" r="59097" b="52961"/>
          <a:stretch/>
        </p:blipFill>
        <p:spPr>
          <a:xfrm>
            <a:off x="142200" y="2934720"/>
            <a:ext cx="892080" cy="810720"/>
          </a:xfrm>
          <a:prstGeom prst="rect">
            <a:avLst/>
          </a:prstGeom>
          <a:ln w="0">
            <a:noFill/>
          </a:ln>
        </p:spPr>
      </p:pic>
      <p:sp>
        <p:nvSpPr>
          <p:cNvPr id="373" name="CustomShape 9"/>
          <p:cNvSpPr/>
          <p:nvPr/>
        </p:nvSpPr>
        <p:spPr>
          <a:xfrm>
            <a:off x="122040" y="1960920"/>
            <a:ext cx="8812080" cy="3988800"/>
          </a:xfrm>
          <a:prstGeom prst="rect">
            <a:avLst/>
          </a:prstGeom>
          <a:noFill/>
          <a:ln w="9525">
            <a:solidFill>
              <a:srgbClr val="7F7F7F"/>
            </a:solidFill>
            <a:prstDash val="dash"/>
            <a:round/>
          </a:ln>
        </p:spPr>
        <p:style>
          <a:lnRef idx="0">
            <a:scrgbClr r="0" g="0" b="0"/>
          </a:lnRef>
          <a:fillRef idx="0">
            <a:scrgbClr r="0" g="0" b="0"/>
          </a:fillRef>
          <a:effectRef idx="0">
            <a:scrgbClr r="0" g="0" b="0"/>
          </a:effectRef>
          <a:fontRef idx="minor"/>
        </p:style>
        <p:txBody>
          <a:bodyPr/>
          <a:lstStyle/>
          <a:p>
            <a:endParaRPr lang="el-GR"/>
          </a:p>
        </p:txBody>
      </p:sp>
      <p:sp>
        <p:nvSpPr>
          <p:cNvPr id="374" name="CustomShape 10"/>
          <p:cNvSpPr/>
          <p:nvPr/>
        </p:nvSpPr>
        <p:spPr>
          <a:xfrm>
            <a:off x="8968680" y="1618920"/>
            <a:ext cx="3221280" cy="49914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marL="285840" indent="-283680">
              <a:lnSpc>
                <a:spcPct val="100000"/>
              </a:lnSpc>
              <a:buClr>
                <a:srgbClr val="000000"/>
              </a:buClr>
              <a:buFont typeface="Arial"/>
              <a:buChar char="•"/>
            </a:pPr>
            <a:r>
              <a:rPr lang="el-GR" sz="1400" b="0" strike="noStrike" spc="-1">
                <a:solidFill>
                  <a:srgbClr val="000000"/>
                </a:solidFill>
                <a:latin typeface="Calibri"/>
                <a:ea typeface="Calibri"/>
              </a:rPr>
              <a:t>Στα 7 πανεπιστημιακά κέντρα υγείας, θα εγκατασταθούν εκπαιδευτικοί σταθμοί τηλεϊατρικής στα πλαίσια του υφιστάμενου έργου του Εθνικού Δικτύου Τηλεϊατρικής. Αυτοί θα εξυπηρετούν την ανάγκη υποστήριξης των Π.Ι στα καθήκοντα τους σε καθημερινή βάση με επικέντρωση στους νέους ιατρούς. Παράλληλα θα λειτουργούν τόσο ως Σταθμοί Τηλεϊατρικής Ιατρού Συμβούλου (ΣΤΙΣ) υποστηρίζοντας άλλα απομακρυσμένα ΚΥ, ΠΙ ή ΠΠΙ), καθώς και ως Σταθμοί Τηλεϊατρικής Ιατρού Ασθενούς (ΣΤΙΑ) δεχόμενοι ασθενείς και συνδεόμενοι με άλλα ΣΤΙΣ που βρίσκονται σε νοσοκομεία.</a:t>
            </a:r>
            <a:endParaRPr lang="en-US" sz="1400" b="0" strike="noStrike" spc="-1">
              <a:latin typeface="Arial"/>
            </a:endParaRPr>
          </a:p>
          <a:p>
            <a:pPr marL="285840" indent="-283680">
              <a:lnSpc>
                <a:spcPct val="100000"/>
              </a:lnSpc>
              <a:buClr>
                <a:srgbClr val="000000"/>
              </a:buClr>
              <a:buFont typeface="Arial"/>
              <a:buChar char="•"/>
            </a:pPr>
            <a:r>
              <a:rPr lang="el-GR" sz="1400" b="0" strike="noStrike" spc="-1">
                <a:solidFill>
                  <a:srgbClr val="000000"/>
                </a:solidFill>
                <a:latin typeface="Calibri"/>
                <a:ea typeface="Calibri"/>
              </a:rPr>
              <a:t>Στόχος είναι μεσοπρόθεσμα να έχουμε τη δυνατότητα να δημιουργήσουμε τοπικά δίκτυα πρωτοβάθμιας φροντίδας υγείας στα οποία θα συμμετέχουν οι προσωπικοί γιατροί.</a:t>
            </a:r>
            <a:endParaRPr lang="en-US" sz="1400" b="0" strike="noStrike" spc="-1">
              <a:latin typeface="Arial"/>
            </a:endParaRPr>
          </a:p>
        </p:txBody>
      </p:sp>
      <p:sp>
        <p:nvSpPr>
          <p:cNvPr id="375" name="CustomShape 11"/>
          <p:cNvSpPr/>
          <p:nvPr/>
        </p:nvSpPr>
        <p:spPr>
          <a:xfrm>
            <a:off x="122040" y="2066760"/>
            <a:ext cx="4422960" cy="3027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tabLst>
                <a:tab pos="0" algn="l"/>
              </a:tabLst>
            </a:pPr>
            <a:r>
              <a:rPr lang="el-GR" sz="1400" b="1" strike="noStrike" spc="-1">
                <a:solidFill>
                  <a:srgbClr val="000000"/>
                </a:solidFill>
                <a:latin typeface="Calibri"/>
                <a:ea typeface="Calibri"/>
              </a:rPr>
              <a:t>Εκπαιδευτικός σταθμός τηλεϊατρικής</a:t>
            </a:r>
            <a:endParaRPr lang="en-US" sz="1400" b="0" strike="noStrike" spc="-1">
              <a:latin typeface="Aria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6" name="CustomShape 1"/>
          <p:cNvSpPr/>
          <p:nvPr/>
        </p:nvSpPr>
        <p:spPr>
          <a:xfrm>
            <a:off x="327600" y="399600"/>
            <a:ext cx="11341440" cy="833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oAutofit/>
          </a:bodyPr>
          <a:lstStyle/>
          <a:p>
            <a:pPr>
              <a:lnSpc>
                <a:spcPct val="90000"/>
              </a:lnSpc>
              <a:tabLst>
                <a:tab pos="0" algn="l"/>
              </a:tabLst>
            </a:pPr>
            <a:r>
              <a:rPr lang="el-GR" sz="2600" b="1" strike="noStrike" spc="-1">
                <a:solidFill>
                  <a:srgbClr val="31506D"/>
                </a:solidFill>
                <a:latin typeface="Calibri"/>
                <a:ea typeface="Calibri"/>
              </a:rPr>
              <a:t>Προσέλκυση ειδικοτήτων από το εξωτερικό για την στελέχωση κάποιων από τις προαναφερθέντες θέσεις ΔΕΠ </a:t>
            </a:r>
            <a:endParaRPr lang="en-US" sz="2600" b="0" strike="noStrike" spc="-1">
              <a:latin typeface="Arial"/>
            </a:endParaRPr>
          </a:p>
        </p:txBody>
      </p:sp>
      <p:sp>
        <p:nvSpPr>
          <p:cNvPr id="377" name="CustomShape 2"/>
          <p:cNvSpPr/>
          <p:nvPr/>
        </p:nvSpPr>
        <p:spPr>
          <a:xfrm>
            <a:off x="11296440" y="6377040"/>
            <a:ext cx="519840" cy="25344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chor="ctr">
            <a:noAutofit/>
          </a:bodyPr>
          <a:lstStyle/>
          <a:p>
            <a:pPr>
              <a:lnSpc>
                <a:spcPct val="100000"/>
              </a:lnSpc>
              <a:tabLst>
                <a:tab pos="0" algn="l"/>
              </a:tabLst>
            </a:pPr>
            <a:fld id="{2091A77F-DC68-40CF-AFAF-77066BD24F24}" type="slidenum">
              <a:rPr lang="el-GR" sz="1000" b="0" strike="noStrike" spc="-1">
                <a:solidFill>
                  <a:srgbClr val="000000"/>
                </a:solidFill>
                <a:latin typeface="Calibri"/>
                <a:ea typeface="Calibri"/>
              </a:rPr>
              <a:t>16</a:t>
            </a:fld>
            <a:endParaRPr lang="en-US" sz="1000" b="0" strike="noStrike" spc="-1">
              <a:latin typeface="Arial"/>
            </a:endParaRPr>
          </a:p>
        </p:txBody>
      </p:sp>
      <p:sp>
        <p:nvSpPr>
          <p:cNvPr id="378" name="CustomShape 3"/>
          <p:cNvSpPr/>
          <p:nvPr/>
        </p:nvSpPr>
        <p:spPr>
          <a:xfrm>
            <a:off x="326160" y="1251720"/>
            <a:ext cx="11341440" cy="365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chor="ctr">
            <a:noAutofit/>
          </a:bodyPr>
          <a:lstStyle/>
          <a:p>
            <a:pPr>
              <a:lnSpc>
                <a:spcPct val="100000"/>
              </a:lnSpc>
              <a:tabLst>
                <a:tab pos="0" algn="l"/>
              </a:tabLst>
            </a:pPr>
            <a:r>
              <a:rPr lang="el-GR" sz="1800" b="1" strike="noStrike" spc="-1">
                <a:solidFill>
                  <a:srgbClr val="363636"/>
                </a:solidFill>
                <a:latin typeface="Calibri"/>
                <a:ea typeface="Calibri"/>
              </a:rPr>
              <a:t>Πρόγραμμα επαναπατρισμού</a:t>
            </a:r>
            <a:endParaRPr lang="en-US" sz="1800" b="0" strike="noStrike" spc="-1">
              <a:latin typeface="Arial"/>
            </a:endParaRPr>
          </a:p>
        </p:txBody>
      </p:sp>
      <p:sp>
        <p:nvSpPr>
          <p:cNvPr id="379" name="CustomShape 4"/>
          <p:cNvSpPr/>
          <p:nvPr/>
        </p:nvSpPr>
        <p:spPr>
          <a:xfrm>
            <a:off x="3925440" y="5478840"/>
            <a:ext cx="110880" cy="260640"/>
          </a:xfrm>
          <a:custGeom>
            <a:avLst/>
            <a:gdLst/>
            <a:ahLst/>
            <a:cxnLst/>
            <a:rect l="l" t="t" r="r" b="b"/>
            <a:pathLst>
              <a:path w="112" h="260">
                <a:moveTo>
                  <a:pt x="50" y="8"/>
                </a:moveTo>
                <a:lnTo>
                  <a:pt x="48" y="8"/>
                </a:lnTo>
                <a:lnTo>
                  <a:pt x="42" y="12"/>
                </a:lnTo>
                <a:lnTo>
                  <a:pt x="36" y="14"/>
                </a:lnTo>
                <a:lnTo>
                  <a:pt x="32" y="14"/>
                </a:lnTo>
                <a:lnTo>
                  <a:pt x="30" y="14"/>
                </a:lnTo>
                <a:lnTo>
                  <a:pt x="28" y="10"/>
                </a:lnTo>
                <a:lnTo>
                  <a:pt x="28" y="4"/>
                </a:lnTo>
                <a:lnTo>
                  <a:pt x="28" y="2"/>
                </a:lnTo>
                <a:lnTo>
                  <a:pt x="26" y="0"/>
                </a:lnTo>
                <a:lnTo>
                  <a:pt x="22" y="2"/>
                </a:lnTo>
                <a:lnTo>
                  <a:pt x="18" y="6"/>
                </a:lnTo>
                <a:lnTo>
                  <a:pt x="16" y="14"/>
                </a:lnTo>
                <a:lnTo>
                  <a:pt x="10" y="20"/>
                </a:lnTo>
                <a:lnTo>
                  <a:pt x="6" y="26"/>
                </a:lnTo>
                <a:lnTo>
                  <a:pt x="4" y="32"/>
                </a:lnTo>
                <a:lnTo>
                  <a:pt x="4" y="32"/>
                </a:lnTo>
                <a:lnTo>
                  <a:pt x="6" y="38"/>
                </a:lnTo>
                <a:lnTo>
                  <a:pt x="10" y="44"/>
                </a:lnTo>
                <a:lnTo>
                  <a:pt x="12" y="48"/>
                </a:lnTo>
                <a:lnTo>
                  <a:pt x="10" y="50"/>
                </a:lnTo>
                <a:lnTo>
                  <a:pt x="6" y="50"/>
                </a:lnTo>
                <a:lnTo>
                  <a:pt x="2" y="48"/>
                </a:lnTo>
                <a:lnTo>
                  <a:pt x="4" y="52"/>
                </a:lnTo>
                <a:lnTo>
                  <a:pt x="2" y="54"/>
                </a:lnTo>
                <a:lnTo>
                  <a:pt x="4" y="58"/>
                </a:lnTo>
                <a:lnTo>
                  <a:pt x="2" y="64"/>
                </a:lnTo>
                <a:lnTo>
                  <a:pt x="2" y="68"/>
                </a:lnTo>
                <a:lnTo>
                  <a:pt x="10" y="70"/>
                </a:lnTo>
                <a:lnTo>
                  <a:pt x="18" y="76"/>
                </a:lnTo>
                <a:lnTo>
                  <a:pt x="18" y="88"/>
                </a:lnTo>
                <a:lnTo>
                  <a:pt x="16" y="92"/>
                </a:lnTo>
                <a:lnTo>
                  <a:pt x="12" y="96"/>
                </a:lnTo>
                <a:lnTo>
                  <a:pt x="8" y="108"/>
                </a:lnTo>
                <a:lnTo>
                  <a:pt x="10" y="116"/>
                </a:lnTo>
                <a:lnTo>
                  <a:pt x="12" y="124"/>
                </a:lnTo>
                <a:lnTo>
                  <a:pt x="10" y="136"/>
                </a:lnTo>
                <a:lnTo>
                  <a:pt x="10" y="150"/>
                </a:lnTo>
                <a:lnTo>
                  <a:pt x="4" y="162"/>
                </a:lnTo>
                <a:lnTo>
                  <a:pt x="2" y="174"/>
                </a:lnTo>
                <a:lnTo>
                  <a:pt x="2" y="178"/>
                </a:lnTo>
                <a:lnTo>
                  <a:pt x="8" y="190"/>
                </a:lnTo>
                <a:lnTo>
                  <a:pt x="10" y="196"/>
                </a:lnTo>
                <a:lnTo>
                  <a:pt x="8" y="198"/>
                </a:lnTo>
                <a:lnTo>
                  <a:pt x="6" y="196"/>
                </a:lnTo>
                <a:lnTo>
                  <a:pt x="4" y="196"/>
                </a:lnTo>
                <a:lnTo>
                  <a:pt x="0" y="196"/>
                </a:lnTo>
                <a:lnTo>
                  <a:pt x="4" y="202"/>
                </a:lnTo>
                <a:lnTo>
                  <a:pt x="6" y="206"/>
                </a:lnTo>
                <a:lnTo>
                  <a:pt x="12" y="212"/>
                </a:lnTo>
                <a:lnTo>
                  <a:pt x="36" y="228"/>
                </a:lnTo>
                <a:lnTo>
                  <a:pt x="42" y="242"/>
                </a:lnTo>
                <a:lnTo>
                  <a:pt x="46" y="248"/>
                </a:lnTo>
                <a:lnTo>
                  <a:pt x="46" y="256"/>
                </a:lnTo>
                <a:lnTo>
                  <a:pt x="46" y="256"/>
                </a:lnTo>
                <a:lnTo>
                  <a:pt x="50" y="256"/>
                </a:lnTo>
                <a:lnTo>
                  <a:pt x="54" y="260"/>
                </a:lnTo>
                <a:lnTo>
                  <a:pt x="58" y="260"/>
                </a:lnTo>
                <a:lnTo>
                  <a:pt x="62" y="258"/>
                </a:lnTo>
                <a:lnTo>
                  <a:pt x="64" y="256"/>
                </a:lnTo>
                <a:lnTo>
                  <a:pt x="64" y="254"/>
                </a:lnTo>
                <a:lnTo>
                  <a:pt x="64" y="250"/>
                </a:lnTo>
                <a:lnTo>
                  <a:pt x="66" y="248"/>
                </a:lnTo>
                <a:lnTo>
                  <a:pt x="68" y="248"/>
                </a:lnTo>
                <a:lnTo>
                  <a:pt x="70" y="248"/>
                </a:lnTo>
                <a:lnTo>
                  <a:pt x="70" y="244"/>
                </a:lnTo>
                <a:lnTo>
                  <a:pt x="68" y="240"/>
                </a:lnTo>
                <a:lnTo>
                  <a:pt x="66" y="236"/>
                </a:lnTo>
                <a:lnTo>
                  <a:pt x="66" y="232"/>
                </a:lnTo>
                <a:lnTo>
                  <a:pt x="68" y="232"/>
                </a:lnTo>
                <a:lnTo>
                  <a:pt x="70" y="230"/>
                </a:lnTo>
                <a:lnTo>
                  <a:pt x="72" y="226"/>
                </a:lnTo>
                <a:lnTo>
                  <a:pt x="76" y="226"/>
                </a:lnTo>
                <a:lnTo>
                  <a:pt x="80" y="226"/>
                </a:lnTo>
                <a:lnTo>
                  <a:pt x="84" y="224"/>
                </a:lnTo>
                <a:lnTo>
                  <a:pt x="88" y="220"/>
                </a:lnTo>
                <a:lnTo>
                  <a:pt x="88" y="218"/>
                </a:lnTo>
                <a:lnTo>
                  <a:pt x="90" y="210"/>
                </a:lnTo>
                <a:lnTo>
                  <a:pt x="92" y="206"/>
                </a:lnTo>
                <a:lnTo>
                  <a:pt x="94" y="202"/>
                </a:lnTo>
                <a:lnTo>
                  <a:pt x="96" y="198"/>
                </a:lnTo>
                <a:lnTo>
                  <a:pt x="98" y="192"/>
                </a:lnTo>
                <a:lnTo>
                  <a:pt x="104" y="190"/>
                </a:lnTo>
                <a:lnTo>
                  <a:pt x="108" y="188"/>
                </a:lnTo>
                <a:lnTo>
                  <a:pt x="112" y="182"/>
                </a:lnTo>
                <a:lnTo>
                  <a:pt x="112" y="178"/>
                </a:lnTo>
                <a:lnTo>
                  <a:pt x="112" y="174"/>
                </a:lnTo>
                <a:lnTo>
                  <a:pt x="110" y="170"/>
                </a:lnTo>
                <a:lnTo>
                  <a:pt x="108" y="164"/>
                </a:lnTo>
                <a:lnTo>
                  <a:pt x="108" y="158"/>
                </a:lnTo>
                <a:lnTo>
                  <a:pt x="108" y="156"/>
                </a:lnTo>
                <a:lnTo>
                  <a:pt x="106" y="154"/>
                </a:lnTo>
                <a:lnTo>
                  <a:pt x="102" y="152"/>
                </a:lnTo>
                <a:lnTo>
                  <a:pt x="94" y="152"/>
                </a:lnTo>
                <a:lnTo>
                  <a:pt x="92" y="150"/>
                </a:lnTo>
                <a:lnTo>
                  <a:pt x="88" y="140"/>
                </a:lnTo>
                <a:lnTo>
                  <a:pt x="86" y="138"/>
                </a:lnTo>
                <a:lnTo>
                  <a:pt x="82" y="134"/>
                </a:lnTo>
                <a:lnTo>
                  <a:pt x="78" y="120"/>
                </a:lnTo>
                <a:lnTo>
                  <a:pt x="78" y="116"/>
                </a:lnTo>
                <a:lnTo>
                  <a:pt x="78" y="110"/>
                </a:lnTo>
                <a:lnTo>
                  <a:pt x="74" y="100"/>
                </a:lnTo>
                <a:lnTo>
                  <a:pt x="76" y="96"/>
                </a:lnTo>
                <a:lnTo>
                  <a:pt x="80" y="94"/>
                </a:lnTo>
                <a:lnTo>
                  <a:pt x="80" y="90"/>
                </a:lnTo>
                <a:lnTo>
                  <a:pt x="78" y="84"/>
                </a:lnTo>
                <a:lnTo>
                  <a:pt x="82" y="70"/>
                </a:lnTo>
                <a:lnTo>
                  <a:pt x="82" y="68"/>
                </a:lnTo>
                <a:lnTo>
                  <a:pt x="84" y="64"/>
                </a:lnTo>
                <a:lnTo>
                  <a:pt x="82" y="56"/>
                </a:lnTo>
                <a:lnTo>
                  <a:pt x="80" y="42"/>
                </a:lnTo>
                <a:lnTo>
                  <a:pt x="78" y="38"/>
                </a:lnTo>
                <a:lnTo>
                  <a:pt x="72" y="32"/>
                </a:lnTo>
                <a:lnTo>
                  <a:pt x="68" y="30"/>
                </a:lnTo>
                <a:lnTo>
                  <a:pt x="62" y="28"/>
                </a:lnTo>
                <a:lnTo>
                  <a:pt x="58" y="20"/>
                </a:lnTo>
                <a:lnTo>
                  <a:pt x="52" y="10"/>
                </a:lnTo>
                <a:lnTo>
                  <a:pt x="50" y="8"/>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380" name="CustomShape 5"/>
          <p:cNvSpPr/>
          <p:nvPr/>
        </p:nvSpPr>
        <p:spPr>
          <a:xfrm>
            <a:off x="3276720" y="4874760"/>
            <a:ext cx="502920" cy="252360"/>
          </a:xfrm>
          <a:custGeom>
            <a:avLst/>
            <a:gdLst/>
            <a:ahLst/>
            <a:cxnLst/>
            <a:rect l="l" t="t" r="r" b="b"/>
            <a:pathLst>
              <a:path w="500" h="252">
                <a:moveTo>
                  <a:pt x="488" y="38"/>
                </a:moveTo>
                <a:lnTo>
                  <a:pt x="486" y="36"/>
                </a:lnTo>
                <a:lnTo>
                  <a:pt x="482" y="28"/>
                </a:lnTo>
                <a:lnTo>
                  <a:pt x="480" y="28"/>
                </a:lnTo>
                <a:lnTo>
                  <a:pt x="476" y="26"/>
                </a:lnTo>
                <a:lnTo>
                  <a:pt x="472" y="26"/>
                </a:lnTo>
                <a:lnTo>
                  <a:pt x="464" y="20"/>
                </a:lnTo>
                <a:lnTo>
                  <a:pt x="460" y="20"/>
                </a:lnTo>
                <a:lnTo>
                  <a:pt x="456" y="20"/>
                </a:lnTo>
                <a:lnTo>
                  <a:pt x="452" y="22"/>
                </a:lnTo>
                <a:lnTo>
                  <a:pt x="450" y="26"/>
                </a:lnTo>
                <a:lnTo>
                  <a:pt x="440" y="26"/>
                </a:lnTo>
                <a:lnTo>
                  <a:pt x="428" y="24"/>
                </a:lnTo>
                <a:lnTo>
                  <a:pt x="414" y="12"/>
                </a:lnTo>
                <a:lnTo>
                  <a:pt x="410" y="12"/>
                </a:lnTo>
                <a:lnTo>
                  <a:pt x="406" y="14"/>
                </a:lnTo>
                <a:lnTo>
                  <a:pt x="398" y="10"/>
                </a:lnTo>
                <a:lnTo>
                  <a:pt x="386" y="4"/>
                </a:lnTo>
                <a:lnTo>
                  <a:pt x="380" y="2"/>
                </a:lnTo>
                <a:lnTo>
                  <a:pt x="376" y="2"/>
                </a:lnTo>
                <a:lnTo>
                  <a:pt x="372" y="4"/>
                </a:lnTo>
                <a:lnTo>
                  <a:pt x="370" y="4"/>
                </a:lnTo>
                <a:lnTo>
                  <a:pt x="368" y="2"/>
                </a:lnTo>
                <a:lnTo>
                  <a:pt x="364" y="0"/>
                </a:lnTo>
                <a:lnTo>
                  <a:pt x="360" y="0"/>
                </a:lnTo>
                <a:lnTo>
                  <a:pt x="358" y="0"/>
                </a:lnTo>
                <a:lnTo>
                  <a:pt x="356" y="16"/>
                </a:lnTo>
                <a:lnTo>
                  <a:pt x="354" y="22"/>
                </a:lnTo>
                <a:lnTo>
                  <a:pt x="348" y="22"/>
                </a:lnTo>
                <a:lnTo>
                  <a:pt x="346" y="24"/>
                </a:lnTo>
                <a:lnTo>
                  <a:pt x="340" y="32"/>
                </a:lnTo>
                <a:lnTo>
                  <a:pt x="340" y="38"/>
                </a:lnTo>
                <a:lnTo>
                  <a:pt x="330" y="38"/>
                </a:lnTo>
                <a:lnTo>
                  <a:pt x="326" y="36"/>
                </a:lnTo>
                <a:lnTo>
                  <a:pt x="322" y="38"/>
                </a:lnTo>
                <a:lnTo>
                  <a:pt x="318" y="42"/>
                </a:lnTo>
                <a:lnTo>
                  <a:pt x="306" y="42"/>
                </a:lnTo>
                <a:lnTo>
                  <a:pt x="298" y="38"/>
                </a:lnTo>
                <a:lnTo>
                  <a:pt x="294" y="30"/>
                </a:lnTo>
                <a:lnTo>
                  <a:pt x="288" y="26"/>
                </a:lnTo>
                <a:lnTo>
                  <a:pt x="284" y="24"/>
                </a:lnTo>
                <a:lnTo>
                  <a:pt x="282" y="22"/>
                </a:lnTo>
                <a:lnTo>
                  <a:pt x="280" y="24"/>
                </a:lnTo>
                <a:lnTo>
                  <a:pt x="280" y="30"/>
                </a:lnTo>
                <a:lnTo>
                  <a:pt x="280" y="36"/>
                </a:lnTo>
                <a:lnTo>
                  <a:pt x="280" y="40"/>
                </a:lnTo>
                <a:lnTo>
                  <a:pt x="276" y="44"/>
                </a:lnTo>
                <a:lnTo>
                  <a:pt x="274" y="46"/>
                </a:lnTo>
                <a:lnTo>
                  <a:pt x="272" y="46"/>
                </a:lnTo>
                <a:lnTo>
                  <a:pt x="260" y="40"/>
                </a:lnTo>
                <a:lnTo>
                  <a:pt x="260" y="42"/>
                </a:lnTo>
                <a:lnTo>
                  <a:pt x="258" y="42"/>
                </a:lnTo>
                <a:lnTo>
                  <a:pt x="256" y="60"/>
                </a:lnTo>
                <a:lnTo>
                  <a:pt x="252" y="62"/>
                </a:lnTo>
                <a:lnTo>
                  <a:pt x="250" y="66"/>
                </a:lnTo>
                <a:lnTo>
                  <a:pt x="242" y="68"/>
                </a:lnTo>
                <a:lnTo>
                  <a:pt x="238" y="70"/>
                </a:lnTo>
                <a:lnTo>
                  <a:pt x="234" y="72"/>
                </a:lnTo>
                <a:lnTo>
                  <a:pt x="222" y="78"/>
                </a:lnTo>
                <a:lnTo>
                  <a:pt x="216" y="82"/>
                </a:lnTo>
                <a:lnTo>
                  <a:pt x="212" y="88"/>
                </a:lnTo>
                <a:lnTo>
                  <a:pt x="212" y="90"/>
                </a:lnTo>
                <a:lnTo>
                  <a:pt x="218" y="100"/>
                </a:lnTo>
                <a:lnTo>
                  <a:pt x="226" y="108"/>
                </a:lnTo>
                <a:lnTo>
                  <a:pt x="226" y="116"/>
                </a:lnTo>
                <a:lnTo>
                  <a:pt x="222" y="124"/>
                </a:lnTo>
                <a:lnTo>
                  <a:pt x="222" y="126"/>
                </a:lnTo>
                <a:lnTo>
                  <a:pt x="224" y="126"/>
                </a:lnTo>
                <a:lnTo>
                  <a:pt x="228" y="126"/>
                </a:lnTo>
                <a:lnTo>
                  <a:pt x="230" y="128"/>
                </a:lnTo>
                <a:lnTo>
                  <a:pt x="232" y="132"/>
                </a:lnTo>
                <a:lnTo>
                  <a:pt x="232" y="140"/>
                </a:lnTo>
                <a:lnTo>
                  <a:pt x="230" y="146"/>
                </a:lnTo>
                <a:lnTo>
                  <a:pt x="230" y="150"/>
                </a:lnTo>
                <a:lnTo>
                  <a:pt x="226" y="150"/>
                </a:lnTo>
                <a:lnTo>
                  <a:pt x="220" y="146"/>
                </a:lnTo>
                <a:lnTo>
                  <a:pt x="216" y="142"/>
                </a:lnTo>
                <a:lnTo>
                  <a:pt x="214" y="140"/>
                </a:lnTo>
                <a:lnTo>
                  <a:pt x="214" y="138"/>
                </a:lnTo>
                <a:lnTo>
                  <a:pt x="214" y="136"/>
                </a:lnTo>
                <a:lnTo>
                  <a:pt x="214" y="134"/>
                </a:lnTo>
                <a:lnTo>
                  <a:pt x="208" y="130"/>
                </a:lnTo>
                <a:lnTo>
                  <a:pt x="202" y="132"/>
                </a:lnTo>
                <a:lnTo>
                  <a:pt x="198" y="134"/>
                </a:lnTo>
                <a:lnTo>
                  <a:pt x="194" y="134"/>
                </a:lnTo>
                <a:lnTo>
                  <a:pt x="192" y="130"/>
                </a:lnTo>
                <a:lnTo>
                  <a:pt x="186" y="128"/>
                </a:lnTo>
                <a:lnTo>
                  <a:pt x="180" y="128"/>
                </a:lnTo>
                <a:lnTo>
                  <a:pt x="176" y="126"/>
                </a:lnTo>
                <a:lnTo>
                  <a:pt x="176" y="126"/>
                </a:lnTo>
                <a:lnTo>
                  <a:pt x="176" y="132"/>
                </a:lnTo>
                <a:lnTo>
                  <a:pt x="174" y="136"/>
                </a:lnTo>
                <a:lnTo>
                  <a:pt x="144" y="138"/>
                </a:lnTo>
                <a:lnTo>
                  <a:pt x="134" y="142"/>
                </a:lnTo>
                <a:lnTo>
                  <a:pt x="128" y="146"/>
                </a:lnTo>
                <a:lnTo>
                  <a:pt x="122" y="148"/>
                </a:lnTo>
                <a:lnTo>
                  <a:pt x="122" y="150"/>
                </a:lnTo>
                <a:lnTo>
                  <a:pt x="116" y="154"/>
                </a:lnTo>
                <a:lnTo>
                  <a:pt x="112" y="156"/>
                </a:lnTo>
                <a:lnTo>
                  <a:pt x="110" y="154"/>
                </a:lnTo>
                <a:lnTo>
                  <a:pt x="106" y="156"/>
                </a:lnTo>
                <a:lnTo>
                  <a:pt x="100" y="158"/>
                </a:lnTo>
                <a:lnTo>
                  <a:pt x="96" y="156"/>
                </a:lnTo>
                <a:lnTo>
                  <a:pt x="94" y="154"/>
                </a:lnTo>
                <a:lnTo>
                  <a:pt x="90" y="150"/>
                </a:lnTo>
                <a:lnTo>
                  <a:pt x="88" y="146"/>
                </a:lnTo>
                <a:lnTo>
                  <a:pt x="88" y="144"/>
                </a:lnTo>
                <a:lnTo>
                  <a:pt x="80" y="144"/>
                </a:lnTo>
                <a:lnTo>
                  <a:pt x="74" y="142"/>
                </a:lnTo>
                <a:lnTo>
                  <a:pt x="64" y="142"/>
                </a:lnTo>
                <a:lnTo>
                  <a:pt x="60" y="142"/>
                </a:lnTo>
                <a:lnTo>
                  <a:pt x="60" y="142"/>
                </a:lnTo>
                <a:lnTo>
                  <a:pt x="58" y="156"/>
                </a:lnTo>
                <a:lnTo>
                  <a:pt x="56" y="160"/>
                </a:lnTo>
                <a:lnTo>
                  <a:pt x="52" y="166"/>
                </a:lnTo>
                <a:lnTo>
                  <a:pt x="48" y="168"/>
                </a:lnTo>
                <a:lnTo>
                  <a:pt x="44" y="168"/>
                </a:lnTo>
                <a:lnTo>
                  <a:pt x="44" y="164"/>
                </a:lnTo>
                <a:lnTo>
                  <a:pt x="44" y="160"/>
                </a:lnTo>
                <a:lnTo>
                  <a:pt x="42" y="160"/>
                </a:lnTo>
                <a:lnTo>
                  <a:pt x="38" y="158"/>
                </a:lnTo>
                <a:lnTo>
                  <a:pt x="36" y="158"/>
                </a:lnTo>
                <a:lnTo>
                  <a:pt x="36" y="154"/>
                </a:lnTo>
                <a:lnTo>
                  <a:pt x="36" y="152"/>
                </a:lnTo>
                <a:lnTo>
                  <a:pt x="34" y="150"/>
                </a:lnTo>
                <a:lnTo>
                  <a:pt x="30" y="146"/>
                </a:lnTo>
                <a:lnTo>
                  <a:pt x="22" y="142"/>
                </a:lnTo>
                <a:lnTo>
                  <a:pt x="16" y="140"/>
                </a:lnTo>
                <a:lnTo>
                  <a:pt x="14" y="142"/>
                </a:lnTo>
                <a:lnTo>
                  <a:pt x="12" y="142"/>
                </a:lnTo>
                <a:lnTo>
                  <a:pt x="14" y="144"/>
                </a:lnTo>
                <a:lnTo>
                  <a:pt x="14" y="146"/>
                </a:lnTo>
                <a:lnTo>
                  <a:pt x="10" y="146"/>
                </a:lnTo>
                <a:lnTo>
                  <a:pt x="2" y="146"/>
                </a:lnTo>
                <a:lnTo>
                  <a:pt x="8" y="150"/>
                </a:lnTo>
                <a:lnTo>
                  <a:pt x="6" y="158"/>
                </a:lnTo>
                <a:lnTo>
                  <a:pt x="0" y="170"/>
                </a:lnTo>
                <a:lnTo>
                  <a:pt x="2" y="170"/>
                </a:lnTo>
                <a:lnTo>
                  <a:pt x="2" y="172"/>
                </a:lnTo>
                <a:lnTo>
                  <a:pt x="2" y="174"/>
                </a:lnTo>
                <a:lnTo>
                  <a:pt x="2" y="178"/>
                </a:lnTo>
                <a:lnTo>
                  <a:pt x="4" y="180"/>
                </a:lnTo>
                <a:lnTo>
                  <a:pt x="6" y="182"/>
                </a:lnTo>
                <a:lnTo>
                  <a:pt x="6" y="184"/>
                </a:lnTo>
                <a:lnTo>
                  <a:pt x="6" y="188"/>
                </a:lnTo>
                <a:lnTo>
                  <a:pt x="4" y="190"/>
                </a:lnTo>
                <a:lnTo>
                  <a:pt x="6" y="190"/>
                </a:lnTo>
                <a:lnTo>
                  <a:pt x="14" y="192"/>
                </a:lnTo>
                <a:lnTo>
                  <a:pt x="22" y="194"/>
                </a:lnTo>
                <a:lnTo>
                  <a:pt x="22" y="198"/>
                </a:lnTo>
                <a:lnTo>
                  <a:pt x="24" y="202"/>
                </a:lnTo>
                <a:lnTo>
                  <a:pt x="32" y="206"/>
                </a:lnTo>
                <a:lnTo>
                  <a:pt x="40" y="210"/>
                </a:lnTo>
                <a:lnTo>
                  <a:pt x="44" y="208"/>
                </a:lnTo>
                <a:lnTo>
                  <a:pt x="54" y="196"/>
                </a:lnTo>
                <a:lnTo>
                  <a:pt x="58" y="198"/>
                </a:lnTo>
                <a:lnTo>
                  <a:pt x="62" y="204"/>
                </a:lnTo>
                <a:lnTo>
                  <a:pt x="62" y="208"/>
                </a:lnTo>
                <a:lnTo>
                  <a:pt x="64" y="210"/>
                </a:lnTo>
                <a:lnTo>
                  <a:pt x="70" y="210"/>
                </a:lnTo>
                <a:lnTo>
                  <a:pt x="76" y="210"/>
                </a:lnTo>
                <a:lnTo>
                  <a:pt x="82" y="216"/>
                </a:lnTo>
                <a:lnTo>
                  <a:pt x="86" y="216"/>
                </a:lnTo>
                <a:lnTo>
                  <a:pt x="92" y="218"/>
                </a:lnTo>
                <a:lnTo>
                  <a:pt x="96" y="216"/>
                </a:lnTo>
                <a:lnTo>
                  <a:pt x="98" y="214"/>
                </a:lnTo>
                <a:lnTo>
                  <a:pt x="102" y="208"/>
                </a:lnTo>
                <a:lnTo>
                  <a:pt x="106" y="202"/>
                </a:lnTo>
                <a:lnTo>
                  <a:pt x="114" y="198"/>
                </a:lnTo>
                <a:lnTo>
                  <a:pt x="126" y="196"/>
                </a:lnTo>
                <a:lnTo>
                  <a:pt x="132" y="196"/>
                </a:lnTo>
                <a:lnTo>
                  <a:pt x="138" y="196"/>
                </a:lnTo>
                <a:lnTo>
                  <a:pt x="142" y="196"/>
                </a:lnTo>
                <a:lnTo>
                  <a:pt x="148" y="196"/>
                </a:lnTo>
                <a:lnTo>
                  <a:pt x="160" y="192"/>
                </a:lnTo>
                <a:lnTo>
                  <a:pt x="174" y="188"/>
                </a:lnTo>
                <a:lnTo>
                  <a:pt x="176" y="188"/>
                </a:lnTo>
                <a:lnTo>
                  <a:pt x="176" y="190"/>
                </a:lnTo>
                <a:lnTo>
                  <a:pt x="174" y="192"/>
                </a:lnTo>
                <a:lnTo>
                  <a:pt x="172" y="196"/>
                </a:lnTo>
                <a:lnTo>
                  <a:pt x="172" y="202"/>
                </a:lnTo>
                <a:lnTo>
                  <a:pt x="180" y="210"/>
                </a:lnTo>
                <a:lnTo>
                  <a:pt x="184" y="218"/>
                </a:lnTo>
                <a:lnTo>
                  <a:pt x="188" y="224"/>
                </a:lnTo>
                <a:lnTo>
                  <a:pt x="194" y="226"/>
                </a:lnTo>
                <a:lnTo>
                  <a:pt x="202" y="228"/>
                </a:lnTo>
                <a:lnTo>
                  <a:pt x="208" y="230"/>
                </a:lnTo>
                <a:lnTo>
                  <a:pt x="216" y="232"/>
                </a:lnTo>
                <a:lnTo>
                  <a:pt x="240" y="236"/>
                </a:lnTo>
                <a:lnTo>
                  <a:pt x="252" y="238"/>
                </a:lnTo>
                <a:lnTo>
                  <a:pt x="260" y="238"/>
                </a:lnTo>
                <a:lnTo>
                  <a:pt x="274" y="242"/>
                </a:lnTo>
                <a:lnTo>
                  <a:pt x="278" y="242"/>
                </a:lnTo>
                <a:lnTo>
                  <a:pt x="282" y="242"/>
                </a:lnTo>
                <a:lnTo>
                  <a:pt x="290" y="244"/>
                </a:lnTo>
                <a:lnTo>
                  <a:pt x="296" y="244"/>
                </a:lnTo>
                <a:lnTo>
                  <a:pt x="300" y="246"/>
                </a:lnTo>
                <a:lnTo>
                  <a:pt x="312" y="248"/>
                </a:lnTo>
                <a:lnTo>
                  <a:pt x="322" y="250"/>
                </a:lnTo>
                <a:lnTo>
                  <a:pt x="324" y="250"/>
                </a:lnTo>
                <a:lnTo>
                  <a:pt x="326" y="250"/>
                </a:lnTo>
                <a:lnTo>
                  <a:pt x="330" y="252"/>
                </a:lnTo>
                <a:lnTo>
                  <a:pt x="332" y="252"/>
                </a:lnTo>
                <a:lnTo>
                  <a:pt x="334" y="250"/>
                </a:lnTo>
                <a:lnTo>
                  <a:pt x="338" y="246"/>
                </a:lnTo>
                <a:lnTo>
                  <a:pt x="344" y="244"/>
                </a:lnTo>
                <a:lnTo>
                  <a:pt x="346" y="238"/>
                </a:lnTo>
                <a:lnTo>
                  <a:pt x="348" y="236"/>
                </a:lnTo>
                <a:lnTo>
                  <a:pt x="352" y="232"/>
                </a:lnTo>
                <a:lnTo>
                  <a:pt x="356" y="232"/>
                </a:lnTo>
                <a:lnTo>
                  <a:pt x="360" y="232"/>
                </a:lnTo>
                <a:lnTo>
                  <a:pt x="374" y="230"/>
                </a:lnTo>
                <a:lnTo>
                  <a:pt x="388" y="230"/>
                </a:lnTo>
                <a:lnTo>
                  <a:pt x="396" y="228"/>
                </a:lnTo>
                <a:lnTo>
                  <a:pt x="400" y="224"/>
                </a:lnTo>
                <a:lnTo>
                  <a:pt x="410" y="222"/>
                </a:lnTo>
                <a:lnTo>
                  <a:pt x="410" y="222"/>
                </a:lnTo>
                <a:lnTo>
                  <a:pt x="422" y="226"/>
                </a:lnTo>
                <a:lnTo>
                  <a:pt x="424" y="224"/>
                </a:lnTo>
                <a:lnTo>
                  <a:pt x="424" y="224"/>
                </a:lnTo>
                <a:lnTo>
                  <a:pt x="424" y="214"/>
                </a:lnTo>
                <a:lnTo>
                  <a:pt x="428" y="210"/>
                </a:lnTo>
                <a:lnTo>
                  <a:pt x="430" y="208"/>
                </a:lnTo>
                <a:lnTo>
                  <a:pt x="442" y="198"/>
                </a:lnTo>
                <a:lnTo>
                  <a:pt x="446" y="194"/>
                </a:lnTo>
                <a:lnTo>
                  <a:pt x="452" y="196"/>
                </a:lnTo>
                <a:lnTo>
                  <a:pt x="454" y="194"/>
                </a:lnTo>
                <a:lnTo>
                  <a:pt x="456" y="192"/>
                </a:lnTo>
                <a:lnTo>
                  <a:pt x="456" y="190"/>
                </a:lnTo>
                <a:lnTo>
                  <a:pt x="456" y="186"/>
                </a:lnTo>
                <a:lnTo>
                  <a:pt x="458" y="184"/>
                </a:lnTo>
                <a:lnTo>
                  <a:pt x="456" y="182"/>
                </a:lnTo>
                <a:lnTo>
                  <a:pt x="454" y="182"/>
                </a:lnTo>
                <a:lnTo>
                  <a:pt x="452" y="174"/>
                </a:lnTo>
                <a:lnTo>
                  <a:pt x="454" y="170"/>
                </a:lnTo>
                <a:lnTo>
                  <a:pt x="456" y="168"/>
                </a:lnTo>
                <a:lnTo>
                  <a:pt x="454" y="160"/>
                </a:lnTo>
                <a:lnTo>
                  <a:pt x="454" y="156"/>
                </a:lnTo>
                <a:lnTo>
                  <a:pt x="458" y="156"/>
                </a:lnTo>
                <a:lnTo>
                  <a:pt x="462" y="154"/>
                </a:lnTo>
                <a:lnTo>
                  <a:pt x="466" y="152"/>
                </a:lnTo>
                <a:lnTo>
                  <a:pt x="466" y="150"/>
                </a:lnTo>
                <a:lnTo>
                  <a:pt x="470" y="144"/>
                </a:lnTo>
                <a:lnTo>
                  <a:pt x="466" y="136"/>
                </a:lnTo>
                <a:lnTo>
                  <a:pt x="454" y="132"/>
                </a:lnTo>
                <a:lnTo>
                  <a:pt x="452" y="130"/>
                </a:lnTo>
                <a:lnTo>
                  <a:pt x="456" y="128"/>
                </a:lnTo>
                <a:lnTo>
                  <a:pt x="460" y="126"/>
                </a:lnTo>
                <a:lnTo>
                  <a:pt x="462" y="122"/>
                </a:lnTo>
                <a:lnTo>
                  <a:pt x="464" y="122"/>
                </a:lnTo>
                <a:lnTo>
                  <a:pt x="468" y="124"/>
                </a:lnTo>
                <a:lnTo>
                  <a:pt x="474" y="128"/>
                </a:lnTo>
                <a:lnTo>
                  <a:pt x="476" y="130"/>
                </a:lnTo>
                <a:lnTo>
                  <a:pt x="478" y="128"/>
                </a:lnTo>
                <a:lnTo>
                  <a:pt x="482" y="128"/>
                </a:lnTo>
                <a:lnTo>
                  <a:pt x="488" y="128"/>
                </a:lnTo>
                <a:lnTo>
                  <a:pt x="494" y="126"/>
                </a:lnTo>
                <a:lnTo>
                  <a:pt x="494" y="122"/>
                </a:lnTo>
                <a:lnTo>
                  <a:pt x="494" y="118"/>
                </a:lnTo>
                <a:lnTo>
                  <a:pt x="492" y="114"/>
                </a:lnTo>
                <a:lnTo>
                  <a:pt x="494" y="110"/>
                </a:lnTo>
                <a:lnTo>
                  <a:pt x="496" y="108"/>
                </a:lnTo>
                <a:lnTo>
                  <a:pt x="496" y="102"/>
                </a:lnTo>
                <a:lnTo>
                  <a:pt x="500" y="98"/>
                </a:lnTo>
                <a:lnTo>
                  <a:pt x="496" y="94"/>
                </a:lnTo>
                <a:lnTo>
                  <a:pt x="494" y="90"/>
                </a:lnTo>
                <a:lnTo>
                  <a:pt x="488" y="78"/>
                </a:lnTo>
                <a:lnTo>
                  <a:pt x="482" y="60"/>
                </a:lnTo>
                <a:lnTo>
                  <a:pt x="482" y="54"/>
                </a:lnTo>
                <a:lnTo>
                  <a:pt x="484" y="48"/>
                </a:lnTo>
                <a:lnTo>
                  <a:pt x="486" y="44"/>
                </a:lnTo>
                <a:lnTo>
                  <a:pt x="488" y="40"/>
                </a:lnTo>
                <a:lnTo>
                  <a:pt x="488" y="38"/>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381" name="CustomShape 6"/>
          <p:cNvSpPr/>
          <p:nvPr/>
        </p:nvSpPr>
        <p:spPr>
          <a:xfrm>
            <a:off x="2814120" y="4615920"/>
            <a:ext cx="252360" cy="203760"/>
          </a:xfrm>
          <a:custGeom>
            <a:avLst/>
            <a:gdLst/>
            <a:ahLst/>
            <a:cxnLst/>
            <a:rect l="l" t="t" r="r" b="b"/>
            <a:pathLst>
              <a:path w="252" h="204">
                <a:moveTo>
                  <a:pt x="150" y="6"/>
                </a:moveTo>
                <a:lnTo>
                  <a:pt x="150" y="4"/>
                </a:lnTo>
                <a:lnTo>
                  <a:pt x="148" y="2"/>
                </a:lnTo>
                <a:lnTo>
                  <a:pt x="146" y="0"/>
                </a:lnTo>
                <a:lnTo>
                  <a:pt x="138" y="6"/>
                </a:lnTo>
                <a:lnTo>
                  <a:pt x="136" y="6"/>
                </a:lnTo>
                <a:lnTo>
                  <a:pt x="132" y="4"/>
                </a:lnTo>
                <a:lnTo>
                  <a:pt x="130" y="2"/>
                </a:lnTo>
                <a:lnTo>
                  <a:pt x="126" y="4"/>
                </a:lnTo>
                <a:lnTo>
                  <a:pt x="122" y="6"/>
                </a:lnTo>
                <a:lnTo>
                  <a:pt x="122" y="12"/>
                </a:lnTo>
                <a:lnTo>
                  <a:pt x="120" y="14"/>
                </a:lnTo>
                <a:lnTo>
                  <a:pt x="116" y="14"/>
                </a:lnTo>
                <a:lnTo>
                  <a:pt x="112" y="10"/>
                </a:lnTo>
                <a:lnTo>
                  <a:pt x="110" y="14"/>
                </a:lnTo>
                <a:lnTo>
                  <a:pt x="108" y="20"/>
                </a:lnTo>
                <a:lnTo>
                  <a:pt x="98" y="26"/>
                </a:lnTo>
                <a:lnTo>
                  <a:pt x="90" y="30"/>
                </a:lnTo>
                <a:lnTo>
                  <a:pt x="86" y="28"/>
                </a:lnTo>
                <a:lnTo>
                  <a:pt x="82" y="26"/>
                </a:lnTo>
                <a:lnTo>
                  <a:pt x="80" y="24"/>
                </a:lnTo>
                <a:lnTo>
                  <a:pt x="76" y="22"/>
                </a:lnTo>
                <a:lnTo>
                  <a:pt x="68" y="22"/>
                </a:lnTo>
                <a:lnTo>
                  <a:pt x="64" y="24"/>
                </a:lnTo>
                <a:lnTo>
                  <a:pt x="62" y="26"/>
                </a:lnTo>
                <a:lnTo>
                  <a:pt x="58" y="26"/>
                </a:lnTo>
                <a:lnTo>
                  <a:pt x="58" y="24"/>
                </a:lnTo>
                <a:lnTo>
                  <a:pt x="56" y="20"/>
                </a:lnTo>
                <a:lnTo>
                  <a:pt x="54" y="12"/>
                </a:lnTo>
                <a:lnTo>
                  <a:pt x="46" y="14"/>
                </a:lnTo>
                <a:lnTo>
                  <a:pt x="28" y="24"/>
                </a:lnTo>
                <a:lnTo>
                  <a:pt x="0" y="40"/>
                </a:lnTo>
                <a:lnTo>
                  <a:pt x="0" y="46"/>
                </a:lnTo>
                <a:lnTo>
                  <a:pt x="4" y="52"/>
                </a:lnTo>
                <a:lnTo>
                  <a:pt x="4" y="56"/>
                </a:lnTo>
                <a:lnTo>
                  <a:pt x="4" y="60"/>
                </a:lnTo>
                <a:lnTo>
                  <a:pt x="4" y="64"/>
                </a:lnTo>
                <a:lnTo>
                  <a:pt x="8" y="70"/>
                </a:lnTo>
                <a:lnTo>
                  <a:pt x="14" y="78"/>
                </a:lnTo>
                <a:lnTo>
                  <a:pt x="20" y="82"/>
                </a:lnTo>
                <a:lnTo>
                  <a:pt x="22" y="80"/>
                </a:lnTo>
                <a:lnTo>
                  <a:pt x="26" y="80"/>
                </a:lnTo>
                <a:lnTo>
                  <a:pt x="32" y="76"/>
                </a:lnTo>
                <a:lnTo>
                  <a:pt x="38" y="74"/>
                </a:lnTo>
                <a:lnTo>
                  <a:pt x="42" y="80"/>
                </a:lnTo>
                <a:lnTo>
                  <a:pt x="46" y="86"/>
                </a:lnTo>
                <a:lnTo>
                  <a:pt x="48" y="94"/>
                </a:lnTo>
                <a:lnTo>
                  <a:pt x="48" y="100"/>
                </a:lnTo>
                <a:lnTo>
                  <a:pt x="52" y="102"/>
                </a:lnTo>
                <a:lnTo>
                  <a:pt x="62" y="104"/>
                </a:lnTo>
                <a:lnTo>
                  <a:pt x="70" y="106"/>
                </a:lnTo>
                <a:lnTo>
                  <a:pt x="72" y="108"/>
                </a:lnTo>
                <a:lnTo>
                  <a:pt x="74" y="120"/>
                </a:lnTo>
                <a:lnTo>
                  <a:pt x="76" y="122"/>
                </a:lnTo>
                <a:lnTo>
                  <a:pt x="78" y="122"/>
                </a:lnTo>
                <a:lnTo>
                  <a:pt x="80" y="120"/>
                </a:lnTo>
                <a:lnTo>
                  <a:pt x="82" y="118"/>
                </a:lnTo>
                <a:lnTo>
                  <a:pt x="88" y="120"/>
                </a:lnTo>
                <a:lnTo>
                  <a:pt x="92" y="120"/>
                </a:lnTo>
                <a:lnTo>
                  <a:pt x="100" y="122"/>
                </a:lnTo>
                <a:lnTo>
                  <a:pt x="108" y="128"/>
                </a:lnTo>
                <a:lnTo>
                  <a:pt x="108" y="132"/>
                </a:lnTo>
                <a:lnTo>
                  <a:pt x="106" y="136"/>
                </a:lnTo>
                <a:lnTo>
                  <a:pt x="106" y="140"/>
                </a:lnTo>
                <a:lnTo>
                  <a:pt x="106" y="142"/>
                </a:lnTo>
                <a:lnTo>
                  <a:pt x="108" y="144"/>
                </a:lnTo>
                <a:lnTo>
                  <a:pt x="108" y="148"/>
                </a:lnTo>
                <a:lnTo>
                  <a:pt x="106" y="152"/>
                </a:lnTo>
                <a:lnTo>
                  <a:pt x="106" y="154"/>
                </a:lnTo>
                <a:lnTo>
                  <a:pt x="106" y="156"/>
                </a:lnTo>
                <a:lnTo>
                  <a:pt x="106" y="158"/>
                </a:lnTo>
                <a:lnTo>
                  <a:pt x="108" y="158"/>
                </a:lnTo>
                <a:lnTo>
                  <a:pt x="120" y="160"/>
                </a:lnTo>
                <a:lnTo>
                  <a:pt x="132" y="158"/>
                </a:lnTo>
                <a:lnTo>
                  <a:pt x="140" y="154"/>
                </a:lnTo>
                <a:lnTo>
                  <a:pt x="140" y="150"/>
                </a:lnTo>
                <a:lnTo>
                  <a:pt x="142" y="144"/>
                </a:lnTo>
                <a:lnTo>
                  <a:pt x="146" y="140"/>
                </a:lnTo>
                <a:lnTo>
                  <a:pt x="150" y="138"/>
                </a:lnTo>
                <a:lnTo>
                  <a:pt x="152" y="140"/>
                </a:lnTo>
                <a:lnTo>
                  <a:pt x="148" y="158"/>
                </a:lnTo>
                <a:lnTo>
                  <a:pt x="152" y="162"/>
                </a:lnTo>
                <a:lnTo>
                  <a:pt x="152" y="170"/>
                </a:lnTo>
                <a:lnTo>
                  <a:pt x="154" y="176"/>
                </a:lnTo>
                <a:lnTo>
                  <a:pt x="158" y="176"/>
                </a:lnTo>
                <a:lnTo>
                  <a:pt x="162" y="176"/>
                </a:lnTo>
                <a:lnTo>
                  <a:pt x="166" y="178"/>
                </a:lnTo>
                <a:lnTo>
                  <a:pt x="170" y="182"/>
                </a:lnTo>
                <a:lnTo>
                  <a:pt x="176" y="186"/>
                </a:lnTo>
                <a:lnTo>
                  <a:pt x="180" y="186"/>
                </a:lnTo>
                <a:lnTo>
                  <a:pt x="182" y="190"/>
                </a:lnTo>
                <a:lnTo>
                  <a:pt x="186" y="192"/>
                </a:lnTo>
                <a:lnTo>
                  <a:pt x="190" y="200"/>
                </a:lnTo>
                <a:lnTo>
                  <a:pt x="196" y="204"/>
                </a:lnTo>
                <a:lnTo>
                  <a:pt x="198" y="204"/>
                </a:lnTo>
                <a:lnTo>
                  <a:pt x="202" y="202"/>
                </a:lnTo>
                <a:lnTo>
                  <a:pt x="208" y="202"/>
                </a:lnTo>
                <a:lnTo>
                  <a:pt x="214" y="202"/>
                </a:lnTo>
                <a:lnTo>
                  <a:pt x="216" y="200"/>
                </a:lnTo>
                <a:lnTo>
                  <a:pt x="216" y="198"/>
                </a:lnTo>
                <a:lnTo>
                  <a:pt x="218" y="194"/>
                </a:lnTo>
                <a:lnTo>
                  <a:pt x="220" y="190"/>
                </a:lnTo>
                <a:lnTo>
                  <a:pt x="214" y="182"/>
                </a:lnTo>
                <a:lnTo>
                  <a:pt x="214" y="178"/>
                </a:lnTo>
                <a:lnTo>
                  <a:pt x="210" y="174"/>
                </a:lnTo>
                <a:lnTo>
                  <a:pt x="210" y="172"/>
                </a:lnTo>
                <a:lnTo>
                  <a:pt x="210" y="168"/>
                </a:lnTo>
                <a:lnTo>
                  <a:pt x="210" y="166"/>
                </a:lnTo>
                <a:lnTo>
                  <a:pt x="210" y="162"/>
                </a:lnTo>
                <a:lnTo>
                  <a:pt x="214" y="158"/>
                </a:lnTo>
                <a:lnTo>
                  <a:pt x="216" y="152"/>
                </a:lnTo>
                <a:lnTo>
                  <a:pt x="218" y="146"/>
                </a:lnTo>
                <a:lnTo>
                  <a:pt x="226" y="138"/>
                </a:lnTo>
                <a:lnTo>
                  <a:pt x="230" y="138"/>
                </a:lnTo>
                <a:lnTo>
                  <a:pt x="234" y="138"/>
                </a:lnTo>
                <a:lnTo>
                  <a:pt x="234" y="142"/>
                </a:lnTo>
                <a:lnTo>
                  <a:pt x="236" y="142"/>
                </a:lnTo>
                <a:lnTo>
                  <a:pt x="236" y="140"/>
                </a:lnTo>
                <a:lnTo>
                  <a:pt x="238" y="130"/>
                </a:lnTo>
                <a:lnTo>
                  <a:pt x="252" y="122"/>
                </a:lnTo>
                <a:lnTo>
                  <a:pt x="250" y="114"/>
                </a:lnTo>
                <a:lnTo>
                  <a:pt x="250" y="108"/>
                </a:lnTo>
                <a:lnTo>
                  <a:pt x="246" y="104"/>
                </a:lnTo>
                <a:lnTo>
                  <a:pt x="240" y="104"/>
                </a:lnTo>
                <a:lnTo>
                  <a:pt x="240" y="100"/>
                </a:lnTo>
                <a:lnTo>
                  <a:pt x="238" y="98"/>
                </a:lnTo>
                <a:lnTo>
                  <a:pt x="242" y="94"/>
                </a:lnTo>
                <a:lnTo>
                  <a:pt x="238" y="88"/>
                </a:lnTo>
                <a:lnTo>
                  <a:pt x="236" y="84"/>
                </a:lnTo>
                <a:lnTo>
                  <a:pt x="228" y="78"/>
                </a:lnTo>
                <a:lnTo>
                  <a:pt x="228" y="78"/>
                </a:lnTo>
                <a:lnTo>
                  <a:pt x="220" y="76"/>
                </a:lnTo>
                <a:lnTo>
                  <a:pt x="216" y="70"/>
                </a:lnTo>
                <a:lnTo>
                  <a:pt x="208" y="74"/>
                </a:lnTo>
                <a:lnTo>
                  <a:pt x="208" y="74"/>
                </a:lnTo>
                <a:lnTo>
                  <a:pt x="204" y="68"/>
                </a:lnTo>
                <a:lnTo>
                  <a:pt x="204" y="66"/>
                </a:lnTo>
                <a:lnTo>
                  <a:pt x="210" y="58"/>
                </a:lnTo>
                <a:lnTo>
                  <a:pt x="212" y="56"/>
                </a:lnTo>
                <a:lnTo>
                  <a:pt x="210" y="56"/>
                </a:lnTo>
                <a:lnTo>
                  <a:pt x="212" y="52"/>
                </a:lnTo>
                <a:lnTo>
                  <a:pt x="216" y="42"/>
                </a:lnTo>
                <a:lnTo>
                  <a:pt x="216" y="38"/>
                </a:lnTo>
                <a:lnTo>
                  <a:pt x="214" y="36"/>
                </a:lnTo>
                <a:lnTo>
                  <a:pt x="212" y="34"/>
                </a:lnTo>
                <a:lnTo>
                  <a:pt x="202" y="30"/>
                </a:lnTo>
                <a:lnTo>
                  <a:pt x="198" y="26"/>
                </a:lnTo>
                <a:lnTo>
                  <a:pt x="196" y="22"/>
                </a:lnTo>
                <a:lnTo>
                  <a:pt x="194" y="22"/>
                </a:lnTo>
                <a:lnTo>
                  <a:pt x="190" y="22"/>
                </a:lnTo>
                <a:lnTo>
                  <a:pt x="182" y="24"/>
                </a:lnTo>
                <a:lnTo>
                  <a:pt x="176" y="22"/>
                </a:lnTo>
                <a:lnTo>
                  <a:pt x="168" y="14"/>
                </a:lnTo>
                <a:lnTo>
                  <a:pt x="166" y="8"/>
                </a:lnTo>
                <a:lnTo>
                  <a:pt x="166" y="4"/>
                </a:lnTo>
                <a:lnTo>
                  <a:pt x="164" y="2"/>
                </a:lnTo>
                <a:lnTo>
                  <a:pt x="162" y="4"/>
                </a:lnTo>
                <a:lnTo>
                  <a:pt x="158" y="8"/>
                </a:lnTo>
                <a:lnTo>
                  <a:pt x="152" y="10"/>
                </a:lnTo>
                <a:lnTo>
                  <a:pt x="150" y="8"/>
                </a:lnTo>
                <a:lnTo>
                  <a:pt x="150" y="6"/>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382" name="CustomShape 7"/>
          <p:cNvSpPr/>
          <p:nvPr/>
        </p:nvSpPr>
        <p:spPr>
          <a:xfrm>
            <a:off x="4125600" y="5333400"/>
            <a:ext cx="412200" cy="268560"/>
          </a:xfrm>
          <a:custGeom>
            <a:avLst/>
            <a:gdLst/>
            <a:ahLst/>
            <a:cxnLst/>
            <a:rect l="l" t="t" r="r" b="b"/>
            <a:pathLst>
              <a:path w="410" h="268">
                <a:moveTo>
                  <a:pt x="410" y="46"/>
                </a:moveTo>
                <a:lnTo>
                  <a:pt x="400" y="46"/>
                </a:lnTo>
                <a:lnTo>
                  <a:pt x="396" y="44"/>
                </a:lnTo>
                <a:lnTo>
                  <a:pt x="386" y="42"/>
                </a:lnTo>
                <a:lnTo>
                  <a:pt x="374" y="38"/>
                </a:lnTo>
                <a:lnTo>
                  <a:pt x="368" y="30"/>
                </a:lnTo>
                <a:lnTo>
                  <a:pt x="364" y="24"/>
                </a:lnTo>
                <a:lnTo>
                  <a:pt x="354" y="26"/>
                </a:lnTo>
                <a:lnTo>
                  <a:pt x="352" y="26"/>
                </a:lnTo>
                <a:lnTo>
                  <a:pt x="350" y="22"/>
                </a:lnTo>
                <a:lnTo>
                  <a:pt x="342" y="20"/>
                </a:lnTo>
                <a:lnTo>
                  <a:pt x="334" y="20"/>
                </a:lnTo>
                <a:lnTo>
                  <a:pt x="314" y="8"/>
                </a:lnTo>
                <a:lnTo>
                  <a:pt x="312" y="6"/>
                </a:lnTo>
                <a:lnTo>
                  <a:pt x="296" y="8"/>
                </a:lnTo>
                <a:lnTo>
                  <a:pt x="272" y="14"/>
                </a:lnTo>
                <a:lnTo>
                  <a:pt x="254" y="22"/>
                </a:lnTo>
                <a:lnTo>
                  <a:pt x="236" y="34"/>
                </a:lnTo>
                <a:lnTo>
                  <a:pt x="228" y="44"/>
                </a:lnTo>
                <a:lnTo>
                  <a:pt x="220" y="48"/>
                </a:lnTo>
                <a:lnTo>
                  <a:pt x="208" y="52"/>
                </a:lnTo>
                <a:lnTo>
                  <a:pt x="186" y="50"/>
                </a:lnTo>
                <a:lnTo>
                  <a:pt x="162" y="46"/>
                </a:lnTo>
                <a:lnTo>
                  <a:pt x="138" y="40"/>
                </a:lnTo>
                <a:lnTo>
                  <a:pt x="124" y="44"/>
                </a:lnTo>
                <a:lnTo>
                  <a:pt x="106" y="42"/>
                </a:lnTo>
                <a:lnTo>
                  <a:pt x="78" y="36"/>
                </a:lnTo>
                <a:lnTo>
                  <a:pt x="58" y="34"/>
                </a:lnTo>
                <a:lnTo>
                  <a:pt x="38" y="38"/>
                </a:lnTo>
                <a:lnTo>
                  <a:pt x="36" y="34"/>
                </a:lnTo>
                <a:lnTo>
                  <a:pt x="34" y="32"/>
                </a:lnTo>
                <a:lnTo>
                  <a:pt x="36" y="26"/>
                </a:lnTo>
                <a:lnTo>
                  <a:pt x="38" y="24"/>
                </a:lnTo>
                <a:lnTo>
                  <a:pt x="44" y="20"/>
                </a:lnTo>
                <a:lnTo>
                  <a:pt x="46" y="18"/>
                </a:lnTo>
                <a:lnTo>
                  <a:pt x="46" y="14"/>
                </a:lnTo>
                <a:lnTo>
                  <a:pt x="40" y="10"/>
                </a:lnTo>
                <a:lnTo>
                  <a:pt x="30" y="4"/>
                </a:lnTo>
                <a:lnTo>
                  <a:pt x="24" y="0"/>
                </a:lnTo>
                <a:lnTo>
                  <a:pt x="22" y="2"/>
                </a:lnTo>
                <a:lnTo>
                  <a:pt x="20" y="4"/>
                </a:lnTo>
                <a:lnTo>
                  <a:pt x="18" y="8"/>
                </a:lnTo>
                <a:lnTo>
                  <a:pt x="18" y="16"/>
                </a:lnTo>
                <a:lnTo>
                  <a:pt x="8" y="20"/>
                </a:lnTo>
                <a:lnTo>
                  <a:pt x="6" y="22"/>
                </a:lnTo>
                <a:lnTo>
                  <a:pt x="4" y="24"/>
                </a:lnTo>
                <a:lnTo>
                  <a:pt x="2" y="34"/>
                </a:lnTo>
                <a:lnTo>
                  <a:pt x="2" y="42"/>
                </a:lnTo>
                <a:lnTo>
                  <a:pt x="4" y="46"/>
                </a:lnTo>
                <a:lnTo>
                  <a:pt x="4" y="48"/>
                </a:lnTo>
                <a:lnTo>
                  <a:pt x="6" y="52"/>
                </a:lnTo>
                <a:lnTo>
                  <a:pt x="10" y="58"/>
                </a:lnTo>
                <a:lnTo>
                  <a:pt x="12" y="66"/>
                </a:lnTo>
                <a:lnTo>
                  <a:pt x="14" y="72"/>
                </a:lnTo>
                <a:lnTo>
                  <a:pt x="24" y="76"/>
                </a:lnTo>
                <a:lnTo>
                  <a:pt x="28" y="80"/>
                </a:lnTo>
                <a:lnTo>
                  <a:pt x="32" y="86"/>
                </a:lnTo>
                <a:lnTo>
                  <a:pt x="34" y="90"/>
                </a:lnTo>
                <a:lnTo>
                  <a:pt x="42" y="96"/>
                </a:lnTo>
                <a:lnTo>
                  <a:pt x="42" y="100"/>
                </a:lnTo>
                <a:lnTo>
                  <a:pt x="40" y="104"/>
                </a:lnTo>
                <a:lnTo>
                  <a:pt x="38" y="106"/>
                </a:lnTo>
                <a:lnTo>
                  <a:pt x="34" y="110"/>
                </a:lnTo>
                <a:lnTo>
                  <a:pt x="30" y="114"/>
                </a:lnTo>
                <a:lnTo>
                  <a:pt x="24" y="122"/>
                </a:lnTo>
                <a:lnTo>
                  <a:pt x="14" y="124"/>
                </a:lnTo>
                <a:lnTo>
                  <a:pt x="12" y="124"/>
                </a:lnTo>
                <a:lnTo>
                  <a:pt x="8" y="126"/>
                </a:lnTo>
                <a:lnTo>
                  <a:pt x="8" y="130"/>
                </a:lnTo>
                <a:lnTo>
                  <a:pt x="8" y="134"/>
                </a:lnTo>
                <a:lnTo>
                  <a:pt x="8" y="138"/>
                </a:lnTo>
                <a:lnTo>
                  <a:pt x="6" y="146"/>
                </a:lnTo>
                <a:lnTo>
                  <a:pt x="10" y="154"/>
                </a:lnTo>
                <a:lnTo>
                  <a:pt x="12" y="156"/>
                </a:lnTo>
                <a:lnTo>
                  <a:pt x="14" y="158"/>
                </a:lnTo>
                <a:lnTo>
                  <a:pt x="12" y="162"/>
                </a:lnTo>
                <a:lnTo>
                  <a:pt x="8" y="170"/>
                </a:lnTo>
                <a:lnTo>
                  <a:pt x="6" y="172"/>
                </a:lnTo>
                <a:lnTo>
                  <a:pt x="0" y="174"/>
                </a:lnTo>
                <a:lnTo>
                  <a:pt x="12" y="186"/>
                </a:lnTo>
                <a:lnTo>
                  <a:pt x="16" y="192"/>
                </a:lnTo>
                <a:lnTo>
                  <a:pt x="24" y="196"/>
                </a:lnTo>
                <a:lnTo>
                  <a:pt x="30" y="198"/>
                </a:lnTo>
                <a:lnTo>
                  <a:pt x="34" y="202"/>
                </a:lnTo>
                <a:lnTo>
                  <a:pt x="38" y="216"/>
                </a:lnTo>
                <a:lnTo>
                  <a:pt x="40" y="222"/>
                </a:lnTo>
                <a:lnTo>
                  <a:pt x="44" y="222"/>
                </a:lnTo>
                <a:lnTo>
                  <a:pt x="44" y="224"/>
                </a:lnTo>
                <a:lnTo>
                  <a:pt x="44" y="226"/>
                </a:lnTo>
                <a:lnTo>
                  <a:pt x="40" y="236"/>
                </a:lnTo>
                <a:lnTo>
                  <a:pt x="40" y="258"/>
                </a:lnTo>
                <a:lnTo>
                  <a:pt x="38" y="260"/>
                </a:lnTo>
                <a:lnTo>
                  <a:pt x="46" y="260"/>
                </a:lnTo>
                <a:lnTo>
                  <a:pt x="54" y="260"/>
                </a:lnTo>
                <a:lnTo>
                  <a:pt x="60" y="256"/>
                </a:lnTo>
                <a:lnTo>
                  <a:pt x="68" y="254"/>
                </a:lnTo>
                <a:lnTo>
                  <a:pt x="72" y="254"/>
                </a:lnTo>
                <a:lnTo>
                  <a:pt x="80" y="256"/>
                </a:lnTo>
                <a:lnTo>
                  <a:pt x="86" y="256"/>
                </a:lnTo>
                <a:lnTo>
                  <a:pt x="94" y="252"/>
                </a:lnTo>
                <a:lnTo>
                  <a:pt x="102" y="248"/>
                </a:lnTo>
                <a:lnTo>
                  <a:pt x="108" y="250"/>
                </a:lnTo>
                <a:lnTo>
                  <a:pt x="110" y="248"/>
                </a:lnTo>
                <a:lnTo>
                  <a:pt x="112" y="248"/>
                </a:lnTo>
                <a:lnTo>
                  <a:pt x="114" y="242"/>
                </a:lnTo>
                <a:lnTo>
                  <a:pt x="124" y="242"/>
                </a:lnTo>
                <a:lnTo>
                  <a:pt x="128" y="242"/>
                </a:lnTo>
                <a:lnTo>
                  <a:pt x="134" y="242"/>
                </a:lnTo>
                <a:lnTo>
                  <a:pt x="142" y="240"/>
                </a:lnTo>
                <a:lnTo>
                  <a:pt x="144" y="240"/>
                </a:lnTo>
                <a:lnTo>
                  <a:pt x="146" y="248"/>
                </a:lnTo>
                <a:lnTo>
                  <a:pt x="148" y="250"/>
                </a:lnTo>
                <a:lnTo>
                  <a:pt x="152" y="252"/>
                </a:lnTo>
                <a:lnTo>
                  <a:pt x="160" y="258"/>
                </a:lnTo>
                <a:lnTo>
                  <a:pt x="162" y="256"/>
                </a:lnTo>
                <a:lnTo>
                  <a:pt x="164" y="254"/>
                </a:lnTo>
                <a:lnTo>
                  <a:pt x="174" y="256"/>
                </a:lnTo>
                <a:lnTo>
                  <a:pt x="184" y="262"/>
                </a:lnTo>
                <a:lnTo>
                  <a:pt x="192" y="268"/>
                </a:lnTo>
                <a:lnTo>
                  <a:pt x="200" y="266"/>
                </a:lnTo>
                <a:lnTo>
                  <a:pt x="210" y="262"/>
                </a:lnTo>
                <a:lnTo>
                  <a:pt x="216" y="262"/>
                </a:lnTo>
                <a:lnTo>
                  <a:pt x="222" y="262"/>
                </a:lnTo>
                <a:lnTo>
                  <a:pt x="226" y="260"/>
                </a:lnTo>
                <a:lnTo>
                  <a:pt x="236" y="262"/>
                </a:lnTo>
                <a:lnTo>
                  <a:pt x="244" y="258"/>
                </a:lnTo>
                <a:lnTo>
                  <a:pt x="250" y="256"/>
                </a:lnTo>
                <a:lnTo>
                  <a:pt x="250" y="250"/>
                </a:lnTo>
                <a:lnTo>
                  <a:pt x="250" y="244"/>
                </a:lnTo>
                <a:lnTo>
                  <a:pt x="248" y="236"/>
                </a:lnTo>
                <a:lnTo>
                  <a:pt x="246" y="232"/>
                </a:lnTo>
                <a:lnTo>
                  <a:pt x="244" y="230"/>
                </a:lnTo>
                <a:lnTo>
                  <a:pt x="246" y="228"/>
                </a:lnTo>
                <a:lnTo>
                  <a:pt x="248" y="226"/>
                </a:lnTo>
                <a:lnTo>
                  <a:pt x="254" y="224"/>
                </a:lnTo>
                <a:lnTo>
                  <a:pt x="262" y="226"/>
                </a:lnTo>
                <a:lnTo>
                  <a:pt x="262" y="224"/>
                </a:lnTo>
                <a:lnTo>
                  <a:pt x="262" y="222"/>
                </a:lnTo>
                <a:lnTo>
                  <a:pt x="264" y="218"/>
                </a:lnTo>
                <a:lnTo>
                  <a:pt x="274" y="216"/>
                </a:lnTo>
                <a:lnTo>
                  <a:pt x="276" y="214"/>
                </a:lnTo>
                <a:lnTo>
                  <a:pt x="276" y="210"/>
                </a:lnTo>
                <a:lnTo>
                  <a:pt x="278" y="206"/>
                </a:lnTo>
                <a:lnTo>
                  <a:pt x="282" y="204"/>
                </a:lnTo>
                <a:lnTo>
                  <a:pt x="286" y="204"/>
                </a:lnTo>
                <a:lnTo>
                  <a:pt x="294" y="204"/>
                </a:lnTo>
                <a:lnTo>
                  <a:pt x="298" y="202"/>
                </a:lnTo>
                <a:lnTo>
                  <a:pt x="304" y="198"/>
                </a:lnTo>
                <a:lnTo>
                  <a:pt x="306" y="196"/>
                </a:lnTo>
                <a:lnTo>
                  <a:pt x="318" y="194"/>
                </a:lnTo>
                <a:lnTo>
                  <a:pt x="322" y="192"/>
                </a:lnTo>
                <a:lnTo>
                  <a:pt x="326" y="194"/>
                </a:lnTo>
                <a:lnTo>
                  <a:pt x="330" y="198"/>
                </a:lnTo>
                <a:lnTo>
                  <a:pt x="338" y="206"/>
                </a:lnTo>
                <a:lnTo>
                  <a:pt x="342" y="208"/>
                </a:lnTo>
                <a:lnTo>
                  <a:pt x="344" y="208"/>
                </a:lnTo>
                <a:lnTo>
                  <a:pt x="350" y="204"/>
                </a:lnTo>
                <a:lnTo>
                  <a:pt x="354" y="204"/>
                </a:lnTo>
                <a:lnTo>
                  <a:pt x="358" y="206"/>
                </a:lnTo>
                <a:lnTo>
                  <a:pt x="360" y="202"/>
                </a:lnTo>
                <a:lnTo>
                  <a:pt x="364" y="202"/>
                </a:lnTo>
                <a:lnTo>
                  <a:pt x="372" y="204"/>
                </a:lnTo>
                <a:lnTo>
                  <a:pt x="370" y="196"/>
                </a:lnTo>
                <a:lnTo>
                  <a:pt x="360" y="182"/>
                </a:lnTo>
                <a:lnTo>
                  <a:pt x="352" y="170"/>
                </a:lnTo>
                <a:lnTo>
                  <a:pt x="348" y="166"/>
                </a:lnTo>
                <a:lnTo>
                  <a:pt x="338" y="160"/>
                </a:lnTo>
                <a:lnTo>
                  <a:pt x="356" y="138"/>
                </a:lnTo>
                <a:lnTo>
                  <a:pt x="360" y="138"/>
                </a:lnTo>
                <a:lnTo>
                  <a:pt x="364" y="134"/>
                </a:lnTo>
                <a:lnTo>
                  <a:pt x="364" y="110"/>
                </a:lnTo>
                <a:lnTo>
                  <a:pt x="368" y="96"/>
                </a:lnTo>
                <a:lnTo>
                  <a:pt x="370" y="92"/>
                </a:lnTo>
                <a:lnTo>
                  <a:pt x="374" y="88"/>
                </a:lnTo>
                <a:lnTo>
                  <a:pt x="380" y="76"/>
                </a:lnTo>
                <a:lnTo>
                  <a:pt x="392" y="74"/>
                </a:lnTo>
                <a:lnTo>
                  <a:pt x="402" y="78"/>
                </a:lnTo>
                <a:lnTo>
                  <a:pt x="408" y="68"/>
                </a:lnTo>
                <a:lnTo>
                  <a:pt x="410" y="46"/>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383" name="CustomShape 8"/>
          <p:cNvSpPr/>
          <p:nvPr/>
        </p:nvSpPr>
        <p:spPr>
          <a:xfrm>
            <a:off x="3688920" y="5236200"/>
            <a:ext cx="252360" cy="248400"/>
          </a:xfrm>
          <a:custGeom>
            <a:avLst/>
            <a:gdLst/>
            <a:ahLst/>
            <a:cxnLst/>
            <a:rect l="l" t="t" r="r" b="b"/>
            <a:pathLst>
              <a:path w="252" h="248">
                <a:moveTo>
                  <a:pt x="214" y="38"/>
                </a:moveTo>
                <a:lnTo>
                  <a:pt x="210" y="38"/>
                </a:lnTo>
                <a:lnTo>
                  <a:pt x="202" y="36"/>
                </a:lnTo>
                <a:lnTo>
                  <a:pt x="200" y="34"/>
                </a:lnTo>
                <a:lnTo>
                  <a:pt x="200" y="30"/>
                </a:lnTo>
                <a:lnTo>
                  <a:pt x="200" y="28"/>
                </a:lnTo>
                <a:lnTo>
                  <a:pt x="198" y="24"/>
                </a:lnTo>
                <a:lnTo>
                  <a:pt x="192" y="18"/>
                </a:lnTo>
                <a:lnTo>
                  <a:pt x="180" y="18"/>
                </a:lnTo>
                <a:lnTo>
                  <a:pt x="176" y="16"/>
                </a:lnTo>
                <a:lnTo>
                  <a:pt x="172" y="14"/>
                </a:lnTo>
                <a:lnTo>
                  <a:pt x="166" y="14"/>
                </a:lnTo>
                <a:lnTo>
                  <a:pt x="162" y="14"/>
                </a:lnTo>
                <a:lnTo>
                  <a:pt x="158" y="14"/>
                </a:lnTo>
                <a:lnTo>
                  <a:pt x="148" y="12"/>
                </a:lnTo>
                <a:lnTo>
                  <a:pt x="144" y="16"/>
                </a:lnTo>
                <a:lnTo>
                  <a:pt x="140" y="18"/>
                </a:lnTo>
                <a:lnTo>
                  <a:pt x="136" y="18"/>
                </a:lnTo>
                <a:lnTo>
                  <a:pt x="128" y="12"/>
                </a:lnTo>
                <a:lnTo>
                  <a:pt x="126" y="10"/>
                </a:lnTo>
                <a:lnTo>
                  <a:pt x="118" y="14"/>
                </a:lnTo>
                <a:lnTo>
                  <a:pt x="116" y="14"/>
                </a:lnTo>
                <a:lnTo>
                  <a:pt x="114" y="14"/>
                </a:lnTo>
                <a:lnTo>
                  <a:pt x="104" y="10"/>
                </a:lnTo>
                <a:lnTo>
                  <a:pt x="100" y="10"/>
                </a:lnTo>
                <a:lnTo>
                  <a:pt x="96" y="12"/>
                </a:lnTo>
                <a:lnTo>
                  <a:pt x="90" y="10"/>
                </a:lnTo>
                <a:lnTo>
                  <a:pt x="78" y="0"/>
                </a:lnTo>
                <a:lnTo>
                  <a:pt x="68" y="8"/>
                </a:lnTo>
                <a:lnTo>
                  <a:pt x="52" y="6"/>
                </a:lnTo>
                <a:lnTo>
                  <a:pt x="46" y="12"/>
                </a:lnTo>
                <a:lnTo>
                  <a:pt x="42" y="20"/>
                </a:lnTo>
                <a:lnTo>
                  <a:pt x="36" y="26"/>
                </a:lnTo>
                <a:lnTo>
                  <a:pt x="32" y="24"/>
                </a:lnTo>
                <a:lnTo>
                  <a:pt x="28" y="20"/>
                </a:lnTo>
                <a:lnTo>
                  <a:pt x="18" y="8"/>
                </a:lnTo>
                <a:lnTo>
                  <a:pt x="14" y="6"/>
                </a:lnTo>
                <a:lnTo>
                  <a:pt x="10" y="6"/>
                </a:lnTo>
                <a:lnTo>
                  <a:pt x="6" y="8"/>
                </a:lnTo>
                <a:lnTo>
                  <a:pt x="4" y="10"/>
                </a:lnTo>
                <a:lnTo>
                  <a:pt x="2" y="26"/>
                </a:lnTo>
                <a:lnTo>
                  <a:pt x="0" y="40"/>
                </a:lnTo>
                <a:lnTo>
                  <a:pt x="0" y="48"/>
                </a:lnTo>
                <a:lnTo>
                  <a:pt x="10" y="56"/>
                </a:lnTo>
                <a:lnTo>
                  <a:pt x="20" y="68"/>
                </a:lnTo>
                <a:lnTo>
                  <a:pt x="24" y="70"/>
                </a:lnTo>
                <a:lnTo>
                  <a:pt x="26" y="74"/>
                </a:lnTo>
                <a:lnTo>
                  <a:pt x="28" y="86"/>
                </a:lnTo>
                <a:lnTo>
                  <a:pt x="32" y="98"/>
                </a:lnTo>
                <a:lnTo>
                  <a:pt x="36" y="106"/>
                </a:lnTo>
                <a:lnTo>
                  <a:pt x="42" y="112"/>
                </a:lnTo>
                <a:lnTo>
                  <a:pt x="48" y="118"/>
                </a:lnTo>
                <a:lnTo>
                  <a:pt x="56" y="126"/>
                </a:lnTo>
                <a:lnTo>
                  <a:pt x="62" y="134"/>
                </a:lnTo>
                <a:lnTo>
                  <a:pt x="64" y="138"/>
                </a:lnTo>
                <a:lnTo>
                  <a:pt x="88" y="162"/>
                </a:lnTo>
                <a:lnTo>
                  <a:pt x="98" y="166"/>
                </a:lnTo>
                <a:lnTo>
                  <a:pt x="100" y="168"/>
                </a:lnTo>
                <a:lnTo>
                  <a:pt x="100" y="178"/>
                </a:lnTo>
                <a:lnTo>
                  <a:pt x="102" y="180"/>
                </a:lnTo>
                <a:lnTo>
                  <a:pt x="108" y="190"/>
                </a:lnTo>
                <a:lnTo>
                  <a:pt x="124" y="204"/>
                </a:lnTo>
                <a:lnTo>
                  <a:pt x="126" y="208"/>
                </a:lnTo>
                <a:lnTo>
                  <a:pt x="126" y="210"/>
                </a:lnTo>
                <a:lnTo>
                  <a:pt x="124" y="212"/>
                </a:lnTo>
                <a:lnTo>
                  <a:pt x="120" y="214"/>
                </a:lnTo>
                <a:lnTo>
                  <a:pt x="126" y="218"/>
                </a:lnTo>
                <a:lnTo>
                  <a:pt x="132" y="216"/>
                </a:lnTo>
                <a:lnTo>
                  <a:pt x="136" y="218"/>
                </a:lnTo>
                <a:lnTo>
                  <a:pt x="138" y="222"/>
                </a:lnTo>
                <a:lnTo>
                  <a:pt x="142" y="226"/>
                </a:lnTo>
                <a:lnTo>
                  <a:pt x="152" y="232"/>
                </a:lnTo>
                <a:lnTo>
                  <a:pt x="156" y="236"/>
                </a:lnTo>
                <a:lnTo>
                  <a:pt x="168" y="244"/>
                </a:lnTo>
                <a:lnTo>
                  <a:pt x="170" y="246"/>
                </a:lnTo>
                <a:lnTo>
                  <a:pt x="176" y="248"/>
                </a:lnTo>
                <a:lnTo>
                  <a:pt x="178" y="248"/>
                </a:lnTo>
                <a:lnTo>
                  <a:pt x="180" y="246"/>
                </a:lnTo>
                <a:lnTo>
                  <a:pt x="184" y="242"/>
                </a:lnTo>
                <a:lnTo>
                  <a:pt x="184" y="240"/>
                </a:lnTo>
                <a:lnTo>
                  <a:pt x="184" y="238"/>
                </a:lnTo>
                <a:lnTo>
                  <a:pt x="178" y="228"/>
                </a:lnTo>
                <a:lnTo>
                  <a:pt x="178" y="222"/>
                </a:lnTo>
                <a:lnTo>
                  <a:pt x="178" y="212"/>
                </a:lnTo>
                <a:lnTo>
                  <a:pt x="178" y="208"/>
                </a:lnTo>
                <a:lnTo>
                  <a:pt x="180" y="208"/>
                </a:lnTo>
                <a:lnTo>
                  <a:pt x="190" y="206"/>
                </a:lnTo>
                <a:lnTo>
                  <a:pt x="188" y="196"/>
                </a:lnTo>
                <a:lnTo>
                  <a:pt x="190" y="194"/>
                </a:lnTo>
                <a:lnTo>
                  <a:pt x="192" y="190"/>
                </a:lnTo>
                <a:lnTo>
                  <a:pt x="192" y="188"/>
                </a:lnTo>
                <a:lnTo>
                  <a:pt x="198" y="182"/>
                </a:lnTo>
                <a:lnTo>
                  <a:pt x="204" y="178"/>
                </a:lnTo>
                <a:lnTo>
                  <a:pt x="206" y="176"/>
                </a:lnTo>
                <a:lnTo>
                  <a:pt x="210" y="178"/>
                </a:lnTo>
                <a:lnTo>
                  <a:pt x="212" y="182"/>
                </a:lnTo>
                <a:lnTo>
                  <a:pt x="216" y="182"/>
                </a:lnTo>
                <a:lnTo>
                  <a:pt x="216" y="176"/>
                </a:lnTo>
                <a:lnTo>
                  <a:pt x="212" y="168"/>
                </a:lnTo>
                <a:lnTo>
                  <a:pt x="210" y="164"/>
                </a:lnTo>
                <a:lnTo>
                  <a:pt x="210" y="160"/>
                </a:lnTo>
                <a:lnTo>
                  <a:pt x="212" y="160"/>
                </a:lnTo>
                <a:lnTo>
                  <a:pt x="216" y="160"/>
                </a:lnTo>
                <a:lnTo>
                  <a:pt x="218" y="162"/>
                </a:lnTo>
                <a:lnTo>
                  <a:pt x="220" y="160"/>
                </a:lnTo>
                <a:lnTo>
                  <a:pt x="224" y="160"/>
                </a:lnTo>
                <a:lnTo>
                  <a:pt x="226" y="160"/>
                </a:lnTo>
                <a:lnTo>
                  <a:pt x="230" y="156"/>
                </a:lnTo>
                <a:lnTo>
                  <a:pt x="234" y="154"/>
                </a:lnTo>
                <a:lnTo>
                  <a:pt x="238" y="154"/>
                </a:lnTo>
                <a:lnTo>
                  <a:pt x="240" y="158"/>
                </a:lnTo>
                <a:lnTo>
                  <a:pt x="244" y="158"/>
                </a:lnTo>
                <a:lnTo>
                  <a:pt x="246" y="154"/>
                </a:lnTo>
                <a:lnTo>
                  <a:pt x="246" y="150"/>
                </a:lnTo>
                <a:lnTo>
                  <a:pt x="246" y="144"/>
                </a:lnTo>
                <a:lnTo>
                  <a:pt x="238" y="132"/>
                </a:lnTo>
                <a:lnTo>
                  <a:pt x="230" y="122"/>
                </a:lnTo>
                <a:lnTo>
                  <a:pt x="230" y="122"/>
                </a:lnTo>
                <a:lnTo>
                  <a:pt x="232" y="120"/>
                </a:lnTo>
                <a:lnTo>
                  <a:pt x="234" y="118"/>
                </a:lnTo>
                <a:lnTo>
                  <a:pt x="236" y="120"/>
                </a:lnTo>
                <a:lnTo>
                  <a:pt x="244" y="120"/>
                </a:lnTo>
                <a:lnTo>
                  <a:pt x="250" y="120"/>
                </a:lnTo>
                <a:lnTo>
                  <a:pt x="252" y="116"/>
                </a:lnTo>
                <a:lnTo>
                  <a:pt x="252" y="114"/>
                </a:lnTo>
                <a:lnTo>
                  <a:pt x="250" y="112"/>
                </a:lnTo>
                <a:lnTo>
                  <a:pt x="242" y="104"/>
                </a:lnTo>
                <a:lnTo>
                  <a:pt x="236" y="98"/>
                </a:lnTo>
                <a:lnTo>
                  <a:pt x="228" y="92"/>
                </a:lnTo>
                <a:lnTo>
                  <a:pt x="224" y="90"/>
                </a:lnTo>
                <a:lnTo>
                  <a:pt x="222" y="88"/>
                </a:lnTo>
                <a:lnTo>
                  <a:pt x="222" y="86"/>
                </a:lnTo>
                <a:lnTo>
                  <a:pt x="222" y="80"/>
                </a:lnTo>
                <a:lnTo>
                  <a:pt x="222" y="74"/>
                </a:lnTo>
                <a:lnTo>
                  <a:pt x="224" y="70"/>
                </a:lnTo>
                <a:lnTo>
                  <a:pt x="228" y="62"/>
                </a:lnTo>
                <a:lnTo>
                  <a:pt x="232" y="54"/>
                </a:lnTo>
                <a:lnTo>
                  <a:pt x="236" y="46"/>
                </a:lnTo>
                <a:lnTo>
                  <a:pt x="236" y="40"/>
                </a:lnTo>
                <a:lnTo>
                  <a:pt x="236" y="38"/>
                </a:lnTo>
                <a:lnTo>
                  <a:pt x="234" y="36"/>
                </a:lnTo>
                <a:lnTo>
                  <a:pt x="230" y="34"/>
                </a:lnTo>
                <a:lnTo>
                  <a:pt x="222" y="36"/>
                </a:lnTo>
                <a:lnTo>
                  <a:pt x="216" y="38"/>
                </a:lnTo>
                <a:lnTo>
                  <a:pt x="214" y="38"/>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384" name="CustomShape 9"/>
          <p:cNvSpPr/>
          <p:nvPr/>
        </p:nvSpPr>
        <p:spPr>
          <a:xfrm>
            <a:off x="4182120" y="4092840"/>
            <a:ext cx="628200" cy="545400"/>
          </a:xfrm>
          <a:custGeom>
            <a:avLst/>
            <a:gdLst/>
            <a:ahLst/>
            <a:cxnLst/>
            <a:rect l="l" t="t" r="r" b="b"/>
            <a:pathLst>
              <a:path w="624" h="542">
                <a:moveTo>
                  <a:pt x="326" y="0"/>
                </a:moveTo>
                <a:lnTo>
                  <a:pt x="324" y="0"/>
                </a:lnTo>
                <a:lnTo>
                  <a:pt x="318" y="2"/>
                </a:lnTo>
                <a:lnTo>
                  <a:pt x="308" y="8"/>
                </a:lnTo>
                <a:lnTo>
                  <a:pt x="296" y="24"/>
                </a:lnTo>
                <a:lnTo>
                  <a:pt x="292" y="28"/>
                </a:lnTo>
                <a:lnTo>
                  <a:pt x="288" y="40"/>
                </a:lnTo>
                <a:lnTo>
                  <a:pt x="288" y="40"/>
                </a:lnTo>
                <a:lnTo>
                  <a:pt x="280" y="40"/>
                </a:lnTo>
                <a:lnTo>
                  <a:pt x="278" y="40"/>
                </a:lnTo>
                <a:lnTo>
                  <a:pt x="270" y="40"/>
                </a:lnTo>
                <a:lnTo>
                  <a:pt x="254" y="38"/>
                </a:lnTo>
                <a:lnTo>
                  <a:pt x="246" y="40"/>
                </a:lnTo>
                <a:lnTo>
                  <a:pt x="238" y="52"/>
                </a:lnTo>
                <a:lnTo>
                  <a:pt x="236" y="54"/>
                </a:lnTo>
                <a:lnTo>
                  <a:pt x="226" y="54"/>
                </a:lnTo>
                <a:lnTo>
                  <a:pt x="224" y="56"/>
                </a:lnTo>
                <a:lnTo>
                  <a:pt x="224" y="62"/>
                </a:lnTo>
                <a:lnTo>
                  <a:pt x="222" y="70"/>
                </a:lnTo>
                <a:lnTo>
                  <a:pt x="218" y="82"/>
                </a:lnTo>
                <a:lnTo>
                  <a:pt x="216" y="90"/>
                </a:lnTo>
                <a:lnTo>
                  <a:pt x="214" y="94"/>
                </a:lnTo>
                <a:lnTo>
                  <a:pt x="218" y="96"/>
                </a:lnTo>
                <a:lnTo>
                  <a:pt x="230" y="98"/>
                </a:lnTo>
                <a:lnTo>
                  <a:pt x="234" y="100"/>
                </a:lnTo>
                <a:lnTo>
                  <a:pt x="236" y="102"/>
                </a:lnTo>
                <a:lnTo>
                  <a:pt x="232" y="104"/>
                </a:lnTo>
                <a:lnTo>
                  <a:pt x="228" y="108"/>
                </a:lnTo>
                <a:lnTo>
                  <a:pt x="228" y="110"/>
                </a:lnTo>
                <a:lnTo>
                  <a:pt x="224" y="118"/>
                </a:lnTo>
                <a:lnTo>
                  <a:pt x="204" y="118"/>
                </a:lnTo>
                <a:lnTo>
                  <a:pt x="202" y="118"/>
                </a:lnTo>
                <a:lnTo>
                  <a:pt x="200" y="122"/>
                </a:lnTo>
                <a:lnTo>
                  <a:pt x="198" y="128"/>
                </a:lnTo>
                <a:lnTo>
                  <a:pt x="196" y="132"/>
                </a:lnTo>
                <a:lnTo>
                  <a:pt x="190" y="138"/>
                </a:lnTo>
                <a:lnTo>
                  <a:pt x="182" y="138"/>
                </a:lnTo>
                <a:lnTo>
                  <a:pt x="176" y="142"/>
                </a:lnTo>
                <a:lnTo>
                  <a:pt x="170" y="152"/>
                </a:lnTo>
                <a:lnTo>
                  <a:pt x="166" y="166"/>
                </a:lnTo>
                <a:lnTo>
                  <a:pt x="166" y="174"/>
                </a:lnTo>
                <a:lnTo>
                  <a:pt x="166" y="180"/>
                </a:lnTo>
                <a:lnTo>
                  <a:pt x="166" y="182"/>
                </a:lnTo>
                <a:lnTo>
                  <a:pt x="164" y="186"/>
                </a:lnTo>
                <a:lnTo>
                  <a:pt x="160" y="194"/>
                </a:lnTo>
                <a:lnTo>
                  <a:pt x="156" y="204"/>
                </a:lnTo>
                <a:lnTo>
                  <a:pt x="154" y="208"/>
                </a:lnTo>
                <a:lnTo>
                  <a:pt x="156" y="212"/>
                </a:lnTo>
                <a:lnTo>
                  <a:pt x="160" y="212"/>
                </a:lnTo>
                <a:lnTo>
                  <a:pt x="166" y="214"/>
                </a:lnTo>
                <a:lnTo>
                  <a:pt x="168" y="216"/>
                </a:lnTo>
                <a:lnTo>
                  <a:pt x="170" y="222"/>
                </a:lnTo>
                <a:lnTo>
                  <a:pt x="170" y="226"/>
                </a:lnTo>
                <a:lnTo>
                  <a:pt x="168" y="228"/>
                </a:lnTo>
                <a:lnTo>
                  <a:pt x="164" y="230"/>
                </a:lnTo>
                <a:lnTo>
                  <a:pt x="156" y="230"/>
                </a:lnTo>
                <a:lnTo>
                  <a:pt x="152" y="228"/>
                </a:lnTo>
                <a:lnTo>
                  <a:pt x="152" y="226"/>
                </a:lnTo>
                <a:lnTo>
                  <a:pt x="154" y="222"/>
                </a:lnTo>
                <a:lnTo>
                  <a:pt x="152" y="216"/>
                </a:lnTo>
                <a:lnTo>
                  <a:pt x="150" y="214"/>
                </a:lnTo>
                <a:lnTo>
                  <a:pt x="144" y="218"/>
                </a:lnTo>
                <a:lnTo>
                  <a:pt x="138" y="218"/>
                </a:lnTo>
                <a:lnTo>
                  <a:pt x="130" y="222"/>
                </a:lnTo>
                <a:lnTo>
                  <a:pt x="126" y="228"/>
                </a:lnTo>
                <a:lnTo>
                  <a:pt x="122" y="232"/>
                </a:lnTo>
                <a:lnTo>
                  <a:pt x="110" y="230"/>
                </a:lnTo>
                <a:lnTo>
                  <a:pt x="108" y="232"/>
                </a:lnTo>
                <a:lnTo>
                  <a:pt x="106" y="246"/>
                </a:lnTo>
                <a:lnTo>
                  <a:pt x="104" y="248"/>
                </a:lnTo>
                <a:lnTo>
                  <a:pt x="94" y="248"/>
                </a:lnTo>
                <a:lnTo>
                  <a:pt x="84" y="254"/>
                </a:lnTo>
                <a:lnTo>
                  <a:pt x="74" y="258"/>
                </a:lnTo>
                <a:lnTo>
                  <a:pt x="70" y="256"/>
                </a:lnTo>
                <a:lnTo>
                  <a:pt x="66" y="252"/>
                </a:lnTo>
                <a:lnTo>
                  <a:pt x="60" y="252"/>
                </a:lnTo>
                <a:lnTo>
                  <a:pt x="54" y="254"/>
                </a:lnTo>
                <a:lnTo>
                  <a:pt x="50" y="252"/>
                </a:lnTo>
                <a:lnTo>
                  <a:pt x="46" y="254"/>
                </a:lnTo>
                <a:lnTo>
                  <a:pt x="36" y="256"/>
                </a:lnTo>
                <a:lnTo>
                  <a:pt x="24" y="256"/>
                </a:lnTo>
                <a:lnTo>
                  <a:pt x="20" y="252"/>
                </a:lnTo>
                <a:lnTo>
                  <a:pt x="28" y="290"/>
                </a:lnTo>
                <a:lnTo>
                  <a:pt x="40" y="326"/>
                </a:lnTo>
                <a:lnTo>
                  <a:pt x="44" y="344"/>
                </a:lnTo>
                <a:lnTo>
                  <a:pt x="46" y="354"/>
                </a:lnTo>
                <a:lnTo>
                  <a:pt x="48" y="366"/>
                </a:lnTo>
                <a:lnTo>
                  <a:pt x="48" y="376"/>
                </a:lnTo>
                <a:lnTo>
                  <a:pt x="48" y="382"/>
                </a:lnTo>
                <a:lnTo>
                  <a:pt x="48" y="388"/>
                </a:lnTo>
                <a:lnTo>
                  <a:pt x="44" y="392"/>
                </a:lnTo>
                <a:lnTo>
                  <a:pt x="20" y="404"/>
                </a:lnTo>
                <a:lnTo>
                  <a:pt x="14" y="408"/>
                </a:lnTo>
                <a:lnTo>
                  <a:pt x="8" y="418"/>
                </a:lnTo>
                <a:lnTo>
                  <a:pt x="2" y="428"/>
                </a:lnTo>
                <a:lnTo>
                  <a:pt x="0" y="432"/>
                </a:lnTo>
                <a:lnTo>
                  <a:pt x="0" y="434"/>
                </a:lnTo>
                <a:lnTo>
                  <a:pt x="0" y="436"/>
                </a:lnTo>
                <a:lnTo>
                  <a:pt x="10" y="442"/>
                </a:lnTo>
                <a:lnTo>
                  <a:pt x="18" y="446"/>
                </a:lnTo>
                <a:lnTo>
                  <a:pt x="20" y="448"/>
                </a:lnTo>
                <a:lnTo>
                  <a:pt x="26" y="452"/>
                </a:lnTo>
                <a:lnTo>
                  <a:pt x="30" y="456"/>
                </a:lnTo>
                <a:lnTo>
                  <a:pt x="30" y="460"/>
                </a:lnTo>
                <a:lnTo>
                  <a:pt x="30" y="466"/>
                </a:lnTo>
                <a:lnTo>
                  <a:pt x="28" y="476"/>
                </a:lnTo>
                <a:lnTo>
                  <a:pt x="30" y="484"/>
                </a:lnTo>
                <a:lnTo>
                  <a:pt x="26" y="490"/>
                </a:lnTo>
                <a:lnTo>
                  <a:pt x="24" y="494"/>
                </a:lnTo>
                <a:lnTo>
                  <a:pt x="24" y="504"/>
                </a:lnTo>
                <a:lnTo>
                  <a:pt x="28" y="514"/>
                </a:lnTo>
                <a:lnTo>
                  <a:pt x="28" y="514"/>
                </a:lnTo>
                <a:lnTo>
                  <a:pt x="28" y="506"/>
                </a:lnTo>
                <a:lnTo>
                  <a:pt x="30" y="504"/>
                </a:lnTo>
                <a:lnTo>
                  <a:pt x="34" y="502"/>
                </a:lnTo>
                <a:lnTo>
                  <a:pt x="40" y="502"/>
                </a:lnTo>
                <a:lnTo>
                  <a:pt x="44" y="504"/>
                </a:lnTo>
                <a:lnTo>
                  <a:pt x="50" y="508"/>
                </a:lnTo>
                <a:lnTo>
                  <a:pt x="52" y="508"/>
                </a:lnTo>
                <a:lnTo>
                  <a:pt x="62" y="500"/>
                </a:lnTo>
                <a:lnTo>
                  <a:pt x="72" y="488"/>
                </a:lnTo>
                <a:lnTo>
                  <a:pt x="74" y="482"/>
                </a:lnTo>
                <a:lnTo>
                  <a:pt x="78" y="478"/>
                </a:lnTo>
                <a:lnTo>
                  <a:pt x="86" y="476"/>
                </a:lnTo>
                <a:lnTo>
                  <a:pt x="94" y="476"/>
                </a:lnTo>
                <a:lnTo>
                  <a:pt x="98" y="476"/>
                </a:lnTo>
                <a:lnTo>
                  <a:pt x="110" y="474"/>
                </a:lnTo>
                <a:lnTo>
                  <a:pt x="118" y="474"/>
                </a:lnTo>
                <a:lnTo>
                  <a:pt x="124" y="472"/>
                </a:lnTo>
                <a:lnTo>
                  <a:pt x="136" y="470"/>
                </a:lnTo>
                <a:lnTo>
                  <a:pt x="156" y="472"/>
                </a:lnTo>
                <a:lnTo>
                  <a:pt x="170" y="472"/>
                </a:lnTo>
                <a:lnTo>
                  <a:pt x="180" y="474"/>
                </a:lnTo>
                <a:lnTo>
                  <a:pt x="202" y="480"/>
                </a:lnTo>
                <a:lnTo>
                  <a:pt x="210" y="480"/>
                </a:lnTo>
                <a:lnTo>
                  <a:pt x="214" y="484"/>
                </a:lnTo>
                <a:lnTo>
                  <a:pt x="222" y="486"/>
                </a:lnTo>
                <a:lnTo>
                  <a:pt x="236" y="488"/>
                </a:lnTo>
                <a:lnTo>
                  <a:pt x="246" y="490"/>
                </a:lnTo>
                <a:lnTo>
                  <a:pt x="254" y="490"/>
                </a:lnTo>
                <a:lnTo>
                  <a:pt x="260" y="490"/>
                </a:lnTo>
                <a:lnTo>
                  <a:pt x="268" y="504"/>
                </a:lnTo>
                <a:lnTo>
                  <a:pt x="270" y="506"/>
                </a:lnTo>
                <a:lnTo>
                  <a:pt x="272" y="506"/>
                </a:lnTo>
                <a:lnTo>
                  <a:pt x="280" y="506"/>
                </a:lnTo>
                <a:lnTo>
                  <a:pt x="290" y="506"/>
                </a:lnTo>
                <a:lnTo>
                  <a:pt x="296" y="510"/>
                </a:lnTo>
                <a:lnTo>
                  <a:pt x="294" y="518"/>
                </a:lnTo>
                <a:lnTo>
                  <a:pt x="296" y="520"/>
                </a:lnTo>
                <a:lnTo>
                  <a:pt x="298" y="518"/>
                </a:lnTo>
                <a:lnTo>
                  <a:pt x="302" y="514"/>
                </a:lnTo>
                <a:lnTo>
                  <a:pt x="304" y="508"/>
                </a:lnTo>
                <a:lnTo>
                  <a:pt x="306" y="508"/>
                </a:lnTo>
                <a:lnTo>
                  <a:pt x="316" y="510"/>
                </a:lnTo>
                <a:lnTo>
                  <a:pt x="320" y="510"/>
                </a:lnTo>
                <a:lnTo>
                  <a:pt x="326" y="506"/>
                </a:lnTo>
                <a:lnTo>
                  <a:pt x="328" y="506"/>
                </a:lnTo>
                <a:lnTo>
                  <a:pt x="334" y="508"/>
                </a:lnTo>
                <a:lnTo>
                  <a:pt x="344" y="510"/>
                </a:lnTo>
                <a:lnTo>
                  <a:pt x="350" y="510"/>
                </a:lnTo>
                <a:lnTo>
                  <a:pt x="354" y="512"/>
                </a:lnTo>
                <a:lnTo>
                  <a:pt x="358" y="522"/>
                </a:lnTo>
                <a:lnTo>
                  <a:pt x="360" y="524"/>
                </a:lnTo>
                <a:lnTo>
                  <a:pt x="364" y="524"/>
                </a:lnTo>
                <a:lnTo>
                  <a:pt x="368" y="516"/>
                </a:lnTo>
                <a:lnTo>
                  <a:pt x="372" y="512"/>
                </a:lnTo>
                <a:lnTo>
                  <a:pt x="376" y="510"/>
                </a:lnTo>
                <a:lnTo>
                  <a:pt x="380" y="510"/>
                </a:lnTo>
                <a:lnTo>
                  <a:pt x="382" y="506"/>
                </a:lnTo>
                <a:lnTo>
                  <a:pt x="386" y="504"/>
                </a:lnTo>
                <a:lnTo>
                  <a:pt x="388" y="504"/>
                </a:lnTo>
                <a:lnTo>
                  <a:pt x="390" y="504"/>
                </a:lnTo>
                <a:lnTo>
                  <a:pt x="392" y="508"/>
                </a:lnTo>
                <a:lnTo>
                  <a:pt x="396" y="518"/>
                </a:lnTo>
                <a:lnTo>
                  <a:pt x="400" y="526"/>
                </a:lnTo>
                <a:lnTo>
                  <a:pt x="404" y="530"/>
                </a:lnTo>
                <a:lnTo>
                  <a:pt x="412" y="526"/>
                </a:lnTo>
                <a:lnTo>
                  <a:pt x="418" y="524"/>
                </a:lnTo>
                <a:lnTo>
                  <a:pt x="428" y="524"/>
                </a:lnTo>
                <a:lnTo>
                  <a:pt x="440" y="522"/>
                </a:lnTo>
                <a:lnTo>
                  <a:pt x="450" y="518"/>
                </a:lnTo>
                <a:lnTo>
                  <a:pt x="458" y="520"/>
                </a:lnTo>
                <a:lnTo>
                  <a:pt x="462" y="522"/>
                </a:lnTo>
                <a:lnTo>
                  <a:pt x="468" y="528"/>
                </a:lnTo>
                <a:lnTo>
                  <a:pt x="468" y="536"/>
                </a:lnTo>
                <a:lnTo>
                  <a:pt x="476" y="540"/>
                </a:lnTo>
                <a:lnTo>
                  <a:pt x="482" y="542"/>
                </a:lnTo>
                <a:lnTo>
                  <a:pt x="484" y="536"/>
                </a:lnTo>
                <a:lnTo>
                  <a:pt x="488" y="532"/>
                </a:lnTo>
                <a:lnTo>
                  <a:pt x="488" y="526"/>
                </a:lnTo>
                <a:lnTo>
                  <a:pt x="486" y="520"/>
                </a:lnTo>
                <a:lnTo>
                  <a:pt x="484" y="514"/>
                </a:lnTo>
                <a:lnTo>
                  <a:pt x="482" y="506"/>
                </a:lnTo>
                <a:lnTo>
                  <a:pt x="486" y="496"/>
                </a:lnTo>
                <a:lnTo>
                  <a:pt x="488" y="488"/>
                </a:lnTo>
                <a:lnTo>
                  <a:pt x="490" y="484"/>
                </a:lnTo>
                <a:lnTo>
                  <a:pt x="496" y="474"/>
                </a:lnTo>
                <a:lnTo>
                  <a:pt x="502" y="468"/>
                </a:lnTo>
                <a:lnTo>
                  <a:pt x="510" y="458"/>
                </a:lnTo>
                <a:lnTo>
                  <a:pt x="518" y="456"/>
                </a:lnTo>
                <a:lnTo>
                  <a:pt x="524" y="458"/>
                </a:lnTo>
                <a:lnTo>
                  <a:pt x="526" y="458"/>
                </a:lnTo>
                <a:lnTo>
                  <a:pt x="534" y="452"/>
                </a:lnTo>
                <a:lnTo>
                  <a:pt x="550" y="452"/>
                </a:lnTo>
                <a:lnTo>
                  <a:pt x="562" y="454"/>
                </a:lnTo>
                <a:lnTo>
                  <a:pt x="562" y="450"/>
                </a:lnTo>
                <a:lnTo>
                  <a:pt x="558" y="440"/>
                </a:lnTo>
                <a:lnTo>
                  <a:pt x="556" y="436"/>
                </a:lnTo>
                <a:lnTo>
                  <a:pt x="552" y="434"/>
                </a:lnTo>
                <a:lnTo>
                  <a:pt x="550" y="430"/>
                </a:lnTo>
                <a:lnTo>
                  <a:pt x="550" y="418"/>
                </a:lnTo>
                <a:lnTo>
                  <a:pt x="550" y="406"/>
                </a:lnTo>
                <a:lnTo>
                  <a:pt x="552" y="406"/>
                </a:lnTo>
                <a:lnTo>
                  <a:pt x="546" y="396"/>
                </a:lnTo>
                <a:lnTo>
                  <a:pt x="546" y="388"/>
                </a:lnTo>
                <a:lnTo>
                  <a:pt x="550" y="386"/>
                </a:lnTo>
                <a:lnTo>
                  <a:pt x="550" y="382"/>
                </a:lnTo>
                <a:lnTo>
                  <a:pt x="548" y="378"/>
                </a:lnTo>
                <a:lnTo>
                  <a:pt x="542" y="372"/>
                </a:lnTo>
                <a:lnTo>
                  <a:pt x="536" y="364"/>
                </a:lnTo>
                <a:lnTo>
                  <a:pt x="532" y="358"/>
                </a:lnTo>
                <a:lnTo>
                  <a:pt x="530" y="354"/>
                </a:lnTo>
                <a:lnTo>
                  <a:pt x="532" y="350"/>
                </a:lnTo>
                <a:lnTo>
                  <a:pt x="536" y="342"/>
                </a:lnTo>
                <a:lnTo>
                  <a:pt x="538" y="336"/>
                </a:lnTo>
                <a:lnTo>
                  <a:pt x="540" y="334"/>
                </a:lnTo>
                <a:lnTo>
                  <a:pt x="550" y="334"/>
                </a:lnTo>
                <a:lnTo>
                  <a:pt x="556" y="334"/>
                </a:lnTo>
                <a:lnTo>
                  <a:pt x="562" y="336"/>
                </a:lnTo>
                <a:lnTo>
                  <a:pt x="564" y="340"/>
                </a:lnTo>
                <a:lnTo>
                  <a:pt x="568" y="344"/>
                </a:lnTo>
                <a:lnTo>
                  <a:pt x="582" y="346"/>
                </a:lnTo>
                <a:lnTo>
                  <a:pt x="588" y="346"/>
                </a:lnTo>
                <a:lnTo>
                  <a:pt x="594" y="342"/>
                </a:lnTo>
                <a:lnTo>
                  <a:pt x="606" y="334"/>
                </a:lnTo>
                <a:lnTo>
                  <a:pt x="608" y="326"/>
                </a:lnTo>
                <a:lnTo>
                  <a:pt x="616" y="322"/>
                </a:lnTo>
                <a:lnTo>
                  <a:pt x="620" y="320"/>
                </a:lnTo>
                <a:lnTo>
                  <a:pt x="624" y="320"/>
                </a:lnTo>
                <a:lnTo>
                  <a:pt x="624" y="316"/>
                </a:lnTo>
                <a:lnTo>
                  <a:pt x="624" y="310"/>
                </a:lnTo>
                <a:lnTo>
                  <a:pt x="622" y="308"/>
                </a:lnTo>
                <a:lnTo>
                  <a:pt x="608" y="296"/>
                </a:lnTo>
                <a:lnTo>
                  <a:pt x="606" y="292"/>
                </a:lnTo>
                <a:lnTo>
                  <a:pt x="606" y="288"/>
                </a:lnTo>
                <a:lnTo>
                  <a:pt x="608" y="284"/>
                </a:lnTo>
                <a:lnTo>
                  <a:pt x="608" y="280"/>
                </a:lnTo>
                <a:lnTo>
                  <a:pt x="592" y="270"/>
                </a:lnTo>
                <a:lnTo>
                  <a:pt x="578" y="268"/>
                </a:lnTo>
                <a:lnTo>
                  <a:pt x="566" y="270"/>
                </a:lnTo>
                <a:lnTo>
                  <a:pt x="562" y="268"/>
                </a:lnTo>
                <a:lnTo>
                  <a:pt x="564" y="262"/>
                </a:lnTo>
                <a:lnTo>
                  <a:pt x="566" y="254"/>
                </a:lnTo>
                <a:lnTo>
                  <a:pt x="568" y="246"/>
                </a:lnTo>
                <a:lnTo>
                  <a:pt x="566" y="242"/>
                </a:lnTo>
                <a:lnTo>
                  <a:pt x="564" y="240"/>
                </a:lnTo>
                <a:lnTo>
                  <a:pt x="554" y="234"/>
                </a:lnTo>
                <a:lnTo>
                  <a:pt x="538" y="224"/>
                </a:lnTo>
                <a:lnTo>
                  <a:pt x="532" y="214"/>
                </a:lnTo>
                <a:lnTo>
                  <a:pt x="528" y="202"/>
                </a:lnTo>
                <a:lnTo>
                  <a:pt x="524" y="196"/>
                </a:lnTo>
                <a:lnTo>
                  <a:pt x="518" y="190"/>
                </a:lnTo>
                <a:lnTo>
                  <a:pt x="518" y="188"/>
                </a:lnTo>
                <a:lnTo>
                  <a:pt x="522" y="178"/>
                </a:lnTo>
                <a:lnTo>
                  <a:pt x="522" y="176"/>
                </a:lnTo>
                <a:lnTo>
                  <a:pt x="520" y="174"/>
                </a:lnTo>
                <a:lnTo>
                  <a:pt x="512" y="168"/>
                </a:lnTo>
                <a:lnTo>
                  <a:pt x="500" y="158"/>
                </a:lnTo>
                <a:lnTo>
                  <a:pt x="498" y="156"/>
                </a:lnTo>
                <a:lnTo>
                  <a:pt x="500" y="150"/>
                </a:lnTo>
                <a:lnTo>
                  <a:pt x="502" y="142"/>
                </a:lnTo>
                <a:lnTo>
                  <a:pt x="504" y="140"/>
                </a:lnTo>
                <a:lnTo>
                  <a:pt x="510" y="128"/>
                </a:lnTo>
                <a:lnTo>
                  <a:pt x="510" y="122"/>
                </a:lnTo>
                <a:lnTo>
                  <a:pt x="510" y="118"/>
                </a:lnTo>
                <a:lnTo>
                  <a:pt x="504" y="108"/>
                </a:lnTo>
                <a:lnTo>
                  <a:pt x="500" y="102"/>
                </a:lnTo>
                <a:lnTo>
                  <a:pt x="500" y="98"/>
                </a:lnTo>
                <a:lnTo>
                  <a:pt x="500" y="96"/>
                </a:lnTo>
                <a:lnTo>
                  <a:pt x="504" y="92"/>
                </a:lnTo>
                <a:lnTo>
                  <a:pt x="506" y="88"/>
                </a:lnTo>
                <a:lnTo>
                  <a:pt x="506" y="72"/>
                </a:lnTo>
                <a:lnTo>
                  <a:pt x="506" y="68"/>
                </a:lnTo>
                <a:lnTo>
                  <a:pt x="504" y="64"/>
                </a:lnTo>
                <a:lnTo>
                  <a:pt x="502" y="64"/>
                </a:lnTo>
                <a:lnTo>
                  <a:pt x="500" y="64"/>
                </a:lnTo>
                <a:lnTo>
                  <a:pt x="494" y="62"/>
                </a:lnTo>
                <a:lnTo>
                  <a:pt x="490" y="58"/>
                </a:lnTo>
                <a:lnTo>
                  <a:pt x="488" y="56"/>
                </a:lnTo>
                <a:lnTo>
                  <a:pt x="486" y="52"/>
                </a:lnTo>
                <a:lnTo>
                  <a:pt x="478" y="44"/>
                </a:lnTo>
                <a:lnTo>
                  <a:pt x="476" y="42"/>
                </a:lnTo>
                <a:lnTo>
                  <a:pt x="462" y="36"/>
                </a:lnTo>
                <a:lnTo>
                  <a:pt x="450" y="36"/>
                </a:lnTo>
                <a:lnTo>
                  <a:pt x="442" y="36"/>
                </a:lnTo>
                <a:lnTo>
                  <a:pt x="440" y="36"/>
                </a:lnTo>
                <a:lnTo>
                  <a:pt x="436" y="42"/>
                </a:lnTo>
                <a:lnTo>
                  <a:pt x="430" y="44"/>
                </a:lnTo>
                <a:lnTo>
                  <a:pt x="426" y="44"/>
                </a:lnTo>
                <a:lnTo>
                  <a:pt x="422" y="46"/>
                </a:lnTo>
                <a:lnTo>
                  <a:pt x="412" y="54"/>
                </a:lnTo>
                <a:lnTo>
                  <a:pt x="408" y="50"/>
                </a:lnTo>
                <a:lnTo>
                  <a:pt x="404" y="42"/>
                </a:lnTo>
                <a:lnTo>
                  <a:pt x="406" y="36"/>
                </a:lnTo>
                <a:lnTo>
                  <a:pt x="408" y="32"/>
                </a:lnTo>
                <a:lnTo>
                  <a:pt x="408" y="28"/>
                </a:lnTo>
                <a:lnTo>
                  <a:pt x="406" y="24"/>
                </a:lnTo>
                <a:lnTo>
                  <a:pt x="400" y="22"/>
                </a:lnTo>
                <a:lnTo>
                  <a:pt x="386" y="14"/>
                </a:lnTo>
                <a:lnTo>
                  <a:pt x="384" y="14"/>
                </a:lnTo>
                <a:lnTo>
                  <a:pt x="378" y="18"/>
                </a:lnTo>
                <a:lnTo>
                  <a:pt x="368" y="24"/>
                </a:lnTo>
                <a:lnTo>
                  <a:pt x="364" y="22"/>
                </a:lnTo>
                <a:lnTo>
                  <a:pt x="360" y="18"/>
                </a:lnTo>
                <a:lnTo>
                  <a:pt x="358" y="10"/>
                </a:lnTo>
                <a:lnTo>
                  <a:pt x="352" y="6"/>
                </a:lnTo>
                <a:lnTo>
                  <a:pt x="342" y="6"/>
                </a:lnTo>
                <a:lnTo>
                  <a:pt x="342" y="8"/>
                </a:lnTo>
                <a:lnTo>
                  <a:pt x="336" y="12"/>
                </a:lnTo>
                <a:lnTo>
                  <a:pt x="334" y="10"/>
                </a:lnTo>
                <a:lnTo>
                  <a:pt x="326" y="0"/>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385" name="CustomShape 10"/>
          <p:cNvSpPr/>
          <p:nvPr/>
        </p:nvSpPr>
        <p:spPr>
          <a:xfrm>
            <a:off x="4182120" y="4092840"/>
            <a:ext cx="628200" cy="545400"/>
          </a:xfrm>
          <a:custGeom>
            <a:avLst/>
            <a:gdLst/>
            <a:ahLst/>
            <a:cxnLst/>
            <a:rect l="l" t="t" r="r" b="b"/>
            <a:pathLst>
              <a:path w="624" h="542">
                <a:moveTo>
                  <a:pt x="326" y="0"/>
                </a:moveTo>
                <a:lnTo>
                  <a:pt x="324" y="0"/>
                </a:lnTo>
                <a:lnTo>
                  <a:pt x="318" y="2"/>
                </a:lnTo>
                <a:lnTo>
                  <a:pt x="308" y="8"/>
                </a:lnTo>
                <a:lnTo>
                  <a:pt x="296" y="24"/>
                </a:lnTo>
                <a:lnTo>
                  <a:pt x="292" y="28"/>
                </a:lnTo>
                <a:lnTo>
                  <a:pt x="288" y="40"/>
                </a:lnTo>
                <a:lnTo>
                  <a:pt x="288" y="40"/>
                </a:lnTo>
                <a:lnTo>
                  <a:pt x="280" y="40"/>
                </a:lnTo>
                <a:lnTo>
                  <a:pt x="278" y="40"/>
                </a:lnTo>
                <a:lnTo>
                  <a:pt x="270" y="40"/>
                </a:lnTo>
                <a:lnTo>
                  <a:pt x="254" y="38"/>
                </a:lnTo>
                <a:lnTo>
                  <a:pt x="246" y="40"/>
                </a:lnTo>
                <a:lnTo>
                  <a:pt x="238" y="52"/>
                </a:lnTo>
                <a:lnTo>
                  <a:pt x="236" y="54"/>
                </a:lnTo>
                <a:lnTo>
                  <a:pt x="226" y="54"/>
                </a:lnTo>
                <a:lnTo>
                  <a:pt x="224" y="56"/>
                </a:lnTo>
                <a:lnTo>
                  <a:pt x="224" y="62"/>
                </a:lnTo>
                <a:lnTo>
                  <a:pt x="222" y="70"/>
                </a:lnTo>
                <a:lnTo>
                  <a:pt x="218" y="82"/>
                </a:lnTo>
                <a:lnTo>
                  <a:pt x="216" y="90"/>
                </a:lnTo>
                <a:lnTo>
                  <a:pt x="214" y="94"/>
                </a:lnTo>
                <a:lnTo>
                  <a:pt x="218" y="96"/>
                </a:lnTo>
                <a:lnTo>
                  <a:pt x="230" y="98"/>
                </a:lnTo>
                <a:lnTo>
                  <a:pt x="234" y="100"/>
                </a:lnTo>
                <a:lnTo>
                  <a:pt x="236" y="102"/>
                </a:lnTo>
                <a:lnTo>
                  <a:pt x="232" y="104"/>
                </a:lnTo>
                <a:lnTo>
                  <a:pt x="228" y="108"/>
                </a:lnTo>
                <a:lnTo>
                  <a:pt x="228" y="110"/>
                </a:lnTo>
                <a:lnTo>
                  <a:pt x="224" y="118"/>
                </a:lnTo>
                <a:lnTo>
                  <a:pt x="204" y="118"/>
                </a:lnTo>
                <a:lnTo>
                  <a:pt x="202" y="118"/>
                </a:lnTo>
                <a:lnTo>
                  <a:pt x="200" y="122"/>
                </a:lnTo>
                <a:lnTo>
                  <a:pt x="198" y="128"/>
                </a:lnTo>
                <a:lnTo>
                  <a:pt x="196" y="132"/>
                </a:lnTo>
                <a:lnTo>
                  <a:pt x="190" y="138"/>
                </a:lnTo>
                <a:lnTo>
                  <a:pt x="182" y="138"/>
                </a:lnTo>
                <a:lnTo>
                  <a:pt x="176" y="142"/>
                </a:lnTo>
                <a:lnTo>
                  <a:pt x="170" y="152"/>
                </a:lnTo>
                <a:lnTo>
                  <a:pt x="166" y="166"/>
                </a:lnTo>
                <a:lnTo>
                  <a:pt x="166" y="174"/>
                </a:lnTo>
                <a:lnTo>
                  <a:pt x="166" y="180"/>
                </a:lnTo>
                <a:lnTo>
                  <a:pt x="166" y="182"/>
                </a:lnTo>
                <a:lnTo>
                  <a:pt x="164" y="186"/>
                </a:lnTo>
                <a:lnTo>
                  <a:pt x="160" y="194"/>
                </a:lnTo>
                <a:lnTo>
                  <a:pt x="156" y="204"/>
                </a:lnTo>
                <a:lnTo>
                  <a:pt x="154" y="208"/>
                </a:lnTo>
                <a:lnTo>
                  <a:pt x="156" y="212"/>
                </a:lnTo>
                <a:lnTo>
                  <a:pt x="160" y="212"/>
                </a:lnTo>
                <a:lnTo>
                  <a:pt x="166" y="214"/>
                </a:lnTo>
                <a:lnTo>
                  <a:pt x="168" y="216"/>
                </a:lnTo>
                <a:lnTo>
                  <a:pt x="170" y="222"/>
                </a:lnTo>
                <a:lnTo>
                  <a:pt x="170" y="226"/>
                </a:lnTo>
                <a:lnTo>
                  <a:pt x="168" y="228"/>
                </a:lnTo>
                <a:lnTo>
                  <a:pt x="164" y="230"/>
                </a:lnTo>
                <a:lnTo>
                  <a:pt x="156" y="230"/>
                </a:lnTo>
                <a:lnTo>
                  <a:pt x="152" y="228"/>
                </a:lnTo>
                <a:lnTo>
                  <a:pt x="152" y="226"/>
                </a:lnTo>
                <a:lnTo>
                  <a:pt x="154" y="222"/>
                </a:lnTo>
                <a:lnTo>
                  <a:pt x="152" y="216"/>
                </a:lnTo>
                <a:lnTo>
                  <a:pt x="150" y="214"/>
                </a:lnTo>
                <a:lnTo>
                  <a:pt x="144" y="218"/>
                </a:lnTo>
                <a:lnTo>
                  <a:pt x="138" y="218"/>
                </a:lnTo>
                <a:lnTo>
                  <a:pt x="130" y="222"/>
                </a:lnTo>
                <a:lnTo>
                  <a:pt x="126" y="228"/>
                </a:lnTo>
                <a:lnTo>
                  <a:pt x="122" y="230"/>
                </a:lnTo>
                <a:lnTo>
                  <a:pt x="110" y="230"/>
                </a:lnTo>
                <a:lnTo>
                  <a:pt x="108" y="232"/>
                </a:lnTo>
                <a:lnTo>
                  <a:pt x="106" y="246"/>
                </a:lnTo>
                <a:lnTo>
                  <a:pt x="104" y="248"/>
                </a:lnTo>
                <a:lnTo>
                  <a:pt x="94" y="248"/>
                </a:lnTo>
                <a:lnTo>
                  <a:pt x="84" y="254"/>
                </a:lnTo>
                <a:lnTo>
                  <a:pt x="74" y="258"/>
                </a:lnTo>
                <a:lnTo>
                  <a:pt x="70" y="256"/>
                </a:lnTo>
                <a:lnTo>
                  <a:pt x="66" y="252"/>
                </a:lnTo>
                <a:lnTo>
                  <a:pt x="60" y="252"/>
                </a:lnTo>
                <a:lnTo>
                  <a:pt x="54" y="254"/>
                </a:lnTo>
                <a:lnTo>
                  <a:pt x="50" y="252"/>
                </a:lnTo>
                <a:lnTo>
                  <a:pt x="46" y="254"/>
                </a:lnTo>
                <a:lnTo>
                  <a:pt x="36" y="256"/>
                </a:lnTo>
                <a:lnTo>
                  <a:pt x="24" y="256"/>
                </a:lnTo>
                <a:lnTo>
                  <a:pt x="20" y="252"/>
                </a:lnTo>
                <a:lnTo>
                  <a:pt x="28" y="290"/>
                </a:lnTo>
                <a:lnTo>
                  <a:pt x="40" y="326"/>
                </a:lnTo>
                <a:lnTo>
                  <a:pt x="44" y="344"/>
                </a:lnTo>
                <a:lnTo>
                  <a:pt x="46" y="354"/>
                </a:lnTo>
                <a:lnTo>
                  <a:pt x="48" y="366"/>
                </a:lnTo>
                <a:lnTo>
                  <a:pt x="48" y="376"/>
                </a:lnTo>
                <a:lnTo>
                  <a:pt x="48" y="382"/>
                </a:lnTo>
                <a:lnTo>
                  <a:pt x="48" y="388"/>
                </a:lnTo>
                <a:lnTo>
                  <a:pt x="44" y="392"/>
                </a:lnTo>
                <a:lnTo>
                  <a:pt x="20" y="404"/>
                </a:lnTo>
                <a:lnTo>
                  <a:pt x="14" y="408"/>
                </a:lnTo>
                <a:lnTo>
                  <a:pt x="8" y="418"/>
                </a:lnTo>
                <a:lnTo>
                  <a:pt x="2" y="428"/>
                </a:lnTo>
                <a:lnTo>
                  <a:pt x="0" y="432"/>
                </a:lnTo>
                <a:lnTo>
                  <a:pt x="0" y="434"/>
                </a:lnTo>
                <a:lnTo>
                  <a:pt x="0" y="436"/>
                </a:lnTo>
                <a:lnTo>
                  <a:pt x="10" y="442"/>
                </a:lnTo>
                <a:lnTo>
                  <a:pt x="18" y="446"/>
                </a:lnTo>
                <a:lnTo>
                  <a:pt x="20" y="448"/>
                </a:lnTo>
                <a:lnTo>
                  <a:pt x="26" y="452"/>
                </a:lnTo>
                <a:lnTo>
                  <a:pt x="30" y="456"/>
                </a:lnTo>
                <a:lnTo>
                  <a:pt x="30" y="460"/>
                </a:lnTo>
                <a:lnTo>
                  <a:pt x="30" y="466"/>
                </a:lnTo>
                <a:lnTo>
                  <a:pt x="28" y="476"/>
                </a:lnTo>
                <a:lnTo>
                  <a:pt x="30" y="484"/>
                </a:lnTo>
                <a:lnTo>
                  <a:pt x="26" y="490"/>
                </a:lnTo>
                <a:lnTo>
                  <a:pt x="24" y="494"/>
                </a:lnTo>
                <a:lnTo>
                  <a:pt x="24" y="504"/>
                </a:lnTo>
                <a:lnTo>
                  <a:pt x="28" y="514"/>
                </a:lnTo>
                <a:lnTo>
                  <a:pt x="28" y="514"/>
                </a:lnTo>
                <a:lnTo>
                  <a:pt x="28" y="506"/>
                </a:lnTo>
                <a:lnTo>
                  <a:pt x="30" y="504"/>
                </a:lnTo>
                <a:lnTo>
                  <a:pt x="34" y="502"/>
                </a:lnTo>
                <a:lnTo>
                  <a:pt x="40" y="502"/>
                </a:lnTo>
                <a:lnTo>
                  <a:pt x="44" y="504"/>
                </a:lnTo>
                <a:lnTo>
                  <a:pt x="50" y="508"/>
                </a:lnTo>
                <a:lnTo>
                  <a:pt x="52" y="508"/>
                </a:lnTo>
                <a:lnTo>
                  <a:pt x="62" y="500"/>
                </a:lnTo>
                <a:lnTo>
                  <a:pt x="72" y="488"/>
                </a:lnTo>
                <a:lnTo>
                  <a:pt x="74" y="482"/>
                </a:lnTo>
                <a:lnTo>
                  <a:pt x="78" y="478"/>
                </a:lnTo>
                <a:lnTo>
                  <a:pt x="86" y="476"/>
                </a:lnTo>
                <a:lnTo>
                  <a:pt x="94" y="476"/>
                </a:lnTo>
                <a:lnTo>
                  <a:pt x="98" y="476"/>
                </a:lnTo>
                <a:lnTo>
                  <a:pt x="110" y="474"/>
                </a:lnTo>
                <a:lnTo>
                  <a:pt x="118" y="474"/>
                </a:lnTo>
                <a:lnTo>
                  <a:pt x="124" y="472"/>
                </a:lnTo>
                <a:lnTo>
                  <a:pt x="136" y="470"/>
                </a:lnTo>
                <a:lnTo>
                  <a:pt x="156" y="472"/>
                </a:lnTo>
                <a:lnTo>
                  <a:pt x="170" y="472"/>
                </a:lnTo>
                <a:lnTo>
                  <a:pt x="180" y="474"/>
                </a:lnTo>
                <a:lnTo>
                  <a:pt x="202" y="480"/>
                </a:lnTo>
                <a:lnTo>
                  <a:pt x="210" y="480"/>
                </a:lnTo>
                <a:lnTo>
                  <a:pt x="214" y="484"/>
                </a:lnTo>
                <a:lnTo>
                  <a:pt x="222" y="486"/>
                </a:lnTo>
                <a:lnTo>
                  <a:pt x="236" y="488"/>
                </a:lnTo>
                <a:lnTo>
                  <a:pt x="246" y="490"/>
                </a:lnTo>
                <a:lnTo>
                  <a:pt x="254" y="490"/>
                </a:lnTo>
                <a:lnTo>
                  <a:pt x="260" y="490"/>
                </a:lnTo>
                <a:lnTo>
                  <a:pt x="268" y="504"/>
                </a:lnTo>
                <a:lnTo>
                  <a:pt x="270" y="506"/>
                </a:lnTo>
                <a:lnTo>
                  <a:pt x="272" y="506"/>
                </a:lnTo>
                <a:lnTo>
                  <a:pt x="280" y="506"/>
                </a:lnTo>
                <a:lnTo>
                  <a:pt x="290" y="506"/>
                </a:lnTo>
                <a:lnTo>
                  <a:pt x="296" y="510"/>
                </a:lnTo>
                <a:lnTo>
                  <a:pt x="294" y="518"/>
                </a:lnTo>
                <a:lnTo>
                  <a:pt x="296" y="520"/>
                </a:lnTo>
                <a:lnTo>
                  <a:pt x="298" y="518"/>
                </a:lnTo>
                <a:lnTo>
                  <a:pt x="302" y="514"/>
                </a:lnTo>
                <a:lnTo>
                  <a:pt x="304" y="508"/>
                </a:lnTo>
                <a:lnTo>
                  <a:pt x="306" y="508"/>
                </a:lnTo>
                <a:lnTo>
                  <a:pt x="316" y="510"/>
                </a:lnTo>
                <a:lnTo>
                  <a:pt x="320" y="510"/>
                </a:lnTo>
                <a:lnTo>
                  <a:pt x="326" y="506"/>
                </a:lnTo>
                <a:lnTo>
                  <a:pt x="328" y="506"/>
                </a:lnTo>
                <a:lnTo>
                  <a:pt x="334" y="508"/>
                </a:lnTo>
                <a:lnTo>
                  <a:pt x="344" y="510"/>
                </a:lnTo>
                <a:lnTo>
                  <a:pt x="350" y="510"/>
                </a:lnTo>
                <a:lnTo>
                  <a:pt x="354" y="512"/>
                </a:lnTo>
                <a:lnTo>
                  <a:pt x="358" y="522"/>
                </a:lnTo>
                <a:lnTo>
                  <a:pt x="360" y="524"/>
                </a:lnTo>
                <a:lnTo>
                  <a:pt x="364" y="524"/>
                </a:lnTo>
                <a:lnTo>
                  <a:pt x="368" y="516"/>
                </a:lnTo>
                <a:lnTo>
                  <a:pt x="372" y="512"/>
                </a:lnTo>
                <a:lnTo>
                  <a:pt x="376" y="510"/>
                </a:lnTo>
                <a:lnTo>
                  <a:pt x="380" y="510"/>
                </a:lnTo>
                <a:lnTo>
                  <a:pt x="382" y="506"/>
                </a:lnTo>
                <a:lnTo>
                  <a:pt x="386" y="504"/>
                </a:lnTo>
                <a:lnTo>
                  <a:pt x="388" y="504"/>
                </a:lnTo>
                <a:lnTo>
                  <a:pt x="390" y="504"/>
                </a:lnTo>
                <a:lnTo>
                  <a:pt x="392" y="508"/>
                </a:lnTo>
                <a:lnTo>
                  <a:pt x="396" y="518"/>
                </a:lnTo>
                <a:lnTo>
                  <a:pt x="400" y="526"/>
                </a:lnTo>
                <a:lnTo>
                  <a:pt x="404" y="530"/>
                </a:lnTo>
                <a:lnTo>
                  <a:pt x="412" y="526"/>
                </a:lnTo>
                <a:lnTo>
                  <a:pt x="418" y="524"/>
                </a:lnTo>
                <a:lnTo>
                  <a:pt x="428" y="524"/>
                </a:lnTo>
                <a:lnTo>
                  <a:pt x="440" y="522"/>
                </a:lnTo>
                <a:lnTo>
                  <a:pt x="450" y="518"/>
                </a:lnTo>
                <a:lnTo>
                  <a:pt x="458" y="520"/>
                </a:lnTo>
                <a:lnTo>
                  <a:pt x="462" y="522"/>
                </a:lnTo>
                <a:lnTo>
                  <a:pt x="468" y="528"/>
                </a:lnTo>
                <a:lnTo>
                  <a:pt x="468" y="536"/>
                </a:lnTo>
                <a:lnTo>
                  <a:pt x="476" y="540"/>
                </a:lnTo>
                <a:lnTo>
                  <a:pt x="482" y="542"/>
                </a:lnTo>
                <a:lnTo>
                  <a:pt x="484" y="536"/>
                </a:lnTo>
                <a:lnTo>
                  <a:pt x="488" y="532"/>
                </a:lnTo>
                <a:lnTo>
                  <a:pt x="488" y="526"/>
                </a:lnTo>
                <a:lnTo>
                  <a:pt x="486" y="520"/>
                </a:lnTo>
                <a:lnTo>
                  <a:pt x="484" y="514"/>
                </a:lnTo>
                <a:lnTo>
                  <a:pt x="482" y="506"/>
                </a:lnTo>
                <a:lnTo>
                  <a:pt x="486" y="496"/>
                </a:lnTo>
                <a:lnTo>
                  <a:pt x="488" y="488"/>
                </a:lnTo>
                <a:lnTo>
                  <a:pt x="490" y="484"/>
                </a:lnTo>
                <a:lnTo>
                  <a:pt x="496" y="474"/>
                </a:lnTo>
                <a:lnTo>
                  <a:pt x="502" y="468"/>
                </a:lnTo>
                <a:lnTo>
                  <a:pt x="510" y="458"/>
                </a:lnTo>
                <a:lnTo>
                  <a:pt x="518" y="456"/>
                </a:lnTo>
                <a:lnTo>
                  <a:pt x="524" y="458"/>
                </a:lnTo>
                <a:lnTo>
                  <a:pt x="526" y="458"/>
                </a:lnTo>
                <a:lnTo>
                  <a:pt x="534" y="452"/>
                </a:lnTo>
                <a:lnTo>
                  <a:pt x="550" y="452"/>
                </a:lnTo>
                <a:lnTo>
                  <a:pt x="562" y="454"/>
                </a:lnTo>
                <a:lnTo>
                  <a:pt x="562" y="450"/>
                </a:lnTo>
                <a:lnTo>
                  <a:pt x="558" y="440"/>
                </a:lnTo>
                <a:lnTo>
                  <a:pt x="556" y="436"/>
                </a:lnTo>
                <a:lnTo>
                  <a:pt x="552" y="434"/>
                </a:lnTo>
                <a:lnTo>
                  <a:pt x="550" y="430"/>
                </a:lnTo>
                <a:lnTo>
                  <a:pt x="550" y="418"/>
                </a:lnTo>
                <a:lnTo>
                  <a:pt x="550" y="406"/>
                </a:lnTo>
                <a:lnTo>
                  <a:pt x="552" y="406"/>
                </a:lnTo>
                <a:lnTo>
                  <a:pt x="546" y="396"/>
                </a:lnTo>
                <a:lnTo>
                  <a:pt x="546" y="388"/>
                </a:lnTo>
                <a:lnTo>
                  <a:pt x="550" y="386"/>
                </a:lnTo>
                <a:lnTo>
                  <a:pt x="550" y="382"/>
                </a:lnTo>
                <a:lnTo>
                  <a:pt x="548" y="378"/>
                </a:lnTo>
                <a:lnTo>
                  <a:pt x="542" y="372"/>
                </a:lnTo>
                <a:lnTo>
                  <a:pt x="536" y="364"/>
                </a:lnTo>
                <a:lnTo>
                  <a:pt x="532" y="358"/>
                </a:lnTo>
                <a:lnTo>
                  <a:pt x="530" y="354"/>
                </a:lnTo>
                <a:lnTo>
                  <a:pt x="532" y="350"/>
                </a:lnTo>
                <a:lnTo>
                  <a:pt x="536" y="342"/>
                </a:lnTo>
                <a:lnTo>
                  <a:pt x="538" y="336"/>
                </a:lnTo>
                <a:lnTo>
                  <a:pt x="540" y="334"/>
                </a:lnTo>
                <a:lnTo>
                  <a:pt x="550" y="334"/>
                </a:lnTo>
                <a:lnTo>
                  <a:pt x="556" y="334"/>
                </a:lnTo>
                <a:lnTo>
                  <a:pt x="562" y="336"/>
                </a:lnTo>
                <a:lnTo>
                  <a:pt x="564" y="340"/>
                </a:lnTo>
                <a:lnTo>
                  <a:pt x="568" y="344"/>
                </a:lnTo>
                <a:lnTo>
                  <a:pt x="582" y="346"/>
                </a:lnTo>
                <a:lnTo>
                  <a:pt x="588" y="346"/>
                </a:lnTo>
                <a:lnTo>
                  <a:pt x="594" y="342"/>
                </a:lnTo>
                <a:lnTo>
                  <a:pt x="606" y="334"/>
                </a:lnTo>
                <a:lnTo>
                  <a:pt x="608" y="326"/>
                </a:lnTo>
                <a:lnTo>
                  <a:pt x="616" y="322"/>
                </a:lnTo>
                <a:lnTo>
                  <a:pt x="620" y="320"/>
                </a:lnTo>
                <a:lnTo>
                  <a:pt x="624" y="320"/>
                </a:lnTo>
                <a:lnTo>
                  <a:pt x="624" y="316"/>
                </a:lnTo>
                <a:lnTo>
                  <a:pt x="624" y="310"/>
                </a:lnTo>
                <a:lnTo>
                  <a:pt x="622" y="308"/>
                </a:lnTo>
                <a:lnTo>
                  <a:pt x="608" y="296"/>
                </a:lnTo>
                <a:lnTo>
                  <a:pt x="606" y="292"/>
                </a:lnTo>
                <a:lnTo>
                  <a:pt x="606" y="288"/>
                </a:lnTo>
                <a:lnTo>
                  <a:pt x="608" y="284"/>
                </a:lnTo>
                <a:lnTo>
                  <a:pt x="608" y="280"/>
                </a:lnTo>
                <a:lnTo>
                  <a:pt x="592" y="270"/>
                </a:lnTo>
                <a:lnTo>
                  <a:pt x="578" y="268"/>
                </a:lnTo>
                <a:lnTo>
                  <a:pt x="566" y="270"/>
                </a:lnTo>
                <a:lnTo>
                  <a:pt x="562" y="268"/>
                </a:lnTo>
                <a:lnTo>
                  <a:pt x="564" y="262"/>
                </a:lnTo>
                <a:lnTo>
                  <a:pt x="566" y="254"/>
                </a:lnTo>
                <a:lnTo>
                  <a:pt x="568" y="246"/>
                </a:lnTo>
                <a:lnTo>
                  <a:pt x="566" y="242"/>
                </a:lnTo>
                <a:lnTo>
                  <a:pt x="564" y="240"/>
                </a:lnTo>
                <a:lnTo>
                  <a:pt x="554" y="234"/>
                </a:lnTo>
                <a:lnTo>
                  <a:pt x="538" y="224"/>
                </a:lnTo>
                <a:lnTo>
                  <a:pt x="532" y="214"/>
                </a:lnTo>
                <a:lnTo>
                  <a:pt x="528" y="202"/>
                </a:lnTo>
                <a:lnTo>
                  <a:pt x="524" y="196"/>
                </a:lnTo>
                <a:lnTo>
                  <a:pt x="518" y="190"/>
                </a:lnTo>
                <a:lnTo>
                  <a:pt x="518" y="188"/>
                </a:lnTo>
                <a:lnTo>
                  <a:pt x="522" y="178"/>
                </a:lnTo>
                <a:lnTo>
                  <a:pt x="522" y="176"/>
                </a:lnTo>
                <a:lnTo>
                  <a:pt x="520" y="174"/>
                </a:lnTo>
                <a:lnTo>
                  <a:pt x="512" y="168"/>
                </a:lnTo>
                <a:lnTo>
                  <a:pt x="500" y="158"/>
                </a:lnTo>
                <a:lnTo>
                  <a:pt x="498" y="156"/>
                </a:lnTo>
                <a:lnTo>
                  <a:pt x="500" y="150"/>
                </a:lnTo>
                <a:lnTo>
                  <a:pt x="502" y="142"/>
                </a:lnTo>
                <a:lnTo>
                  <a:pt x="504" y="140"/>
                </a:lnTo>
                <a:lnTo>
                  <a:pt x="510" y="128"/>
                </a:lnTo>
                <a:lnTo>
                  <a:pt x="510" y="124"/>
                </a:lnTo>
                <a:lnTo>
                  <a:pt x="510" y="118"/>
                </a:lnTo>
                <a:lnTo>
                  <a:pt x="504" y="108"/>
                </a:lnTo>
                <a:lnTo>
                  <a:pt x="500" y="102"/>
                </a:lnTo>
                <a:lnTo>
                  <a:pt x="500" y="98"/>
                </a:lnTo>
                <a:lnTo>
                  <a:pt x="500" y="96"/>
                </a:lnTo>
                <a:lnTo>
                  <a:pt x="504" y="92"/>
                </a:lnTo>
                <a:lnTo>
                  <a:pt x="506" y="88"/>
                </a:lnTo>
                <a:lnTo>
                  <a:pt x="506" y="72"/>
                </a:lnTo>
                <a:lnTo>
                  <a:pt x="506" y="68"/>
                </a:lnTo>
                <a:lnTo>
                  <a:pt x="504" y="64"/>
                </a:lnTo>
                <a:lnTo>
                  <a:pt x="502" y="64"/>
                </a:lnTo>
                <a:lnTo>
                  <a:pt x="500" y="64"/>
                </a:lnTo>
                <a:lnTo>
                  <a:pt x="494" y="62"/>
                </a:lnTo>
                <a:lnTo>
                  <a:pt x="490" y="58"/>
                </a:lnTo>
                <a:lnTo>
                  <a:pt x="488" y="56"/>
                </a:lnTo>
                <a:lnTo>
                  <a:pt x="486" y="52"/>
                </a:lnTo>
                <a:lnTo>
                  <a:pt x="478" y="44"/>
                </a:lnTo>
                <a:lnTo>
                  <a:pt x="476" y="42"/>
                </a:lnTo>
                <a:lnTo>
                  <a:pt x="462" y="36"/>
                </a:lnTo>
                <a:lnTo>
                  <a:pt x="450" y="36"/>
                </a:lnTo>
                <a:lnTo>
                  <a:pt x="442" y="36"/>
                </a:lnTo>
                <a:lnTo>
                  <a:pt x="440" y="36"/>
                </a:lnTo>
                <a:lnTo>
                  <a:pt x="436" y="42"/>
                </a:lnTo>
                <a:lnTo>
                  <a:pt x="430" y="44"/>
                </a:lnTo>
                <a:lnTo>
                  <a:pt x="426" y="44"/>
                </a:lnTo>
                <a:lnTo>
                  <a:pt x="422" y="46"/>
                </a:lnTo>
                <a:lnTo>
                  <a:pt x="412" y="54"/>
                </a:lnTo>
                <a:lnTo>
                  <a:pt x="408" y="50"/>
                </a:lnTo>
                <a:lnTo>
                  <a:pt x="404" y="42"/>
                </a:lnTo>
                <a:lnTo>
                  <a:pt x="406" y="36"/>
                </a:lnTo>
                <a:lnTo>
                  <a:pt x="408" y="32"/>
                </a:lnTo>
                <a:lnTo>
                  <a:pt x="408" y="28"/>
                </a:lnTo>
                <a:lnTo>
                  <a:pt x="406" y="24"/>
                </a:lnTo>
                <a:lnTo>
                  <a:pt x="400" y="22"/>
                </a:lnTo>
                <a:lnTo>
                  <a:pt x="386" y="14"/>
                </a:lnTo>
                <a:lnTo>
                  <a:pt x="384" y="14"/>
                </a:lnTo>
                <a:lnTo>
                  <a:pt x="378" y="16"/>
                </a:lnTo>
                <a:lnTo>
                  <a:pt x="368" y="24"/>
                </a:lnTo>
                <a:lnTo>
                  <a:pt x="364" y="22"/>
                </a:lnTo>
                <a:lnTo>
                  <a:pt x="360" y="16"/>
                </a:lnTo>
                <a:lnTo>
                  <a:pt x="358" y="10"/>
                </a:lnTo>
                <a:lnTo>
                  <a:pt x="352" y="6"/>
                </a:lnTo>
                <a:lnTo>
                  <a:pt x="342" y="6"/>
                </a:lnTo>
                <a:lnTo>
                  <a:pt x="342" y="8"/>
                </a:lnTo>
                <a:lnTo>
                  <a:pt x="336" y="12"/>
                </a:lnTo>
                <a:lnTo>
                  <a:pt x="334" y="10"/>
                </a:lnTo>
                <a:lnTo>
                  <a:pt x="326" y="0"/>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386" name="CustomShape 11"/>
          <p:cNvSpPr/>
          <p:nvPr/>
        </p:nvSpPr>
        <p:spPr>
          <a:xfrm>
            <a:off x="3042360" y="4995720"/>
            <a:ext cx="294840" cy="185760"/>
          </a:xfrm>
          <a:custGeom>
            <a:avLst/>
            <a:gdLst/>
            <a:ahLst/>
            <a:cxnLst/>
            <a:rect l="l" t="t" r="r" b="b"/>
            <a:pathLst>
              <a:path w="294" h="186">
                <a:moveTo>
                  <a:pt x="210" y="10"/>
                </a:moveTo>
                <a:lnTo>
                  <a:pt x="206" y="10"/>
                </a:lnTo>
                <a:lnTo>
                  <a:pt x="190" y="12"/>
                </a:lnTo>
                <a:lnTo>
                  <a:pt x="190" y="12"/>
                </a:lnTo>
                <a:lnTo>
                  <a:pt x="188" y="8"/>
                </a:lnTo>
                <a:lnTo>
                  <a:pt x="184" y="6"/>
                </a:lnTo>
                <a:lnTo>
                  <a:pt x="184" y="6"/>
                </a:lnTo>
                <a:lnTo>
                  <a:pt x="182" y="8"/>
                </a:lnTo>
                <a:lnTo>
                  <a:pt x="180" y="8"/>
                </a:lnTo>
                <a:lnTo>
                  <a:pt x="174" y="0"/>
                </a:lnTo>
                <a:lnTo>
                  <a:pt x="170" y="0"/>
                </a:lnTo>
                <a:lnTo>
                  <a:pt x="166" y="0"/>
                </a:lnTo>
                <a:lnTo>
                  <a:pt x="162" y="4"/>
                </a:lnTo>
                <a:lnTo>
                  <a:pt x="158" y="8"/>
                </a:lnTo>
                <a:lnTo>
                  <a:pt x="160" y="12"/>
                </a:lnTo>
                <a:lnTo>
                  <a:pt x="162" y="12"/>
                </a:lnTo>
                <a:lnTo>
                  <a:pt x="168" y="12"/>
                </a:lnTo>
                <a:lnTo>
                  <a:pt x="170" y="12"/>
                </a:lnTo>
                <a:lnTo>
                  <a:pt x="170" y="14"/>
                </a:lnTo>
                <a:lnTo>
                  <a:pt x="170" y="14"/>
                </a:lnTo>
                <a:lnTo>
                  <a:pt x="164" y="16"/>
                </a:lnTo>
                <a:lnTo>
                  <a:pt x="162" y="18"/>
                </a:lnTo>
                <a:lnTo>
                  <a:pt x="160" y="18"/>
                </a:lnTo>
                <a:lnTo>
                  <a:pt x="160" y="18"/>
                </a:lnTo>
                <a:lnTo>
                  <a:pt x="154" y="16"/>
                </a:lnTo>
                <a:lnTo>
                  <a:pt x="146" y="16"/>
                </a:lnTo>
                <a:lnTo>
                  <a:pt x="138" y="20"/>
                </a:lnTo>
                <a:lnTo>
                  <a:pt x="128" y="20"/>
                </a:lnTo>
                <a:lnTo>
                  <a:pt x="112" y="20"/>
                </a:lnTo>
                <a:lnTo>
                  <a:pt x="108" y="18"/>
                </a:lnTo>
                <a:lnTo>
                  <a:pt x="100" y="22"/>
                </a:lnTo>
                <a:lnTo>
                  <a:pt x="98" y="26"/>
                </a:lnTo>
                <a:lnTo>
                  <a:pt x="94" y="32"/>
                </a:lnTo>
                <a:lnTo>
                  <a:pt x="90" y="34"/>
                </a:lnTo>
                <a:lnTo>
                  <a:pt x="84" y="34"/>
                </a:lnTo>
                <a:lnTo>
                  <a:pt x="80" y="34"/>
                </a:lnTo>
                <a:lnTo>
                  <a:pt x="78" y="32"/>
                </a:lnTo>
                <a:lnTo>
                  <a:pt x="78" y="30"/>
                </a:lnTo>
                <a:lnTo>
                  <a:pt x="76" y="28"/>
                </a:lnTo>
                <a:lnTo>
                  <a:pt x="70" y="28"/>
                </a:lnTo>
                <a:lnTo>
                  <a:pt x="66" y="32"/>
                </a:lnTo>
                <a:lnTo>
                  <a:pt x="60" y="38"/>
                </a:lnTo>
                <a:lnTo>
                  <a:pt x="62" y="40"/>
                </a:lnTo>
                <a:lnTo>
                  <a:pt x="66" y="42"/>
                </a:lnTo>
                <a:lnTo>
                  <a:pt x="68" y="42"/>
                </a:lnTo>
                <a:lnTo>
                  <a:pt x="68" y="44"/>
                </a:lnTo>
                <a:lnTo>
                  <a:pt x="66" y="46"/>
                </a:lnTo>
                <a:lnTo>
                  <a:pt x="64" y="50"/>
                </a:lnTo>
                <a:lnTo>
                  <a:pt x="56" y="60"/>
                </a:lnTo>
                <a:lnTo>
                  <a:pt x="46" y="70"/>
                </a:lnTo>
                <a:lnTo>
                  <a:pt x="46" y="72"/>
                </a:lnTo>
                <a:lnTo>
                  <a:pt x="42" y="74"/>
                </a:lnTo>
                <a:lnTo>
                  <a:pt x="32" y="80"/>
                </a:lnTo>
                <a:lnTo>
                  <a:pt x="30" y="82"/>
                </a:lnTo>
                <a:lnTo>
                  <a:pt x="30" y="92"/>
                </a:lnTo>
                <a:lnTo>
                  <a:pt x="28" y="98"/>
                </a:lnTo>
                <a:lnTo>
                  <a:pt x="20" y="106"/>
                </a:lnTo>
                <a:lnTo>
                  <a:pt x="12" y="112"/>
                </a:lnTo>
                <a:lnTo>
                  <a:pt x="10" y="116"/>
                </a:lnTo>
                <a:lnTo>
                  <a:pt x="8" y="122"/>
                </a:lnTo>
                <a:lnTo>
                  <a:pt x="6" y="128"/>
                </a:lnTo>
                <a:lnTo>
                  <a:pt x="6" y="130"/>
                </a:lnTo>
                <a:lnTo>
                  <a:pt x="10" y="134"/>
                </a:lnTo>
                <a:lnTo>
                  <a:pt x="10" y="138"/>
                </a:lnTo>
                <a:lnTo>
                  <a:pt x="8" y="144"/>
                </a:lnTo>
                <a:lnTo>
                  <a:pt x="4" y="148"/>
                </a:lnTo>
                <a:lnTo>
                  <a:pt x="0" y="150"/>
                </a:lnTo>
                <a:lnTo>
                  <a:pt x="0" y="156"/>
                </a:lnTo>
                <a:lnTo>
                  <a:pt x="2" y="158"/>
                </a:lnTo>
                <a:lnTo>
                  <a:pt x="8" y="156"/>
                </a:lnTo>
                <a:lnTo>
                  <a:pt x="14" y="152"/>
                </a:lnTo>
                <a:lnTo>
                  <a:pt x="20" y="146"/>
                </a:lnTo>
                <a:lnTo>
                  <a:pt x="16" y="142"/>
                </a:lnTo>
                <a:lnTo>
                  <a:pt x="16" y="140"/>
                </a:lnTo>
                <a:lnTo>
                  <a:pt x="16" y="138"/>
                </a:lnTo>
                <a:lnTo>
                  <a:pt x="22" y="132"/>
                </a:lnTo>
                <a:lnTo>
                  <a:pt x="30" y="130"/>
                </a:lnTo>
                <a:lnTo>
                  <a:pt x="40" y="128"/>
                </a:lnTo>
                <a:lnTo>
                  <a:pt x="52" y="130"/>
                </a:lnTo>
                <a:lnTo>
                  <a:pt x="52" y="132"/>
                </a:lnTo>
                <a:lnTo>
                  <a:pt x="52" y="136"/>
                </a:lnTo>
                <a:lnTo>
                  <a:pt x="52" y="140"/>
                </a:lnTo>
                <a:lnTo>
                  <a:pt x="56" y="144"/>
                </a:lnTo>
                <a:lnTo>
                  <a:pt x="52" y="154"/>
                </a:lnTo>
                <a:lnTo>
                  <a:pt x="54" y="158"/>
                </a:lnTo>
                <a:lnTo>
                  <a:pt x="58" y="162"/>
                </a:lnTo>
                <a:lnTo>
                  <a:pt x="60" y="166"/>
                </a:lnTo>
                <a:lnTo>
                  <a:pt x="64" y="168"/>
                </a:lnTo>
                <a:lnTo>
                  <a:pt x="68" y="174"/>
                </a:lnTo>
                <a:lnTo>
                  <a:pt x="68" y="178"/>
                </a:lnTo>
                <a:lnTo>
                  <a:pt x="70" y="180"/>
                </a:lnTo>
                <a:lnTo>
                  <a:pt x="76" y="182"/>
                </a:lnTo>
                <a:lnTo>
                  <a:pt x="88" y="178"/>
                </a:lnTo>
                <a:lnTo>
                  <a:pt x="96" y="176"/>
                </a:lnTo>
                <a:lnTo>
                  <a:pt x="102" y="172"/>
                </a:lnTo>
                <a:lnTo>
                  <a:pt x="106" y="172"/>
                </a:lnTo>
                <a:lnTo>
                  <a:pt x="118" y="178"/>
                </a:lnTo>
                <a:lnTo>
                  <a:pt x="122" y="176"/>
                </a:lnTo>
                <a:lnTo>
                  <a:pt x="132" y="168"/>
                </a:lnTo>
                <a:lnTo>
                  <a:pt x="134" y="166"/>
                </a:lnTo>
                <a:lnTo>
                  <a:pt x="140" y="156"/>
                </a:lnTo>
                <a:lnTo>
                  <a:pt x="140" y="152"/>
                </a:lnTo>
                <a:lnTo>
                  <a:pt x="138" y="146"/>
                </a:lnTo>
                <a:lnTo>
                  <a:pt x="138" y="144"/>
                </a:lnTo>
                <a:lnTo>
                  <a:pt x="148" y="138"/>
                </a:lnTo>
                <a:lnTo>
                  <a:pt x="152" y="132"/>
                </a:lnTo>
                <a:lnTo>
                  <a:pt x="156" y="128"/>
                </a:lnTo>
                <a:lnTo>
                  <a:pt x="160" y="128"/>
                </a:lnTo>
                <a:lnTo>
                  <a:pt x="162" y="130"/>
                </a:lnTo>
                <a:lnTo>
                  <a:pt x="162" y="132"/>
                </a:lnTo>
                <a:lnTo>
                  <a:pt x="162" y="144"/>
                </a:lnTo>
                <a:lnTo>
                  <a:pt x="162" y="148"/>
                </a:lnTo>
                <a:lnTo>
                  <a:pt x="170" y="156"/>
                </a:lnTo>
                <a:lnTo>
                  <a:pt x="174" y="160"/>
                </a:lnTo>
                <a:lnTo>
                  <a:pt x="186" y="164"/>
                </a:lnTo>
                <a:lnTo>
                  <a:pt x="186" y="164"/>
                </a:lnTo>
                <a:lnTo>
                  <a:pt x="184" y="170"/>
                </a:lnTo>
                <a:lnTo>
                  <a:pt x="190" y="178"/>
                </a:lnTo>
                <a:lnTo>
                  <a:pt x="192" y="184"/>
                </a:lnTo>
                <a:lnTo>
                  <a:pt x="194" y="186"/>
                </a:lnTo>
                <a:lnTo>
                  <a:pt x="200" y="186"/>
                </a:lnTo>
                <a:lnTo>
                  <a:pt x="202" y="182"/>
                </a:lnTo>
                <a:lnTo>
                  <a:pt x="200" y="178"/>
                </a:lnTo>
                <a:lnTo>
                  <a:pt x="198" y="172"/>
                </a:lnTo>
                <a:lnTo>
                  <a:pt x="198" y="170"/>
                </a:lnTo>
                <a:lnTo>
                  <a:pt x="200" y="166"/>
                </a:lnTo>
                <a:lnTo>
                  <a:pt x="202" y="160"/>
                </a:lnTo>
                <a:lnTo>
                  <a:pt x="212" y="150"/>
                </a:lnTo>
                <a:lnTo>
                  <a:pt x="214" y="144"/>
                </a:lnTo>
                <a:lnTo>
                  <a:pt x="216" y="134"/>
                </a:lnTo>
                <a:lnTo>
                  <a:pt x="216" y="126"/>
                </a:lnTo>
                <a:lnTo>
                  <a:pt x="218" y="124"/>
                </a:lnTo>
                <a:lnTo>
                  <a:pt x="224" y="124"/>
                </a:lnTo>
                <a:lnTo>
                  <a:pt x="226" y="124"/>
                </a:lnTo>
                <a:lnTo>
                  <a:pt x="226" y="130"/>
                </a:lnTo>
                <a:lnTo>
                  <a:pt x="230" y="138"/>
                </a:lnTo>
                <a:lnTo>
                  <a:pt x="232" y="142"/>
                </a:lnTo>
                <a:lnTo>
                  <a:pt x="236" y="142"/>
                </a:lnTo>
                <a:lnTo>
                  <a:pt x="240" y="142"/>
                </a:lnTo>
                <a:lnTo>
                  <a:pt x="250" y="138"/>
                </a:lnTo>
                <a:lnTo>
                  <a:pt x="256" y="136"/>
                </a:lnTo>
                <a:lnTo>
                  <a:pt x="260" y="136"/>
                </a:lnTo>
                <a:lnTo>
                  <a:pt x="262" y="140"/>
                </a:lnTo>
                <a:lnTo>
                  <a:pt x="266" y="148"/>
                </a:lnTo>
                <a:lnTo>
                  <a:pt x="270" y="148"/>
                </a:lnTo>
                <a:lnTo>
                  <a:pt x="272" y="148"/>
                </a:lnTo>
                <a:lnTo>
                  <a:pt x="274" y="146"/>
                </a:lnTo>
                <a:lnTo>
                  <a:pt x="272" y="144"/>
                </a:lnTo>
                <a:lnTo>
                  <a:pt x="270" y="136"/>
                </a:lnTo>
                <a:lnTo>
                  <a:pt x="270" y="130"/>
                </a:lnTo>
                <a:lnTo>
                  <a:pt x="266" y="128"/>
                </a:lnTo>
                <a:lnTo>
                  <a:pt x="266" y="124"/>
                </a:lnTo>
                <a:lnTo>
                  <a:pt x="268" y="118"/>
                </a:lnTo>
                <a:lnTo>
                  <a:pt x="270" y="114"/>
                </a:lnTo>
                <a:lnTo>
                  <a:pt x="272" y="112"/>
                </a:lnTo>
                <a:lnTo>
                  <a:pt x="276" y="112"/>
                </a:lnTo>
                <a:lnTo>
                  <a:pt x="282" y="116"/>
                </a:lnTo>
                <a:lnTo>
                  <a:pt x="288" y="118"/>
                </a:lnTo>
                <a:lnTo>
                  <a:pt x="292" y="118"/>
                </a:lnTo>
                <a:lnTo>
                  <a:pt x="292" y="116"/>
                </a:lnTo>
                <a:lnTo>
                  <a:pt x="292" y="112"/>
                </a:lnTo>
                <a:lnTo>
                  <a:pt x="290" y="108"/>
                </a:lnTo>
                <a:lnTo>
                  <a:pt x="290" y="100"/>
                </a:lnTo>
                <a:lnTo>
                  <a:pt x="294" y="88"/>
                </a:lnTo>
                <a:lnTo>
                  <a:pt x="294" y="84"/>
                </a:lnTo>
                <a:lnTo>
                  <a:pt x="290" y="78"/>
                </a:lnTo>
                <a:lnTo>
                  <a:pt x="286" y="76"/>
                </a:lnTo>
                <a:lnTo>
                  <a:pt x="276" y="88"/>
                </a:lnTo>
                <a:lnTo>
                  <a:pt x="272" y="90"/>
                </a:lnTo>
                <a:lnTo>
                  <a:pt x="264" y="86"/>
                </a:lnTo>
                <a:lnTo>
                  <a:pt x="256" y="82"/>
                </a:lnTo>
                <a:lnTo>
                  <a:pt x="254" y="78"/>
                </a:lnTo>
                <a:lnTo>
                  <a:pt x="254" y="74"/>
                </a:lnTo>
                <a:lnTo>
                  <a:pt x="246" y="72"/>
                </a:lnTo>
                <a:lnTo>
                  <a:pt x="238" y="70"/>
                </a:lnTo>
                <a:lnTo>
                  <a:pt x="236" y="70"/>
                </a:lnTo>
                <a:lnTo>
                  <a:pt x="232" y="70"/>
                </a:lnTo>
                <a:lnTo>
                  <a:pt x="230" y="70"/>
                </a:lnTo>
                <a:lnTo>
                  <a:pt x="230" y="66"/>
                </a:lnTo>
                <a:lnTo>
                  <a:pt x="230" y="58"/>
                </a:lnTo>
                <a:lnTo>
                  <a:pt x="232" y="50"/>
                </a:lnTo>
                <a:lnTo>
                  <a:pt x="238" y="38"/>
                </a:lnTo>
                <a:lnTo>
                  <a:pt x="240" y="30"/>
                </a:lnTo>
                <a:lnTo>
                  <a:pt x="234" y="26"/>
                </a:lnTo>
                <a:lnTo>
                  <a:pt x="228" y="26"/>
                </a:lnTo>
                <a:lnTo>
                  <a:pt x="214" y="18"/>
                </a:lnTo>
                <a:lnTo>
                  <a:pt x="210" y="10"/>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grpSp>
        <p:nvGrpSpPr>
          <p:cNvPr id="387" name="Group 12"/>
          <p:cNvGrpSpPr/>
          <p:nvPr/>
        </p:nvGrpSpPr>
        <p:grpSpPr>
          <a:xfrm>
            <a:off x="4786200" y="6076800"/>
            <a:ext cx="147240" cy="84960"/>
            <a:chOff x="4786200" y="6076800"/>
            <a:chExt cx="147240" cy="84960"/>
          </a:xfrm>
        </p:grpSpPr>
        <p:sp>
          <p:nvSpPr>
            <p:cNvPr id="388" name="CustomShape 13"/>
            <p:cNvSpPr/>
            <p:nvPr/>
          </p:nvSpPr>
          <p:spPr>
            <a:xfrm>
              <a:off x="4812480" y="6076800"/>
              <a:ext cx="120960" cy="50400"/>
            </a:xfrm>
            <a:custGeom>
              <a:avLst/>
              <a:gdLst/>
              <a:ahLst/>
              <a:cxnLst/>
              <a:rect l="l" t="t" r="r" b="b"/>
              <a:pathLst>
                <a:path w="122" h="52">
                  <a:moveTo>
                    <a:pt x="86" y="48"/>
                  </a:moveTo>
                  <a:lnTo>
                    <a:pt x="80" y="42"/>
                  </a:lnTo>
                  <a:lnTo>
                    <a:pt x="80" y="36"/>
                  </a:lnTo>
                  <a:lnTo>
                    <a:pt x="82" y="28"/>
                  </a:lnTo>
                  <a:lnTo>
                    <a:pt x="116" y="4"/>
                  </a:lnTo>
                  <a:lnTo>
                    <a:pt x="122" y="0"/>
                  </a:lnTo>
                  <a:lnTo>
                    <a:pt x="112" y="2"/>
                  </a:lnTo>
                  <a:lnTo>
                    <a:pt x="102" y="6"/>
                  </a:lnTo>
                  <a:lnTo>
                    <a:pt x="98" y="8"/>
                  </a:lnTo>
                  <a:lnTo>
                    <a:pt x="90" y="14"/>
                  </a:lnTo>
                  <a:lnTo>
                    <a:pt x="60" y="24"/>
                  </a:lnTo>
                  <a:lnTo>
                    <a:pt x="50" y="26"/>
                  </a:lnTo>
                  <a:lnTo>
                    <a:pt x="40" y="26"/>
                  </a:lnTo>
                  <a:lnTo>
                    <a:pt x="28" y="24"/>
                  </a:lnTo>
                  <a:lnTo>
                    <a:pt x="16" y="22"/>
                  </a:lnTo>
                  <a:lnTo>
                    <a:pt x="14" y="30"/>
                  </a:lnTo>
                  <a:lnTo>
                    <a:pt x="12" y="38"/>
                  </a:lnTo>
                  <a:lnTo>
                    <a:pt x="4" y="40"/>
                  </a:lnTo>
                  <a:lnTo>
                    <a:pt x="0" y="38"/>
                  </a:lnTo>
                  <a:lnTo>
                    <a:pt x="2" y="40"/>
                  </a:lnTo>
                  <a:lnTo>
                    <a:pt x="6" y="44"/>
                  </a:lnTo>
                  <a:lnTo>
                    <a:pt x="12" y="46"/>
                  </a:lnTo>
                  <a:lnTo>
                    <a:pt x="14" y="46"/>
                  </a:lnTo>
                  <a:lnTo>
                    <a:pt x="18" y="44"/>
                  </a:lnTo>
                  <a:lnTo>
                    <a:pt x="24" y="40"/>
                  </a:lnTo>
                  <a:lnTo>
                    <a:pt x="32" y="38"/>
                  </a:lnTo>
                  <a:lnTo>
                    <a:pt x="36" y="40"/>
                  </a:lnTo>
                  <a:lnTo>
                    <a:pt x="40" y="40"/>
                  </a:lnTo>
                  <a:lnTo>
                    <a:pt x="44" y="40"/>
                  </a:lnTo>
                  <a:lnTo>
                    <a:pt x="48" y="42"/>
                  </a:lnTo>
                  <a:lnTo>
                    <a:pt x="50" y="44"/>
                  </a:lnTo>
                  <a:lnTo>
                    <a:pt x="50" y="52"/>
                  </a:lnTo>
                  <a:lnTo>
                    <a:pt x="50" y="52"/>
                  </a:lnTo>
                  <a:lnTo>
                    <a:pt x="54" y="50"/>
                  </a:lnTo>
                  <a:lnTo>
                    <a:pt x="60" y="50"/>
                  </a:lnTo>
                  <a:lnTo>
                    <a:pt x="64" y="50"/>
                  </a:lnTo>
                  <a:lnTo>
                    <a:pt x="66" y="50"/>
                  </a:lnTo>
                  <a:lnTo>
                    <a:pt x="68" y="50"/>
                  </a:lnTo>
                  <a:lnTo>
                    <a:pt x="72" y="48"/>
                  </a:lnTo>
                  <a:lnTo>
                    <a:pt x="74" y="46"/>
                  </a:lnTo>
                  <a:lnTo>
                    <a:pt x="76" y="44"/>
                  </a:lnTo>
                  <a:lnTo>
                    <a:pt x="78" y="46"/>
                  </a:lnTo>
                  <a:lnTo>
                    <a:pt x="82" y="48"/>
                  </a:lnTo>
                  <a:lnTo>
                    <a:pt x="86" y="48"/>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389" name="CustomShape 14"/>
            <p:cNvSpPr/>
            <p:nvPr/>
          </p:nvSpPr>
          <p:spPr>
            <a:xfrm>
              <a:off x="4786200" y="6115320"/>
              <a:ext cx="113040" cy="46440"/>
            </a:xfrm>
            <a:custGeom>
              <a:avLst/>
              <a:gdLst/>
              <a:ahLst/>
              <a:cxnLst/>
              <a:rect l="l" t="t" r="r" b="b"/>
              <a:pathLst>
                <a:path w="114" h="48">
                  <a:moveTo>
                    <a:pt x="26" y="0"/>
                  </a:moveTo>
                  <a:lnTo>
                    <a:pt x="22" y="0"/>
                  </a:lnTo>
                  <a:lnTo>
                    <a:pt x="16" y="2"/>
                  </a:lnTo>
                  <a:lnTo>
                    <a:pt x="10" y="8"/>
                  </a:lnTo>
                  <a:lnTo>
                    <a:pt x="6" y="10"/>
                  </a:lnTo>
                  <a:lnTo>
                    <a:pt x="0" y="8"/>
                  </a:lnTo>
                  <a:lnTo>
                    <a:pt x="0" y="18"/>
                  </a:lnTo>
                  <a:lnTo>
                    <a:pt x="8" y="32"/>
                  </a:lnTo>
                  <a:lnTo>
                    <a:pt x="10" y="36"/>
                  </a:lnTo>
                  <a:lnTo>
                    <a:pt x="12" y="38"/>
                  </a:lnTo>
                  <a:lnTo>
                    <a:pt x="26" y="42"/>
                  </a:lnTo>
                  <a:lnTo>
                    <a:pt x="28" y="42"/>
                  </a:lnTo>
                  <a:lnTo>
                    <a:pt x="36" y="42"/>
                  </a:lnTo>
                  <a:lnTo>
                    <a:pt x="40" y="44"/>
                  </a:lnTo>
                  <a:lnTo>
                    <a:pt x="42" y="48"/>
                  </a:lnTo>
                  <a:lnTo>
                    <a:pt x="46" y="48"/>
                  </a:lnTo>
                  <a:lnTo>
                    <a:pt x="48" y="46"/>
                  </a:lnTo>
                  <a:lnTo>
                    <a:pt x="48" y="44"/>
                  </a:lnTo>
                  <a:lnTo>
                    <a:pt x="50" y="40"/>
                  </a:lnTo>
                  <a:lnTo>
                    <a:pt x="52" y="38"/>
                  </a:lnTo>
                  <a:lnTo>
                    <a:pt x="58" y="38"/>
                  </a:lnTo>
                  <a:lnTo>
                    <a:pt x="64" y="38"/>
                  </a:lnTo>
                  <a:lnTo>
                    <a:pt x="72" y="34"/>
                  </a:lnTo>
                  <a:lnTo>
                    <a:pt x="80" y="30"/>
                  </a:lnTo>
                  <a:lnTo>
                    <a:pt x="92" y="16"/>
                  </a:lnTo>
                  <a:lnTo>
                    <a:pt x="96" y="16"/>
                  </a:lnTo>
                  <a:lnTo>
                    <a:pt x="100" y="18"/>
                  </a:lnTo>
                  <a:lnTo>
                    <a:pt x="106" y="16"/>
                  </a:lnTo>
                  <a:lnTo>
                    <a:pt x="114" y="16"/>
                  </a:lnTo>
                  <a:lnTo>
                    <a:pt x="112" y="10"/>
                  </a:lnTo>
                  <a:lnTo>
                    <a:pt x="112" y="10"/>
                  </a:lnTo>
                  <a:lnTo>
                    <a:pt x="108" y="10"/>
                  </a:lnTo>
                  <a:lnTo>
                    <a:pt x="104" y="8"/>
                  </a:lnTo>
                  <a:lnTo>
                    <a:pt x="102" y="6"/>
                  </a:lnTo>
                  <a:lnTo>
                    <a:pt x="100" y="8"/>
                  </a:lnTo>
                  <a:lnTo>
                    <a:pt x="98" y="10"/>
                  </a:lnTo>
                  <a:lnTo>
                    <a:pt x="94" y="12"/>
                  </a:lnTo>
                  <a:lnTo>
                    <a:pt x="92" y="12"/>
                  </a:lnTo>
                  <a:lnTo>
                    <a:pt x="90" y="12"/>
                  </a:lnTo>
                  <a:lnTo>
                    <a:pt x="86" y="12"/>
                  </a:lnTo>
                  <a:lnTo>
                    <a:pt x="80" y="12"/>
                  </a:lnTo>
                  <a:lnTo>
                    <a:pt x="76" y="14"/>
                  </a:lnTo>
                  <a:lnTo>
                    <a:pt x="76" y="14"/>
                  </a:lnTo>
                  <a:lnTo>
                    <a:pt x="76" y="6"/>
                  </a:lnTo>
                  <a:lnTo>
                    <a:pt x="74" y="4"/>
                  </a:lnTo>
                  <a:lnTo>
                    <a:pt x="70" y="2"/>
                  </a:lnTo>
                  <a:lnTo>
                    <a:pt x="66" y="2"/>
                  </a:lnTo>
                  <a:lnTo>
                    <a:pt x="62" y="2"/>
                  </a:lnTo>
                  <a:lnTo>
                    <a:pt x="58" y="0"/>
                  </a:lnTo>
                  <a:lnTo>
                    <a:pt x="50" y="2"/>
                  </a:lnTo>
                  <a:lnTo>
                    <a:pt x="44" y="6"/>
                  </a:lnTo>
                  <a:lnTo>
                    <a:pt x="40" y="8"/>
                  </a:lnTo>
                  <a:lnTo>
                    <a:pt x="38" y="8"/>
                  </a:lnTo>
                  <a:lnTo>
                    <a:pt x="32" y="6"/>
                  </a:lnTo>
                  <a:lnTo>
                    <a:pt x="28" y="2"/>
                  </a:lnTo>
                  <a:lnTo>
                    <a:pt x="26" y="0"/>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grpSp>
      <p:sp>
        <p:nvSpPr>
          <p:cNvPr id="390" name="CustomShape 15"/>
          <p:cNvSpPr/>
          <p:nvPr/>
        </p:nvSpPr>
        <p:spPr>
          <a:xfrm>
            <a:off x="3446640" y="4664520"/>
            <a:ext cx="444240" cy="250560"/>
          </a:xfrm>
          <a:custGeom>
            <a:avLst/>
            <a:gdLst/>
            <a:ahLst/>
            <a:cxnLst/>
            <a:rect l="l" t="t" r="r" b="b"/>
            <a:pathLst>
              <a:path w="442" h="250">
                <a:moveTo>
                  <a:pt x="178" y="18"/>
                </a:moveTo>
                <a:lnTo>
                  <a:pt x="178" y="20"/>
                </a:lnTo>
                <a:lnTo>
                  <a:pt x="176" y="22"/>
                </a:lnTo>
                <a:lnTo>
                  <a:pt x="174" y="22"/>
                </a:lnTo>
                <a:lnTo>
                  <a:pt x="170" y="20"/>
                </a:lnTo>
                <a:lnTo>
                  <a:pt x="166" y="18"/>
                </a:lnTo>
                <a:lnTo>
                  <a:pt x="166" y="12"/>
                </a:lnTo>
                <a:lnTo>
                  <a:pt x="166" y="12"/>
                </a:lnTo>
                <a:lnTo>
                  <a:pt x="162" y="8"/>
                </a:lnTo>
                <a:lnTo>
                  <a:pt x="162" y="4"/>
                </a:lnTo>
                <a:lnTo>
                  <a:pt x="160" y="2"/>
                </a:lnTo>
                <a:lnTo>
                  <a:pt x="150" y="0"/>
                </a:lnTo>
                <a:lnTo>
                  <a:pt x="146" y="0"/>
                </a:lnTo>
                <a:lnTo>
                  <a:pt x="144" y="0"/>
                </a:lnTo>
                <a:lnTo>
                  <a:pt x="142" y="4"/>
                </a:lnTo>
                <a:lnTo>
                  <a:pt x="144" y="6"/>
                </a:lnTo>
                <a:lnTo>
                  <a:pt x="146" y="8"/>
                </a:lnTo>
                <a:lnTo>
                  <a:pt x="150" y="12"/>
                </a:lnTo>
                <a:lnTo>
                  <a:pt x="150" y="14"/>
                </a:lnTo>
                <a:lnTo>
                  <a:pt x="140" y="18"/>
                </a:lnTo>
                <a:lnTo>
                  <a:pt x="132" y="22"/>
                </a:lnTo>
                <a:lnTo>
                  <a:pt x="126" y="24"/>
                </a:lnTo>
                <a:lnTo>
                  <a:pt x="120" y="28"/>
                </a:lnTo>
                <a:lnTo>
                  <a:pt x="106" y="32"/>
                </a:lnTo>
                <a:lnTo>
                  <a:pt x="96" y="34"/>
                </a:lnTo>
                <a:lnTo>
                  <a:pt x="94" y="36"/>
                </a:lnTo>
                <a:lnTo>
                  <a:pt x="92" y="42"/>
                </a:lnTo>
                <a:lnTo>
                  <a:pt x="88" y="44"/>
                </a:lnTo>
                <a:lnTo>
                  <a:pt x="86" y="44"/>
                </a:lnTo>
                <a:lnTo>
                  <a:pt x="84" y="42"/>
                </a:lnTo>
                <a:lnTo>
                  <a:pt x="82" y="44"/>
                </a:lnTo>
                <a:lnTo>
                  <a:pt x="80" y="46"/>
                </a:lnTo>
                <a:lnTo>
                  <a:pt x="78" y="48"/>
                </a:lnTo>
                <a:lnTo>
                  <a:pt x="76" y="48"/>
                </a:lnTo>
                <a:lnTo>
                  <a:pt x="72" y="54"/>
                </a:lnTo>
                <a:lnTo>
                  <a:pt x="62" y="56"/>
                </a:lnTo>
                <a:lnTo>
                  <a:pt x="60" y="60"/>
                </a:lnTo>
                <a:lnTo>
                  <a:pt x="58" y="64"/>
                </a:lnTo>
                <a:lnTo>
                  <a:pt x="56" y="64"/>
                </a:lnTo>
                <a:lnTo>
                  <a:pt x="52" y="62"/>
                </a:lnTo>
                <a:lnTo>
                  <a:pt x="44" y="62"/>
                </a:lnTo>
                <a:lnTo>
                  <a:pt x="42" y="64"/>
                </a:lnTo>
                <a:lnTo>
                  <a:pt x="36" y="66"/>
                </a:lnTo>
                <a:lnTo>
                  <a:pt x="30" y="66"/>
                </a:lnTo>
                <a:lnTo>
                  <a:pt x="24" y="70"/>
                </a:lnTo>
                <a:lnTo>
                  <a:pt x="18" y="78"/>
                </a:lnTo>
                <a:lnTo>
                  <a:pt x="14" y="86"/>
                </a:lnTo>
                <a:lnTo>
                  <a:pt x="12" y="88"/>
                </a:lnTo>
                <a:lnTo>
                  <a:pt x="10" y="82"/>
                </a:lnTo>
                <a:lnTo>
                  <a:pt x="6" y="76"/>
                </a:lnTo>
                <a:lnTo>
                  <a:pt x="4" y="74"/>
                </a:lnTo>
                <a:lnTo>
                  <a:pt x="2" y="74"/>
                </a:lnTo>
                <a:lnTo>
                  <a:pt x="0" y="76"/>
                </a:lnTo>
                <a:lnTo>
                  <a:pt x="0" y="78"/>
                </a:lnTo>
                <a:lnTo>
                  <a:pt x="4" y="84"/>
                </a:lnTo>
                <a:lnTo>
                  <a:pt x="6" y="88"/>
                </a:lnTo>
                <a:lnTo>
                  <a:pt x="6" y="90"/>
                </a:lnTo>
                <a:lnTo>
                  <a:pt x="8" y="96"/>
                </a:lnTo>
                <a:lnTo>
                  <a:pt x="12" y="102"/>
                </a:lnTo>
                <a:lnTo>
                  <a:pt x="20" y="106"/>
                </a:lnTo>
                <a:lnTo>
                  <a:pt x="24" y="110"/>
                </a:lnTo>
                <a:lnTo>
                  <a:pt x="28" y="116"/>
                </a:lnTo>
                <a:lnTo>
                  <a:pt x="28" y="118"/>
                </a:lnTo>
                <a:lnTo>
                  <a:pt x="28" y="122"/>
                </a:lnTo>
                <a:lnTo>
                  <a:pt x="26" y="124"/>
                </a:lnTo>
                <a:lnTo>
                  <a:pt x="24" y="126"/>
                </a:lnTo>
                <a:lnTo>
                  <a:pt x="20" y="132"/>
                </a:lnTo>
                <a:lnTo>
                  <a:pt x="22" y="136"/>
                </a:lnTo>
                <a:lnTo>
                  <a:pt x="24" y="138"/>
                </a:lnTo>
                <a:lnTo>
                  <a:pt x="28" y="142"/>
                </a:lnTo>
                <a:lnTo>
                  <a:pt x="32" y="150"/>
                </a:lnTo>
                <a:lnTo>
                  <a:pt x="36" y="160"/>
                </a:lnTo>
                <a:lnTo>
                  <a:pt x="40" y="166"/>
                </a:lnTo>
                <a:lnTo>
                  <a:pt x="44" y="170"/>
                </a:lnTo>
                <a:lnTo>
                  <a:pt x="48" y="174"/>
                </a:lnTo>
                <a:lnTo>
                  <a:pt x="54" y="174"/>
                </a:lnTo>
                <a:lnTo>
                  <a:pt x="62" y="182"/>
                </a:lnTo>
                <a:lnTo>
                  <a:pt x="70" y="192"/>
                </a:lnTo>
                <a:lnTo>
                  <a:pt x="76" y="196"/>
                </a:lnTo>
                <a:lnTo>
                  <a:pt x="80" y="198"/>
                </a:lnTo>
                <a:lnTo>
                  <a:pt x="82" y="202"/>
                </a:lnTo>
                <a:lnTo>
                  <a:pt x="86" y="206"/>
                </a:lnTo>
                <a:lnTo>
                  <a:pt x="86" y="210"/>
                </a:lnTo>
                <a:lnTo>
                  <a:pt x="90" y="212"/>
                </a:lnTo>
                <a:lnTo>
                  <a:pt x="96" y="212"/>
                </a:lnTo>
                <a:lnTo>
                  <a:pt x="106" y="220"/>
                </a:lnTo>
                <a:lnTo>
                  <a:pt x="110" y="226"/>
                </a:lnTo>
                <a:lnTo>
                  <a:pt x="114" y="230"/>
                </a:lnTo>
                <a:lnTo>
                  <a:pt x="116" y="232"/>
                </a:lnTo>
                <a:lnTo>
                  <a:pt x="120" y="234"/>
                </a:lnTo>
                <a:lnTo>
                  <a:pt x="126" y="238"/>
                </a:lnTo>
                <a:lnTo>
                  <a:pt x="130" y="246"/>
                </a:lnTo>
                <a:lnTo>
                  <a:pt x="138" y="250"/>
                </a:lnTo>
                <a:lnTo>
                  <a:pt x="150" y="250"/>
                </a:lnTo>
                <a:lnTo>
                  <a:pt x="154" y="246"/>
                </a:lnTo>
                <a:lnTo>
                  <a:pt x="158" y="244"/>
                </a:lnTo>
                <a:lnTo>
                  <a:pt x="162" y="246"/>
                </a:lnTo>
                <a:lnTo>
                  <a:pt x="172" y="246"/>
                </a:lnTo>
                <a:lnTo>
                  <a:pt x="172" y="240"/>
                </a:lnTo>
                <a:lnTo>
                  <a:pt x="178" y="232"/>
                </a:lnTo>
                <a:lnTo>
                  <a:pt x="180" y="230"/>
                </a:lnTo>
                <a:lnTo>
                  <a:pt x="186" y="230"/>
                </a:lnTo>
                <a:lnTo>
                  <a:pt x="188" y="224"/>
                </a:lnTo>
                <a:lnTo>
                  <a:pt x="190" y="208"/>
                </a:lnTo>
                <a:lnTo>
                  <a:pt x="192" y="208"/>
                </a:lnTo>
                <a:lnTo>
                  <a:pt x="196" y="208"/>
                </a:lnTo>
                <a:lnTo>
                  <a:pt x="200" y="210"/>
                </a:lnTo>
                <a:lnTo>
                  <a:pt x="202" y="212"/>
                </a:lnTo>
                <a:lnTo>
                  <a:pt x="204" y="212"/>
                </a:lnTo>
                <a:lnTo>
                  <a:pt x="208" y="210"/>
                </a:lnTo>
                <a:lnTo>
                  <a:pt x="212" y="210"/>
                </a:lnTo>
                <a:lnTo>
                  <a:pt x="218" y="212"/>
                </a:lnTo>
                <a:lnTo>
                  <a:pt x="230" y="218"/>
                </a:lnTo>
                <a:lnTo>
                  <a:pt x="238" y="222"/>
                </a:lnTo>
                <a:lnTo>
                  <a:pt x="242" y="220"/>
                </a:lnTo>
                <a:lnTo>
                  <a:pt x="246" y="220"/>
                </a:lnTo>
                <a:lnTo>
                  <a:pt x="260" y="232"/>
                </a:lnTo>
                <a:lnTo>
                  <a:pt x="272" y="234"/>
                </a:lnTo>
                <a:lnTo>
                  <a:pt x="282" y="234"/>
                </a:lnTo>
                <a:lnTo>
                  <a:pt x="284" y="230"/>
                </a:lnTo>
                <a:lnTo>
                  <a:pt x="288" y="228"/>
                </a:lnTo>
                <a:lnTo>
                  <a:pt x="292" y="228"/>
                </a:lnTo>
                <a:lnTo>
                  <a:pt x="296" y="228"/>
                </a:lnTo>
                <a:lnTo>
                  <a:pt x="304" y="234"/>
                </a:lnTo>
                <a:lnTo>
                  <a:pt x="308" y="234"/>
                </a:lnTo>
                <a:lnTo>
                  <a:pt x="312" y="236"/>
                </a:lnTo>
                <a:lnTo>
                  <a:pt x="314" y="236"/>
                </a:lnTo>
                <a:lnTo>
                  <a:pt x="318" y="244"/>
                </a:lnTo>
                <a:lnTo>
                  <a:pt x="320" y="246"/>
                </a:lnTo>
                <a:lnTo>
                  <a:pt x="322" y="240"/>
                </a:lnTo>
                <a:lnTo>
                  <a:pt x="326" y="228"/>
                </a:lnTo>
                <a:lnTo>
                  <a:pt x="332" y="222"/>
                </a:lnTo>
                <a:lnTo>
                  <a:pt x="334" y="220"/>
                </a:lnTo>
                <a:lnTo>
                  <a:pt x="342" y="222"/>
                </a:lnTo>
                <a:lnTo>
                  <a:pt x="354" y="224"/>
                </a:lnTo>
                <a:lnTo>
                  <a:pt x="364" y="222"/>
                </a:lnTo>
                <a:lnTo>
                  <a:pt x="372" y="218"/>
                </a:lnTo>
                <a:lnTo>
                  <a:pt x="376" y="214"/>
                </a:lnTo>
                <a:lnTo>
                  <a:pt x="382" y="210"/>
                </a:lnTo>
                <a:lnTo>
                  <a:pt x="382" y="208"/>
                </a:lnTo>
                <a:lnTo>
                  <a:pt x="384" y="206"/>
                </a:lnTo>
                <a:lnTo>
                  <a:pt x="392" y="204"/>
                </a:lnTo>
                <a:lnTo>
                  <a:pt x="394" y="200"/>
                </a:lnTo>
                <a:lnTo>
                  <a:pt x="394" y="196"/>
                </a:lnTo>
                <a:lnTo>
                  <a:pt x="396" y="190"/>
                </a:lnTo>
                <a:lnTo>
                  <a:pt x="396" y="184"/>
                </a:lnTo>
                <a:lnTo>
                  <a:pt x="398" y="182"/>
                </a:lnTo>
                <a:lnTo>
                  <a:pt x="412" y="174"/>
                </a:lnTo>
                <a:lnTo>
                  <a:pt x="414" y="170"/>
                </a:lnTo>
                <a:lnTo>
                  <a:pt x="416" y="168"/>
                </a:lnTo>
                <a:lnTo>
                  <a:pt x="420" y="164"/>
                </a:lnTo>
                <a:lnTo>
                  <a:pt x="424" y="160"/>
                </a:lnTo>
                <a:lnTo>
                  <a:pt x="428" y="158"/>
                </a:lnTo>
                <a:lnTo>
                  <a:pt x="432" y="158"/>
                </a:lnTo>
                <a:lnTo>
                  <a:pt x="438" y="158"/>
                </a:lnTo>
                <a:lnTo>
                  <a:pt x="440" y="156"/>
                </a:lnTo>
                <a:lnTo>
                  <a:pt x="442" y="156"/>
                </a:lnTo>
                <a:lnTo>
                  <a:pt x="442" y="152"/>
                </a:lnTo>
                <a:lnTo>
                  <a:pt x="440" y="146"/>
                </a:lnTo>
                <a:lnTo>
                  <a:pt x="426" y="130"/>
                </a:lnTo>
                <a:lnTo>
                  <a:pt x="426" y="124"/>
                </a:lnTo>
                <a:lnTo>
                  <a:pt x="426" y="122"/>
                </a:lnTo>
                <a:lnTo>
                  <a:pt x="424" y="118"/>
                </a:lnTo>
                <a:lnTo>
                  <a:pt x="422" y="116"/>
                </a:lnTo>
                <a:lnTo>
                  <a:pt x="410" y="114"/>
                </a:lnTo>
                <a:lnTo>
                  <a:pt x="408" y="114"/>
                </a:lnTo>
                <a:lnTo>
                  <a:pt x="406" y="114"/>
                </a:lnTo>
                <a:lnTo>
                  <a:pt x="402" y="110"/>
                </a:lnTo>
                <a:lnTo>
                  <a:pt x="394" y="106"/>
                </a:lnTo>
                <a:lnTo>
                  <a:pt x="394" y="106"/>
                </a:lnTo>
                <a:lnTo>
                  <a:pt x="392" y="104"/>
                </a:lnTo>
                <a:lnTo>
                  <a:pt x="390" y="102"/>
                </a:lnTo>
                <a:lnTo>
                  <a:pt x="390" y="104"/>
                </a:lnTo>
                <a:lnTo>
                  <a:pt x="388" y="106"/>
                </a:lnTo>
                <a:lnTo>
                  <a:pt x="380" y="110"/>
                </a:lnTo>
                <a:lnTo>
                  <a:pt x="376" y="108"/>
                </a:lnTo>
                <a:lnTo>
                  <a:pt x="374" y="106"/>
                </a:lnTo>
                <a:lnTo>
                  <a:pt x="372" y="100"/>
                </a:lnTo>
                <a:lnTo>
                  <a:pt x="368" y="96"/>
                </a:lnTo>
                <a:lnTo>
                  <a:pt x="364" y="94"/>
                </a:lnTo>
                <a:lnTo>
                  <a:pt x="362" y="92"/>
                </a:lnTo>
                <a:lnTo>
                  <a:pt x="362" y="90"/>
                </a:lnTo>
                <a:lnTo>
                  <a:pt x="370" y="86"/>
                </a:lnTo>
                <a:lnTo>
                  <a:pt x="370" y="82"/>
                </a:lnTo>
                <a:lnTo>
                  <a:pt x="370" y="76"/>
                </a:lnTo>
                <a:lnTo>
                  <a:pt x="368" y="74"/>
                </a:lnTo>
                <a:lnTo>
                  <a:pt x="366" y="78"/>
                </a:lnTo>
                <a:lnTo>
                  <a:pt x="358" y="80"/>
                </a:lnTo>
                <a:lnTo>
                  <a:pt x="354" y="80"/>
                </a:lnTo>
                <a:lnTo>
                  <a:pt x="350" y="80"/>
                </a:lnTo>
                <a:lnTo>
                  <a:pt x="332" y="68"/>
                </a:lnTo>
                <a:lnTo>
                  <a:pt x="322" y="64"/>
                </a:lnTo>
                <a:lnTo>
                  <a:pt x="314" y="62"/>
                </a:lnTo>
                <a:lnTo>
                  <a:pt x="314" y="64"/>
                </a:lnTo>
                <a:lnTo>
                  <a:pt x="316" y="70"/>
                </a:lnTo>
                <a:lnTo>
                  <a:pt x="322" y="80"/>
                </a:lnTo>
                <a:lnTo>
                  <a:pt x="322" y="82"/>
                </a:lnTo>
                <a:lnTo>
                  <a:pt x="316" y="86"/>
                </a:lnTo>
                <a:lnTo>
                  <a:pt x="312" y="88"/>
                </a:lnTo>
                <a:lnTo>
                  <a:pt x="308" y="90"/>
                </a:lnTo>
                <a:lnTo>
                  <a:pt x="304" y="94"/>
                </a:lnTo>
                <a:lnTo>
                  <a:pt x="302" y="96"/>
                </a:lnTo>
                <a:lnTo>
                  <a:pt x="298" y="96"/>
                </a:lnTo>
                <a:lnTo>
                  <a:pt x="296" y="94"/>
                </a:lnTo>
                <a:lnTo>
                  <a:pt x="290" y="80"/>
                </a:lnTo>
                <a:lnTo>
                  <a:pt x="280" y="70"/>
                </a:lnTo>
                <a:lnTo>
                  <a:pt x="278" y="68"/>
                </a:lnTo>
                <a:lnTo>
                  <a:pt x="276" y="68"/>
                </a:lnTo>
                <a:lnTo>
                  <a:pt x="272" y="66"/>
                </a:lnTo>
                <a:lnTo>
                  <a:pt x="270" y="62"/>
                </a:lnTo>
                <a:lnTo>
                  <a:pt x="272" y="60"/>
                </a:lnTo>
                <a:lnTo>
                  <a:pt x="276" y="56"/>
                </a:lnTo>
                <a:lnTo>
                  <a:pt x="280" y="54"/>
                </a:lnTo>
                <a:lnTo>
                  <a:pt x="282" y="54"/>
                </a:lnTo>
                <a:lnTo>
                  <a:pt x="282" y="50"/>
                </a:lnTo>
                <a:lnTo>
                  <a:pt x="284" y="48"/>
                </a:lnTo>
                <a:lnTo>
                  <a:pt x="284" y="46"/>
                </a:lnTo>
                <a:lnTo>
                  <a:pt x="280" y="42"/>
                </a:lnTo>
                <a:lnTo>
                  <a:pt x="276" y="38"/>
                </a:lnTo>
                <a:lnTo>
                  <a:pt x="262" y="42"/>
                </a:lnTo>
                <a:lnTo>
                  <a:pt x="258" y="44"/>
                </a:lnTo>
                <a:lnTo>
                  <a:pt x="256" y="40"/>
                </a:lnTo>
                <a:lnTo>
                  <a:pt x="254" y="38"/>
                </a:lnTo>
                <a:lnTo>
                  <a:pt x="250" y="36"/>
                </a:lnTo>
                <a:lnTo>
                  <a:pt x="246" y="34"/>
                </a:lnTo>
                <a:lnTo>
                  <a:pt x="240" y="30"/>
                </a:lnTo>
                <a:lnTo>
                  <a:pt x="234" y="30"/>
                </a:lnTo>
                <a:lnTo>
                  <a:pt x="222" y="24"/>
                </a:lnTo>
                <a:lnTo>
                  <a:pt x="218" y="24"/>
                </a:lnTo>
                <a:lnTo>
                  <a:pt x="214" y="22"/>
                </a:lnTo>
                <a:lnTo>
                  <a:pt x="212" y="20"/>
                </a:lnTo>
                <a:lnTo>
                  <a:pt x="210" y="16"/>
                </a:lnTo>
                <a:lnTo>
                  <a:pt x="208" y="8"/>
                </a:lnTo>
                <a:lnTo>
                  <a:pt x="200" y="4"/>
                </a:lnTo>
                <a:lnTo>
                  <a:pt x="192" y="2"/>
                </a:lnTo>
                <a:lnTo>
                  <a:pt x="190" y="2"/>
                </a:lnTo>
                <a:lnTo>
                  <a:pt x="190" y="10"/>
                </a:lnTo>
                <a:lnTo>
                  <a:pt x="190" y="14"/>
                </a:lnTo>
                <a:lnTo>
                  <a:pt x="184" y="18"/>
                </a:lnTo>
                <a:lnTo>
                  <a:pt x="178" y="18"/>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391" name="CustomShape 16"/>
          <p:cNvSpPr/>
          <p:nvPr/>
        </p:nvSpPr>
        <p:spPr>
          <a:xfrm>
            <a:off x="3034440" y="4219920"/>
            <a:ext cx="604080" cy="822240"/>
          </a:xfrm>
          <a:custGeom>
            <a:avLst/>
            <a:gdLst/>
            <a:ahLst/>
            <a:cxnLst/>
            <a:rect l="l" t="t" r="r" b="b"/>
            <a:pathLst>
              <a:path w="1429538" h="1944173">
                <a:moveTo>
                  <a:pt x="1243698" y="252553"/>
                </a:moveTo>
                <a:lnTo>
                  <a:pt x="1277054" y="276377"/>
                </a:lnTo>
                <a:lnTo>
                  <a:pt x="1305644" y="300203"/>
                </a:lnTo>
                <a:lnTo>
                  <a:pt x="1300880" y="309733"/>
                </a:lnTo>
                <a:lnTo>
                  <a:pt x="1305644" y="319263"/>
                </a:lnTo>
                <a:lnTo>
                  <a:pt x="1300880" y="319263"/>
                </a:lnTo>
                <a:lnTo>
                  <a:pt x="1281820" y="324029"/>
                </a:lnTo>
                <a:lnTo>
                  <a:pt x="1257994" y="319263"/>
                </a:lnTo>
                <a:lnTo>
                  <a:pt x="1257994" y="300203"/>
                </a:lnTo>
                <a:lnTo>
                  <a:pt x="1257994" y="285907"/>
                </a:lnTo>
                <a:lnTo>
                  <a:pt x="1253228" y="276377"/>
                </a:lnTo>
                <a:lnTo>
                  <a:pt x="1243698" y="271613"/>
                </a:lnTo>
                <a:lnTo>
                  <a:pt x="1243698" y="262083"/>
                </a:lnTo>
                <a:close/>
                <a:moveTo>
                  <a:pt x="814836" y="142953"/>
                </a:moveTo>
                <a:lnTo>
                  <a:pt x="838662" y="152485"/>
                </a:lnTo>
                <a:lnTo>
                  <a:pt x="848192" y="166779"/>
                </a:lnTo>
                <a:lnTo>
                  <a:pt x="848192" y="176309"/>
                </a:lnTo>
                <a:lnTo>
                  <a:pt x="824366" y="176309"/>
                </a:lnTo>
                <a:lnTo>
                  <a:pt x="814836" y="162015"/>
                </a:lnTo>
                <a:lnTo>
                  <a:pt x="805306" y="162015"/>
                </a:lnTo>
                <a:lnTo>
                  <a:pt x="810072" y="147719"/>
                </a:lnTo>
                <a:close/>
                <a:moveTo>
                  <a:pt x="1167456" y="100069"/>
                </a:moveTo>
                <a:lnTo>
                  <a:pt x="1181750" y="100069"/>
                </a:lnTo>
                <a:lnTo>
                  <a:pt x="1186516" y="114363"/>
                </a:lnTo>
                <a:lnTo>
                  <a:pt x="1191282" y="119129"/>
                </a:lnTo>
                <a:lnTo>
                  <a:pt x="1215106" y="133423"/>
                </a:lnTo>
                <a:lnTo>
                  <a:pt x="1219872" y="138189"/>
                </a:lnTo>
                <a:lnTo>
                  <a:pt x="1219872" y="142955"/>
                </a:lnTo>
                <a:lnTo>
                  <a:pt x="1210342" y="157249"/>
                </a:lnTo>
                <a:lnTo>
                  <a:pt x="1205576" y="162015"/>
                </a:lnTo>
                <a:lnTo>
                  <a:pt x="1210342" y="171545"/>
                </a:lnTo>
                <a:lnTo>
                  <a:pt x="1224636" y="185841"/>
                </a:lnTo>
                <a:lnTo>
                  <a:pt x="1229402" y="200135"/>
                </a:lnTo>
                <a:lnTo>
                  <a:pt x="1224636" y="209665"/>
                </a:lnTo>
                <a:lnTo>
                  <a:pt x="1210342" y="195371"/>
                </a:lnTo>
                <a:lnTo>
                  <a:pt x="1191282" y="195371"/>
                </a:lnTo>
                <a:lnTo>
                  <a:pt x="1181750" y="219197"/>
                </a:lnTo>
                <a:lnTo>
                  <a:pt x="1172220" y="219197"/>
                </a:lnTo>
                <a:lnTo>
                  <a:pt x="1143630" y="200135"/>
                </a:lnTo>
                <a:lnTo>
                  <a:pt x="1138864" y="185841"/>
                </a:lnTo>
                <a:lnTo>
                  <a:pt x="1138864" y="181075"/>
                </a:lnTo>
                <a:lnTo>
                  <a:pt x="1143630" y="147719"/>
                </a:lnTo>
                <a:lnTo>
                  <a:pt x="1143630" y="138189"/>
                </a:lnTo>
                <a:lnTo>
                  <a:pt x="1153160" y="128659"/>
                </a:lnTo>
                <a:lnTo>
                  <a:pt x="1153160" y="114363"/>
                </a:lnTo>
                <a:close/>
                <a:moveTo>
                  <a:pt x="409800" y="81007"/>
                </a:moveTo>
                <a:lnTo>
                  <a:pt x="414566" y="81007"/>
                </a:lnTo>
                <a:lnTo>
                  <a:pt x="424096" y="85773"/>
                </a:lnTo>
                <a:lnTo>
                  <a:pt x="428860" y="95303"/>
                </a:lnTo>
                <a:lnTo>
                  <a:pt x="419330" y="100069"/>
                </a:lnTo>
                <a:lnTo>
                  <a:pt x="405036" y="100069"/>
                </a:lnTo>
                <a:lnTo>
                  <a:pt x="395504" y="95303"/>
                </a:lnTo>
                <a:lnTo>
                  <a:pt x="400270" y="85773"/>
                </a:lnTo>
                <a:close/>
                <a:moveTo>
                  <a:pt x="438392" y="42886"/>
                </a:moveTo>
                <a:lnTo>
                  <a:pt x="466982" y="42886"/>
                </a:lnTo>
                <a:lnTo>
                  <a:pt x="476512" y="42886"/>
                </a:lnTo>
                <a:lnTo>
                  <a:pt x="519398" y="57181"/>
                </a:lnTo>
                <a:lnTo>
                  <a:pt x="528930" y="66712"/>
                </a:lnTo>
                <a:lnTo>
                  <a:pt x="543224" y="71477"/>
                </a:lnTo>
                <a:lnTo>
                  <a:pt x="567050" y="61947"/>
                </a:lnTo>
                <a:lnTo>
                  <a:pt x="586110" y="57181"/>
                </a:lnTo>
                <a:lnTo>
                  <a:pt x="595640" y="61947"/>
                </a:lnTo>
                <a:lnTo>
                  <a:pt x="605172" y="61947"/>
                </a:lnTo>
                <a:lnTo>
                  <a:pt x="609936" y="66712"/>
                </a:lnTo>
                <a:lnTo>
                  <a:pt x="628996" y="76242"/>
                </a:lnTo>
                <a:lnTo>
                  <a:pt x="638528" y="85773"/>
                </a:lnTo>
                <a:lnTo>
                  <a:pt x="652822" y="104833"/>
                </a:lnTo>
                <a:lnTo>
                  <a:pt x="652822" y="128659"/>
                </a:lnTo>
                <a:lnTo>
                  <a:pt x="638528" y="147719"/>
                </a:lnTo>
                <a:lnTo>
                  <a:pt x="628996" y="157249"/>
                </a:lnTo>
                <a:lnTo>
                  <a:pt x="671882" y="157249"/>
                </a:lnTo>
                <a:lnTo>
                  <a:pt x="671882" y="166779"/>
                </a:lnTo>
                <a:lnTo>
                  <a:pt x="681414" y="176309"/>
                </a:lnTo>
                <a:lnTo>
                  <a:pt x="705238" y="166779"/>
                </a:lnTo>
                <a:lnTo>
                  <a:pt x="762420" y="200135"/>
                </a:lnTo>
                <a:lnTo>
                  <a:pt x="795776" y="185839"/>
                </a:lnTo>
                <a:lnTo>
                  <a:pt x="805306" y="185839"/>
                </a:lnTo>
                <a:lnTo>
                  <a:pt x="814836" y="209665"/>
                </a:lnTo>
                <a:lnTo>
                  <a:pt x="805306" y="238257"/>
                </a:lnTo>
                <a:lnTo>
                  <a:pt x="771950" y="266847"/>
                </a:lnTo>
                <a:lnTo>
                  <a:pt x="781480" y="281143"/>
                </a:lnTo>
                <a:lnTo>
                  <a:pt x="791012" y="285907"/>
                </a:lnTo>
                <a:lnTo>
                  <a:pt x="819602" y="281143"/>
                </a:lnTo>
                <a:lnTo>
                  <a:pt x="867254" y="300203"/>
                </a:lnTo>
                <a:lnTo>
                  <a:pt x="876784" y="295437"/>
                </a:lnTo>
                <a:lnTo>
                  <a:pt x="914904" y="257317"/>
                </a:lnTo>
                <a:lnTo>
                  <a:pt x="929200" y="247787"/>
                </a:lnTo>
                <a:lnTo>
                  <a:pt x="976850" y="243021"/>
                </a:lnTo>
                <a:lnTo>
                  <a:pt x="986382" y="223961"/>
                </a:lnTo>
                <a:lnTo>
                  <a:pt x="1005442" y="209665"/>
                </a:lnTo>
                <a:lnTo>
                  <a:pt x="1019738" y="195371"/>
                </a:lnTo>
                <a:lnTo>
                  <a:pt x="1048328" y="162015"/>
                </a:lnTo>
                <a:lnTo>
                  <a:pt x="1081684" y="166779"/>
                </a:lnTo>
                <a:lnTo>
                  <a:pt x="1100744" y="171545"/>
                </a:lnTo>
                <a:lnTo>
                  <a:pt x="1119804" y="176309"/>
                </a:lnTo>
                <a:lnTo>
                  <a:pt x="1138866" y="209665"/>
                </a:lnTo>
                <a:lnTo>
                  <a:pt x="1186516" y="247787"/>
                </a:lnTo>
                <a:lnTo>
                  <a:pt x="1229402" y="243021"/>
                </a:lnTo>
                <a:lnTo>
                  <a:pt x="1243698" y="281143"/>
                </a:lnTo>
                <a:lnTo>
                  <a:pt x="1253228" y="324029"/>
                </a:lnTo>
                <a:lnTo>
                  <a:pt x="1262758" y="338323"/>
                </a:lnTo>
                <a:lnTo>
                  <a:pt x="1277054" y="347855"/>
                </a:lnTo>
                <a:lnTo>
                  <a:pt x="1310410" y="357385"/>
                </a:lnTo>
                <a:lnTo>
                  <a:pt x="1315176" y="362149"/>
                </a:lnTo>
                <a:lnTo>
                  <a:pt x="1315176" y="385975"/>
                </a:lnTo>
                <a:lnTo>
                  <a:pt x="1319940" y="405035"/>
                </a:lnTo>
                <a:lnTo>
                  <a:pt x="1339000" y="476513"/>
                </a:lnTo>
                <a:lnTo>
                  <a:pt x="1334236" y="490809"/>
                </a:lnTo>
                <a:lnTo>
                  <a:pt x="1334236" y="495573"/>
                </a:lnTo>
                <a:lnTo>
                  <a:pt x="1329470" y="519399"/>
                </a:lnTo>
                <a:lnTo>
                  <a:pt x="1319940" y="543225"/>
                </a:lnTo>
                <a:lnTo>
                  <a:pt x="1300880" y="552755"/>
                </a:lnTo>
                <a:lnTo>
                  <a:pt x="1296114" y="567051"/>
                </a:lnTo>
                <a:lnTo>
                  <a:pt x="1291350" y="581345"/>
                </a:lnTo>
                <a:lnTo>
                  <a:pt x="1310410" y="605171"/>
                </a:lnTo>
                <a:lnTo>
                  <a:pt x="1353296" y="638527"/>
                </a:lnTo>
                <a:lnTo>
                  <a:pt x="1367592" y="671883"/>
                </a:lnTo>
                <a:lnTo>
                  <a:pt x="1362826" y="695709"/>
                </a:lnTo>
                <a:lnTo>
                  <a:pt x="1358062" y="714769"/>
                </a:lnTo>
                <a:lnTo>
                  <a:pt x="1362826" y="724299"/>
                </a:lnTo>
                <a:lnTo>
                  <a:pt x="1367592" y="733829"/>
                </a:lnTo>
                <a:lnTo>
                  <a:pt x="1377122" y="743359"/>
                </a:lnTo>
                <a:lnTo>
                  <a:pt x="1381886" y="752891"/>
                </a:lnTo>
                <a:lnTo>
                  <a:pt x="1381886" y="767185"/>
                </a:lnTo>
                <a:lnTo>
                  <a:pt x="1381886" y="776715"/>
                </a:lnTo>
                <a:lnTo>
                  <a:pt x="1391416" y="786245"/>
                </a:lnTo>
                <a:lnTo>
                  <a:pt x="1386652" y="795777"/>
                </a:lnTo>
                <a:lnTo>
                  <a:pt x="1381886" y="814837"/>
                </a:lnTo>
                <a:lnTo>
                  <a:pt x="1377122" y="829133"/>
                </a:lnTo>
                <a:lnTo>
                  <a:pt x="1367592" y="848193"/>
                </a:lnTo>
                <a:lnTo>
                  <a:pt x="1367592" y="862489"/>
                </a:lnTo>
                <a:lnTo>
                  <a:pt x="1377122" y="881549"/>
                </a:lnTo>
                <a:lnTo>
                  <a:pt x="1386652" y="891079"/>
                </a:lnTo>
                <a:lnTo>
                  <a:pt x="1386652" y="900609"/>
                </a:lnTo>
                <a:lnTo>
                  <a:pt x="1381886" y="919669"/>
                </a:lnTo>
                <a:lnTo>
                  <a:pt x="1386652" y="924435"/>
                </a:lnTo>
                <a:lnTo>
                  <a:pt x="1415242" y="938729"/>
                </a:lnTo>
                <a:lnTo>
                  <a:pt x="1420008" y="948261"/>
                </a:lnTo>
                <a:lnTo>
                  <a:pt x="1420008" y="962555"/>
                </a:lnTo>
                <a:lnTo>
                  <a:pt x="1429538" y="991147"/>
                </a:lnTo>
                <a:lnTo>
                  <a:pt x="1424772" y="1034033"/>
                </a:lnTo>
                <a:lnTo>
                  <a:pt x="1415242" y="1053093"/>
                </a:lnTo>
                <a:lnTo>
                  <a:pt x="1400948" y="1086449"/>
                </a:lnTo>
                <a:lnTo>
                  <a:pt x="1396182" y="1091215"/>
                </a:lnTo>
                <a:lnTo>
                  <a:pt x="1396182" y="1095979"/>
                </a:lnTo>
                <a:lnTo>
                  <a:pt x="1391416" y="1100745"/>
                </a:lnTo>
                <a:lnTo>
                  <a:pt x="1386652" y="1100745"/>
                </a:lnTo>
                <a:lnTo>
                  <a:pt x="1377122" y="1095979"/>
                </a:lnTo>
                <a:lnTo>
                  <a:pt x="1367592" y="1091215"/>
                </a:lnTo>
                <a:lnTo>
                  <a:pt x="1367592" y="1076919"/>
                </a:lnTo>
                <a:lnTo>
                  <a:pt x="1358062" y="1067389"/>
                </a:lnTo>
                <a:lnTo>
                  <a:pt x="1358062" y="1057859"/>
                </a:lnTo>
                <a:lnTo>
                  <a:pt x="1353296" y="1053093"/>
                </a:lnTo>
                <a:lnTo>
                  <a:pt x="1329470" y="1048329"/>
                </a:lnTo>
                <a:lnTo>
                  <a:pt x="1319940" y="1048329"/>
                </a:lnTo>
                <a:lnTo>
                  <a:pt x="1315176" y="1048329"/>
                </a:lnTo>
                <a:lnTo>
                  <a:pt x="1310410" y="1057859"/>
                </a:lnTo>
                <a:lnTo>
                  <a:pt x="1315176" y="1062623"/>
                </a:lnTo>
                <a:lnTo>
                  <a:pt x="1319940" y="1067389"/>
                </a:lnTo>
                <a:lnTo>
                  <a:pt x="1329470" y="1076919"/>
                </a:lnTo>
                <a:lnTo>
                  <a:pt x="1329470" y="1081683"/>
                </a:lnTo>
                <a:lnTo>
                  <a:pt x="1305644" y="1091215"/>
                </a:lnTo>
                <a:lnTo>
                  <a:pt x="1286584" y="1100745"/>
                </a:lnTo>
                <a:lnTo>
                  <a:pt x="1272288" y="1105509"/>
                </a:lnTo>
                <a:lnTo>
                  <a:pt x="1257994" y="1115039"/>
                </a:lnTo>
                <a:lnTo>
                  <a:pt x="1224638" y="1124569"/>
                </a:lnTo>
                <a:lnTo>
                  <a:pt x="1200812" y="1129335"/>
                </a:lnTo>
                <a:lnTo>
                  <a:pt x="1196046" y="1134101"/>
                </a:lnTo>
                <a:lnTo>
                  <a:pt x="1191282" y="1148395"/>
                </a:lnTo>
                <a:lnTo>
                  <a:pt x="1181752" y="1153161"/>
                </a:lnTo>
                <a:lnTo>
                  <a:pt x="1176986" y="1153161"/>
                </a:lnTo>
                <a:lnTo>
                  <a:pt x="1172222" y="1148395"/>
                </a:lnTo>
                <a:lnTo>
                  <a:pt x="1167456" y="1153161"/>
                </a:lnTo>
                <a:lnTo>
                  <a:pt x="1162690" y="1157925"/>
                </a:lnTo>
                <a:lnTo>
                  <a:pt x="1157926" y="1162691"/>
                </a:lnTo>
                <a:lnTo>
                  <a:pt x="1153160" y="1162691"/>
                </a:lnTo>
                <a:lnTo>
                  <a:pt x="1143630" y="1176987"/>
                </a:lnTo>
                <a:lnTo>
                  <a:pt x="1119804" y="1181751"/>
                </a:lnTo>
                <a:lnTo>
                  <a:pt x="1115040" y="1191281"/>
                </a:lnTo>
                <a:lnTo>
                  <a:pt x="1110274" y="1200813"/>
                </a:lnTo>
                <a:lnTo>
                  <a:pt x="1105510" y="1200813"/>
                </a:lnTo>
                <a:lnTo>
                  <a:pt x="1095980" y="1196047"/>
                </a:lnTo>
                <a:lnTo>
                  <a:pt x="1076918" y="1196047"/>
                </a:lnTo>
                <a:lnTo>
                  <a:pt x="1072154" y="1200813"/>
                </a:lnTo>
                <a:lnTo>
                  <a:pt x="1057858" y="1205577"/>
                </a:lnTo>
                <a:lnTo>
                  <a:pt x="1043562" y="1205577"/>
                </a:lnTo>
                <a:lnTo>
                  <a:pt x="1029268" y="1215107"/>
                </a:lnTo>
                <a:lnTo>
                  <a:pt x="1014972" y="1234169"/>
                </a:lnTo>
                <a:lnTo>
                  <a:pt x="1005442" y="1253229"/>
                </a:lnTo>
                <a:lnTo>
                  <a:pt x="1000676" y="1257993"/>
                </a:lnTo>
                <a:lnTo>
                  <a:pt x="995912" y="1243699"/>
                </a:lnTo>
                <a:lnTo>
                  <a:pt x="986382" y="1229403"/>
                </a:lnTo>
                <a:lnTo>
                  <a:pt x="981616" y="1224637"/>
                </a:lnTo>
                <a:lnTo>
                  <a:pt x="976850" y="1224637"/>
                </a:lnTo>
                <a:lnTo>
                  <a:pt x="972086" y="1229403"/>
                </a:lnTo>
                <a:lnTo>
                  <a:pt x="972086" y="1234169"/>
                </a:lnTo>
                <a:lnTo>
                  <a:pt x="981616" y="1248463"/>
                </a:lnTo>
                <a:lnTo>
                  <a:pt x="986382" y="1257993"/>
                </a:lnTo>
                <a:lnTo>
                  <a:pt x="986382" y="1262759"/>
                </a:lnTo>
                <a:lnTo>
                  <a:pt x="991146" y="1277055"/>
                </a:lnTo>
                <a:lnTo>
                  <a:pt x="1000676" y="1291349"/>
                </a:lnTo>
                <a:lnTo>
                  <a:pt x="1019738" y="1300879"/>
                </a:lnTo>
                <a:lnTo>
                  <a:pt x="1029268" y="1310409"/>
                </a:lnTo>
                <a:lnTo>
                  <a:pt x="1038798" y="1324705"/>
                </a:lnTo>
                <a:lnTo>
                  <a:pt x="1038798" y="1329471"/>
                </a:lnTo>
                <a:lnTo>
                  <a:pt x="1038798" y="1339001"/>
                </a:lnTo>
                <a:lnTo>
                  <a:pt x="1034032" y="1343765"/>
                </a:lnTo>
                <a:lnTo>
                  <a:pt x="1029268" y="1348531"/>
                </a:lnTo>
                <a:lnTo>
                  <a:pt x="1019738" y="1362827"/>
                </a:lnTo>
                <a:lnTo>
                  <a:pt x="1024502" y="1372357"/>
                </a:lnTo>
                <a:lnTo>
                  <a:pt x="1029268" y="1377121"/>
                </a:lnTo>
                <a:lnTo>
                  <a:pt x="1038798" y="1386653"/>
                </a:lnTo>
                <a:lnTo>
                  <a:pt x="1048328" y="1405713"/>
                </a:lnTo>
                <a:lnTo>
                  <a:pt x="1057858" y="1429539"/>
                </a:lnTo>
                <a:lnTo>
                  <a:pt x="1067388" y="1443833"/>
                </a:lnTo>
                <a:lnTo>
                  <a:pt x="1076918" y="1453363"/>
                </a:lnTo>
                <a:lnTo>
                  <a:pt x="1086448" y="1462895"/>
                </a:lnTo>
                <a:lnTo>
                  <a:pt x="1100744" y="1462895"/>
                </a:lnTo>
                <a:lnTo>
                  <a:pt x="1119804" y="1481955"/>
                </a:lnTo>
                <a:lnTo>
                  <a:pt x="1138866" y="1505781"/>
                </a:lnTo>
                <a:lnTo>
                  <a:pt x="1153160" y="1515311"/>
                </a:lnTo>
                <a:lnTo>
                  <a:pt x="1162690" y="1520075"/>
                </a:lnTo>
                <a:lnTo>
                  <a:pt x="1167456" y="1529605"/>
                </a:lnTo>
                <a:lnTo>
                  <a:pt x="1176986" y="1539137"/>
                </a:lnTo>
                <a:lnTo>
                  <a:pt x="1176986" y="1548667"/>
                </a:lnTo>
                <a:lnTo>
                  <a:pt x="1186516" y="1553431"/>
                </a:lnTo>
                <a:lnTo>
                  <a:pt x="1200812" y="1553431"/>
                </a:lnTo>
                <a:lnTo>
                  <a:pt x="1224638" y="1572493"/>
                </a:lnTo>
                <a:lnTo>
                  <a:pt x="1234168" y="1586787"/>
                </a:lnTo>
                <a:lnTo>
                  <a:pt x="1243698" y="1596317"/>
                </a:lnTo>
                <a:lnTo>
                  <a:pt x="1238932" y="1601083"/>
                </a:lnTo>
                <a:lnTo>
                  <a:pt x="1238932" y="1615379"/>
                </a:lnTo>
                <a:lnTo>
                  <a:pt x="1238932" y="1629673"/>
                </a:lnTo>
                <a:lnTo>
                  <a:pt x="1238932" y="1639203"/>
                </a:lnTo>
                <a:lnTo>
                  <a:pt x="1229402" y="1648735"/>
                </a:lnTo>
                <a:lnTo>
                  <a:pt x="1224638" y="1653499"/>
                </a:lnTo>
                <a:lnTo>
                  <a:pt x="1219872" y="1653499"/>
                </a:lnTo>
                <a:lnTo>
                  <a:pt x="1191282" y="1639203"/>
                </a:lnTo>
                <a:lnTo>
                  <a:pt x="1191282" y="1643969"/>
                </a:lnTo>
                <a:lnTo>
                  <a:pt x="1186516" y="1643969"/>
                </a:lnTo>
                <a:lnTo>
                  <a:pt x="1181752" y="1686855"/>
                </a:lnTo>
                <a:lnTo>
                  <a:pt x="1172222" y="1691621"/>
                </a:lnTo>
                <a:lnTo>
                  <a:pt x="1167456" y="1701151"/>
                </a:lnTo>
                <a:lnTo>
                  <a:pt x="1148396" y="1705915"/>
                </a:lnTo>
                <a:lnTo>
                  <a:pt x="1138866" y="1710681"/>
                </a:lnTo>
                <a:lnTo>
                  <a:pt x="1129336" y="1715445"/>
                </a:lnTo>
                <a:lnTo>
                  <a:pt x="1100744" y="1729741"/>
                </a:lnTo>
                <a:lnTo>
                  <a:pt x="1086448" y="1739271"/>
                </a:lnTo>
                <a:lnTo>
                  <a:pt x="1076918" y="1753567"/>
                </a:lnTo>
                <a:lnTo>
                  <a:pt x="1076918" y="1758333"/>
                </a:lnTo>
                <a:lnTo>
                  <a:pt x="1091214" y="1782157"/>
                </a:lnTo>
                <a:lnTo>
                  <a:pt x="1110274" y="1801219"/>
                </a:lnTo>
                <a:lnTo>
                  <a:pt x="1110274" y="1820279"/>
                </a:lnTo>
                <a:lnTo>
                  <a:pt x="1100744" y="1839339"/>
                </a:lnTo>
                <a:lnTo>
                  <a:pt x="1100744" y="1844105"/>
                </a:lnTo>
                <a:lnTo>
                  <a:pt x="1105510" y="1844105"/>
                </a:lnTo>
                <a:lnTo>
                  <a:pt x="1115040" y="1844105"/>
                </a:lnTo>
                <a:lnTo>
                  <a:pt x="1119804" y="1848869"/>
                </a:lnTo>
                <a:lnTo>
                  <a:pt x="1124570" y="1858399"/>
                </a:lnTo>
                <a:lnTo>
                  <a:pt x="1124570" y="1877461"/>
                </a:lnTo>
                <a:lnTo>
                  <a:pt x="1119804" y="1891755"/>
                </a:lnTo>
                <a:lnTo>
                  <a:pt x="1119804" y="1901285"/>
                </a:lnTo>
                <a:lnTo>
                  <a:pt x="1110274" y="1901285"/>
                </a:lnTo>
                <a:lnTo>
                  <a:pt x="1095980" y="1891755"/>
                </a:lnTo>
                <a:lnTo>
                  <a:pt x="1086448" y="1882225"/>
                </a:lnTo>
                <a:lnTo>
                  <a:pt x="1081684" y="1877461"/>
                </a:lnTo>
                <a:lnTo>
                  <a:pt x="1081684" y="1872695"/>
                </a:lnTo>
                <a:lnTo>
                  <a:pt x="1081684" y="1867929"/>
                </a:lnTo>
                <a:lnTo>
                  <a:pt x="1081684" y="1863165"/>
                </a:lnTo>
                <a:lnTo>
                  <a:pt x="1067388" y="1853635"/>
                </a:lnTo>
                <a:lnTo>
                  <a:pt x="1053092" y="1858399"/>
                </a:lnTo>
                <a:lnTo>
                  <a:pt x="1043562" y="1863165"/>
                </a:lnTo>
                <a:lnTo>
                  <a:pt x="1034032" y="1863165"/>
                </a:lnTo>
                <a:lnTo>
                  <a:pt x="1029268" y="1853635"/>
                </a:lnTo>
                <a:lnTo>
                  <a:pt x="1014972" y="1848869"/>
                </a:lnTo>
                <a:lnTo>
                  <a:pt x="1000676" y="1848869"/>
                </a:lnTo>
                <a:lnTo>
                  <a:pt x="991146" y="1844105"/>
                </a:lnTo>
                <a:lnTo>
                  <a:pt x="991146" y="1858399"/>
                </a:lnTo>
                <a:lnTo>
                  <a:pt x="986382" y="1867929"/>
                </a:lnTo>
                <a:lnTo>
                  <a:pt x="914904" y="1872695"/>
                </a:lnTo>
                <a:lnTo>
                  <a:pt x="891078" y="1882225"/>
                </a:lnTo>
                <a:lnTo>
                  <a:pt x="876784" y="1891755"/>
                </a:lnTo>
                <a:lnTo>
                  <a:pt x="862488" y="1896521"/>
                </a:lnTo>
                <a:lnTo>
                  <a:pt x="862488" y="1901285"/>
                </a:lnTo>
                <a:lnTo>
                  <a:pt x="848192" y="1910817"/>
                </a:lnTo>
                <a:lnTo>
                  <a:pt x="838662" y="1915581"/>
                </a:lnTo>
                <a:lnTo>
                  <a:pt x="833898" y="1910817"/>
                </a:lnTo>
                <a:lnTo>
                  <a:pt x="824366" y="1915581"/>
                </a:lnTo>
                <a:lnTo>
                  <a:pt x="810072" y="1920347"/>
                </a:lnTo>
                <a:lnTo>
                  <a:pt x="800542" y="1915581"/>
                </a:lnTo>
                <a:lnTo>
                  <a:pt x="795776" y="1910817"/>
                </a:lnTo>
                <a:lnTo>
                  <a:pt x="786246" y="1901285"/>
                </a:lnTo>
                <a:lnTo>
                  <a:pt x="781480" y="1891755"/>
                </a:lnTo>
                <a:lnTo>
                  <a:pt x="781480" y="1886991"/>
                </a:lnTo>
                <a:lnTo>
                  <a:pt x="762420" y="1886991"/>
                </a:lnTo>
                <a:lnTo>
                  <a:pt x="748124" y="1882225"/>
                </a:lnTo>
                <a:lnTo>
                  <a:pt x="724300" y="1882225"/>
                </a:lnTo>
                <a:lnTo>
                  <a:pt x="714768" y="1882225"/>
                </a:lnTo>
                <a:lnTo>
                  <a:pt x="710004" y="1915581"/>
                </a:lnTo>
                <a:lnTo>
                  <a:pt x="705238" y="1925111"/>
                </a:lnTo>
                <a:lnTo>
                  <a:pt x="695708" y="1939407"/>
                </a:lnTo>
                <a:lnTo>
                  <a:pt x="686178" y="1944173"/>
                </a:lnTo>
                <a:lnTo>
                  <a:pt x="676648" y="1944173"/>
                </a:lnTo>
                <a:lnTo>
                  <a:pt x="676648" y="1934641"/>
                </a:lnTo>
                <a:lnTo>
                  <a:pt x="676648" y="1925111"/>
                </a:lnTo>
                <a:lnTo>
                  <a:pt x="671882" y="1925111"/>
                </a:lnTo>
                <a:lnTo>
                  <a:pt x="662352" y="1920347"/>
                </a:lnTo>
                <a:lnTo>
                  <a:pt x="657588" y="1920347"/>
                </a:lnTo>
                <a:lnTo>
                  <a:pt x="657588" y="1910817"/>
                </a:lnTo>
                <a:lnTo>
                  <a:pt x="657588" y="1906051"/>
                </a:lnTo>
                <a:lnTo>
                  <a:pt x="652822" y="1901285"/>
                </a:lnTo>
                <a:lnTo>
                  <a:pt x="643292" y="1891755"/>
                </a:lnTo>
                <a:lnTo>
                  <a:pt x="624232" y="1882225"/>
                </a:lnTo>
                <a:lnTo>
                  <a:pt x="609936" y="1877461"/>
                </a:lnTo>
                <a:lnTo>
                  <a:pt x="605172" y="1882225"/>
                </a:lnTo>
                <a:lnTo>
                  <a:pt x="600406" y="1882225"/>
                </a:lnTo>
                <a:lnTo>
                  <a:pt x="590876" y="1877461"/>
                </a:lnTo>
                <a:lnTo>
                  <a:pt x="571816" y="1863165"/>
                </a:lnTo>
                <a:lnTo>
                  <a:pt x="547990" y="1853635"/>
                </a:lnTo>
                <a:lnTo>
                  <a:pt x="528930" y="1839339"/>
                </a:lnTo>
                <a:lnTo>
                  <a:pt x="509868" y="1829809"/>
                </a:lnTo>
                <a:lnTo>
                  <a:pt x="519398" y="1853635"/>
                </a:lnTo>
                <a:lnTo>
                  <a:pt x="509868" y="1853635"/>
                </a:lnTo>
                <a:lnTo>
                  <a:pt x="471748" y="1858399"/>
                </a:lnTo>
                <a:lnTo>
                  <a:pt x="466982" y="1848869"/>
                </a:lnTo>
                <a:lnTo>
                  <a:pt x="457452" y="1844105"/>
                </a:lnTo>
                <a:lnTo>
                  <a:pt x="452688" y="1848869"/>
                </a:lnTo>
                <a:lnTo>
                  <a:pt x="447922" y="1848869"/>
                </a:lnTo>
                <a:lnTo>
                  <a:pt x="433626" y="1829809"/>
                </a:lnTo>
                <a:lnTo>
                  <a:pt x="424096" y="1829809"/>
                </a:lnTo>
                <a:lnTo>
                  <a:pt x="414566" y="1829809"/>
                </a:lnTo>
                <a:lnTo>
                  <a:pt x="405036" y="1839339"/>
                </a:lnTo>
                <a:lnTo>
                  <a:pt x="395506" y="1848869"/>
                </a:lnTo>
                <a:lnTo>
                  <a:pt x="400270" y="1858399"/>
                </a:lnTo>
                <a:lnTo>
                  <a:pt x="405036" y="1858399"/>
                </a:lnTo>
                <a:lnTo>
                  <a:pt x="419332" y="1858399"/>
                </a:lnTo>
                <a:lnTo>
                  <a:pt x="424096" y="1858399"/>
                </a:lnTo>
                <a:lnTo>
                  <a:pt x="424096" y="1863165"/>
                </a:lnTo>
                <a:lnTo>
                  <a:pt x="409800" y="1867929"/>
                </a:lnTo>
                <a:lnTo>
                  <a:pt x="405036" y="1872695"/>
                </a:lnTo>
                <a:lnTo>
                  <a:pt x="400270" y="1872695"/>
                </a:lnTo>
                <a:lnTo>
                  <a:pt x="385976" y="1867929"/>
                </a:lnTo>
                <a:lnTo>
                  <a:pt x="366914" y="1867929"/>
                </a:lnTo>
                <a:lnTo>
                  <a:pt x="347854" y="1877461"/>
                </a:lnTo>
                <a:lnTo>
                  <a:pt x="324028" y="1877461"/>
                </a:lnTo>
                <a:lnTo>
                  <a:pt x="285908" y="1877461"/>
                </a:lnTo>
                <a:lnTo>
                  <a:pt x="276378" y="1872695"/>
                </a:lnTo>
                <a:lnTo>
                  <a:pt x="266848" y="1867929"/>
                </a:lnTo>
                <a:lnTo>
                  <a:pt x="262082" y="1853635"/>
                </a:lnTo>
                <a:lnTo>
                  <a:pt x="262082" y="1829809"/>
                </a:lnTo>
                <a:lnTo>
                  <a:pt x="271612" y="1801219"/>
                </a:lnTo>
                <a:lnTo>
                  <a:pt x="271612" y="1777393"/>
                </a:lnTo>
                <a:lnTo>
                  <a:pt x="271612" y="1763097"/>
                </a:lnTo>
                <a:lnTo>
                  <a:pt x="276378" y="1739271"/>
                </a:lnTo>
                <a:lnTo>
                  <a:pt x="290672" y="1710681"/>
                </a:lnTo>
                <a:lnTo>
                  <a:pt x="300202" y="1682089"/>
                </a:lnTo>
                <a:lnTo>
                  <a:pt x="304968" y="1648735"/>
                </a:lnTo>
                <a:lnTo>
                  <a:pt x="309734" y="1629673"/>
                </a:lnTo>
                <a:lnTo>
                  <a:pt x="324028" y="1615379"/>
                </a:lnTo>
                <a:lnTo>
                  <a:pt x="352620" y="1572493"/>
                </a:lnTo>
                <a:lnTo>
                  <a:pt x="357384" y="1567727"/>
                </a:lnTo>
                <a:lnTo>
                  <a:pt x="357384" y="1548667"/>
                </a:lnTo>
                <a:lnTo>
                  <a:pt x="347854" y="1543901"/>
                </a:lnTo>
                <a:lnTo>
                  <a:pt x="333558" y="1539137"/>
                </a:lnTo>
                <a:lnTo>
                  <a:pt x="304968" y="1529605"/>
                </a:lnTo>
                <a:lnTo>
                  <a:pt x="276378" y="1529605"/>
                </a:lnTo>
                <a:lnTo>
                  <a:pt x="262082" y="1520075"/>
                </a:lnTo>
                <a:lnTo>
                  <a:pt x="247786" y="1505781"/>
                </a:lnTo>
                <a:lnTo>
                  <a:pt x="243022" y="1505781"/>
                </a:lnTo>
                <a:lnTo>
                  <a:pt x="228726" y="1510545"/>
                </a:lnTo>
                <a:lnTo>
                  <a:pt x="209666" y="1515311"/>
                </a:lnTo>
                <a:lnTo>
                  <a:pt x="195370" y="1510545"/>
                </a:lnTo>
                <a:lnTo>
                  <a:pt x="190606" y="1510545"/>
                </a:lnTo>
                <a:lnTo>
                  <a:pt x="185840" y="1515311"/>
                </a:lnTo>
                <a:lnTo>
                  <a:pt x="181074" y="1510545"/>
                </a:lnTo>
                <a:lnTo>
                  <a:pt x="181074" y="1501015"/>
                </a:lnTo>
                <a:lnTo>
                  <a:pt x="171544" y="1496249"/>
                </a:lnTo>
                <a:lnTo>
                  <a:pt x="162014" y="1491485"/>
                </a:lnTo>
                <a:lnTo>
                  <a:pt x="157250" y="1491485"/>
                </a:lnTo>
                <a:lnTo>
                  <a:pt x="152484" y="1501015"/>
                </a:lnTo>
                <a:lnTo>
                  <a:pt x="142954" y="1505781"/>
                </a:lnTo>
                <a:lnTo>
                  <a:pt x="138188" y="1505781"/>
                </a:lnTo>
                <a:lnTo>
                  <a:pt x="119128" y="1472425"/>
                </a:lnTo>
                <a:lnTo>
                  <a:pt x="114364" y="1467659"/>
                </a:lnTo>
                <a:lnTo>
                  <a:pt x="109598" y="1458129"/>
                </a:lnTo>
                <a:lnTo>
                  <a:pt x="104832" y="1448599"/>
                </a:lnTo>
                <a:lnTo>
                  <a:pt x="95302" y="1434303"/>
                </a:lnTo>
                <a:lnTo>
                  <a:pt x="81008" y="1434303"/>
                </a:lnTo>
                <a:lnTo>
                  <a:pt x="76242" y="1434303"/>
                </a:lnTo>
                <a:lnTo>
                  <a:pt x="76242" y="1420009"/>
                </a:lnTo>
                <a:lnTo>
                  <a:pt x="81008" y="1396183"/>
                </a:lnTo>
                <a:lnTo>
                  <a:pt x="85772" y="1386653"/>
                </a:lnTo>
                <a:lnTo>
                  <a:pt x="90538" y="1377121"/>
                </a:lnTo>
                <a:lnTo>
                  <a:pt x="100068" y="1372357"/>
                </a:lnTo>
                <a:lnTo>
                  <a:pt x="100068" y="1362827"/>
                </a:lnTo>
                <a:lnTo>
                  <a:pt x="100068" y="1348531"/>
                </a:lnTo>
                <a:lnTo>
                  <a:pt x="90538" y="1348531"/>
                </a:lnTo>
                <a:lnTo>
                  <a:pt x="71476" y="1339001"/>
                </a:lnTo>
                <a:lnTo>
                  <a:pt x="61946" y="1334235"/>
                </a:lnTo>
                <a:lnTo>
                  <a:pt x="52416" y="1319941"/>
                </a:lnTo>
                <a:lnTo>
                  <a:pt x="42886" y="1305645"/>
                </a:lnTo>
                <a:lnTo>
                  <a:pt x="38122" y="1291349"/>
                </a:lnTo>
                <a:lnTo>
                  <a:pt x="38122" y="1277055"/>
                </a:lnTo>
                <a:lnTo>
                  <a:pt x="42886" y="1272289"/>
                </a:lnTo>
                <a:lnTo>
                  <a:pt x="42886" y="1267523"/>
                </a:lnTo>
                <a:lnTo>
                  <a:pt x="47652" y="1243699"/>
                </a:lnTo>
                <a:lnTo>
                  <a:pt x="81008" y="1224637"/>
                </a:lnTo>
                <a:lnTo>
                  <a:pt x="76242" y="1205577"/>
                </a:lnTo>
                <a:lnTo>
                  <a:pt x="76242" y="1191281"/>
                </a:lnTo>
                <a:lnTo>
                  <a:pt x="66712" y="1181751"/>
                </a:lnTo>
                <a:lnTo>
                  <a:pt x="52416" y="1181751"/>
                </a:lnTo>
                <a:lnTo>
                  <a:pt x="52416" y="1172221"/>
                </a:lnTo>
                <a:lnTo>
                  <a:pt x="47652" y="1167457"/>
                </a:lnTo>
                <a:lnTo>
                  <a:pt x="57182" y="1157925"/>
                </a:lnTo>
                <a:lnTo>
                  <a:pt x="47652" y="1143631"/>
                </a:lnTo>
                <a:lnTo>
                  <a:pt x="42886" y="1134101"/>
                </a:lnTo>
                <a:lnTo>
                  <a:pt x="23826" y="1119805"/>
                </a:lnTo>
                <a:lnTo>
                  <a:pt x="28590" y="1081683"/>
                </a:lnTo>
                <a:lnTo>
                  <a:pt x="23826" y="1067389"/>
                </a:lnTo>
                <a:lnTo>
                  <a:pt x="14296" y="1062623"/>
                </a:lnTo>
                <a:lnTo>
                  <a:pt x="4766" y="1057859"/>
                </a:lnTo>
                <a:lnTo>
                  <a:pt x="0" y="1053093"/>
                </a:lnTo>
                <a:lnTo>
                  <a:pt x="0" y="1048329"/>
                </a:lnTo>
                <a:lnTo>
                  <a:pt x="0" y="1043563"/>
                </a:lnTo>
                <a:lnTo>
                  <a:pt x="14296" y="1043563"/>
                </a:lnTo>
                <a:lnTo>
                  <a:pt x="42886" y="1019737"/>
                </a:lnTo>
                <a:lnTo>
                  <a:pt x="42886" y="1014973"/>
                </a:lnTo>
                <a:lnTo>
                  <a:pt x="38122" y="1014973"/>
                </a:lnTo>
                <a:lnTo>
                  <a:pt x="33356" y="1010207"/>
                </a:lnTo>
                <a:lnTo>
                  <a:pt x="33356" y="1005441"/>
                </a:lnTo>
                <a:lnTo>
                  <a:pt x="33356" y="1000677"/>
                </a:lnTo>
                <a:lnTo>
                  <a:pt x="47652" y="967321"/>
                </a:lnTo>
                <a:lnTo>
                  <a:pt x="52416" y="953025"/>
                </a:lnTo>
                <a:lnTo>
                  <a:pt x="52416" y="943495"/>
                </a:lnTo>
                <a:lnTo>
                  <a:pt x="52416" y="933965"/>
                </a:lnTo>
                <a:lnTo>
                  <a:pt x="42886" y="919669"/>
                </a:lnTo>
                <a:lnTo>
                  <a:pt x="38122" y="905375"/>
                </a:lnTo>
                <a:lnTo>
                  <a:pt x="38122" y="895843"/>
                </a:lnTo>
                <a:lnTo>
                  <a:pt x="28590" y="891079"/>
                </a:lnTo>
                <a:lnTo>
                  <a:pt x="14296" y="867253"/>
                </a:lnTo>
                <a:lnTo>
                  <a:pt x="14296" y="852957"/>
                </a:lnTo>
                <a:lnTo>
                  <a:pt x="23826" y="848193"/>
                </a:lnTo>
                <a:lnTo>
                  <a:pt x="38122" y="843427"/>
                </a:lnTo>
                <a:lnTo>
                  <a:pt x="42886" y="838663"/>
                </a:lnTo>
                <a:lnTo>
                  <a:pt x="47652" y="833897"/>
                </a:lnTo>
                <a:lnTo>
                  <a:pt x="66712" y="843427"/>
                </a:lnTo>
                <a:lnTo>
                  <a:pt x="76242" y="848193"/>
                </a:lnTo>
                <a:lnTo>
                  <a:pt x="81008" y="848193"/>
                </a:lnTo>
                <a:lnTo>
                  <a:pt x="90538" y="838663"/>
                </a:lnTo>
                <a:lnTo>
                  <a:pt x="104832" y="843427"/>
                </a:lnTo>
                <a:lnTo>
                  <a:pt x="138188" y="829133"/>
                </a:lnTo>
                <a:lnTo>
                  <a:pt x="142954" y="819601"/>
                </a:lnTo>
                <a:lnTo>
                  <a:pt x="147718" y="814837"/>
                </a:lnTo>
                <a:lnTo>
                  <a:pt x="147718" y="810071"/>
                </a:lnTo>
                <a:lnTo>
                  <a:pt x="133424" y="795777"/>
                </a:lnTo>
                <a:lnTo>
                  <a:pt x="133424" y="791011"/>
                </a:lnTo>
                <a:lnTo>
                  <a:pt x="138188" y="786245"/>
                </a:lnTo>
                <a:lnTo>
                  <a:pt x="138188" y="781481"/>
                </a:lnTo>
                <a:lnTo>
                  <a:pt x="147718" y="776715"/>
                </a:lnTo>
                <a:lnTo>
                  <a:pt x="157250" y="771951"/>
                </a:lnTo>
                <a:lnTo>
                  <a:pt x="176310" y="752891"/>
                </a:lnTo>
                <a:lnTo>
                  <a:pt x="181074" y="738595"/>
                </a:lnTo>
                <a:lnTo>
                  <a:pt x="185840" y="719535"/>
                </a:lnTo>
                <a:lnTo>
                  <a:pt x="185840" y="710003"/>
                </a:lnTo>
                <a:lnTo>
                  <a:pt x="181074" y="700473"/>
                </a:lnTo>
                <a:lnTo>
                  <a:pt x="176310" y="690943"/>
                </a:lnTo>
                <a:lnTo>
                  <a:pt x="166780" y="690943"/>
                </a:lnTo>
                <a:lnTo>
                  <a:pt x="152484" y="690943"/>
                </a:lnTo>
                <a:lnTo>
                  <a:pt x="138188" y="686179"/>
                </a:lnTo>
                <a:lnTo>
                  <a:pt x="133424" y="676649"/>
                </a:lnTo>
                <a:lnTo>
                  <a:pt x="128658" y="671883"/>
                </a:lnTo>
                <a:lnTo>
                  <a:pt x="133424" y="667117"/>
                </a:lnTo>
                <a:lnTo>
                  <a:pt x="133424" y="657587"/>
                </a:lnTo>
                <a:lnTo>
                  <a:pt x="133424" y="652823"/>
                </a:lnTo>
                <a:lnTo>
                  <a:pt x="133424" y="648057"/>
                </a:lnTo>
                <a:lnTo>
                  <a:pt x="138188" y="643293"/>
                </a:lnTo>
                <a:lnTo>
                  <a:pt x="181074" y="643293"/>
                </a:lnTo>
                <a:lnTo>
                  <a:pt x="185840" y="638527"/>
                </a:lnTo>
                <a:lnTo>
                  <a:pt x="185840" y="614701"/>
                </a:lnTo>
                <a:lnTo>
                  <a:pt x="195370" y="576581"/>
                </a:lnTo>
                <a:lnTo>
                  <a:pt x="204900" y="557519"/>
                </a:lnTo>
                <a:lnTo>
                  <a:pt x="209666" y="547989"/>
                </a:lnTo>
                <a:lnTo>
                  <a:pt x="209666" y="500339"/>
                </a:lnTo>
                <a:lnTo>
                  <a:pt x="209666" y="476513"/>
                </a:lnTo>
                <a:lnTo>
                  <a:pt x="200136" y="462217"/>
                </a:lnTo>
                <a:lnTo>
                  <a:pt x="185840" y="452687"/>
                </a:lnTo>
                <a:lnTo>
                  <a:pt x="190606" y="424097"/>
                </a:lnTo>
                <a:lnTo>
                  <a:pt x="195370" y="400271"/>
                </a:lnTo>
                <a:lnTo>
                  <a:pt x="209666" y="376445"/>
                </a:lnTo>
                <a:lnTo>
                  <a:pt x="223960" y="371679"/>
                </a:lnTo>
                <a:lnTo>
                  <a:pt x="276378" y="366915"/>
                </a:lnTo>
                <a:lnTo>
                  <a:pt x="338324" y="366915"/>
                </a:lnTo>
                <a:lnTo>
                  <a:pt x="362150" y="405035"/>
                </a:lnTo>
                <a:lnTo>
                  <a:pt x="352620" y="428861"/>
                </a:lnTo>
                <a:lnTo>
                  <a:pt x="366914" y="433627"/>
                </a:lnTo>
                <a:lnTo>
                  <a:pt x="371680" y="433627"/>
                </a:lnTo>
                <a:lnTo>
                  <a:pt x="376444" y="414565"/>
                </a:lnTo>
                <a:lnTo>
                  <a:pt x="381210" y="395505"/>
                </a:lnTo>
                <a:lnTo>
                  <a:pt x="385976" y="390741"/>
                </a:lnTo>
                <a:lnTo>
                  <a:pt x="405036" y="405035"/>
                </a:lnTo>
                <a:lnTo>
                  <a:pt x="409800" y="414565"/>
                </a:lnTo>
                <a:lnTo>
                  <a:pt x="414566" y="447921"/>
                </a:lnTo>
                <a:lnTo>
                  <a:pt x="419332" y="405035"/>
                </a:lnTo>
                <a:lnTo>
                  <a:pt x="414566" y="371679"/>
                </a:lnTo>
                <a:lnTo>
                  <a:pt x="419332" y="343089"/>
                </a:lnTo>
                <a:lnTo>
                  <a:pt x="424096" y="328793"/>
                </a:lnTo>
                <a:lnTo>
                  <a:pt x="433626" y="319263"/>
                </a:lnTo>
                <a:lnTo>
                  <a:pt x="476512" y="328793"/>
                </a:lnTo>
                <a:lnTo>
                  <a:pt x="524164" y="324029"/>
                </a:lnTo>
                <a:lnTo>
                  <a:pt x="543224" y="333559"/>
                </a:lnTo>
                <a:lnTo>
                  <a:pt x="581346" y="390741"/>
                </a:lnTo>
                <a:lnTo>
                  <a:pt x="595640" y="400271"/>
                </a:lnTo>
                <a:lnTo>
                  <a:pt x="614702" y="405035"/>
                </a:lnTo>
                <a:lnTo>
                  <a:pt x="590876" y="390741"/>
                </a:lnTo>
                <a:lnTo>
                  <a:pt x="538460" y="324029"/>
                </a:lnTo>
                <a:lnTo>
                  <a:pt x="524164" y="314499"/>
                </a:lnTo>
                <a:lnTo>
                  <a:pt x="500338" y="314499"/>
                </a:lnTo>
                <a:lnTo>
                  <a:pt x="486042" y="304969"/>
                </a:lnTo>
                <a:lnTo>
                  <a:pt x="476512" y="295437"/>
                </a:lnTo>
                <a:lnTo>
                  <a:pt x="476512" y="285907"/>
                </a:lnTo>
                <a:lnTo>
                  <a:pt x="476512" y="214431"/>
                </a:lnTo>
                <a:lnTo>
                  <a:pt x="466982" y="204901"/>
                </a:lnTo>
                <a:lnTo>
                  <a:pt x="457452" y="200135"/>
                </a:lnTo>
                <a:lnTo>
                  <a:pt x="447922" y="204901"/>
                </a:lnTo>
                <a:lnTo>
                  <a:pt x="433626" y="204901"/>
                </a:lnTo>
                <a:lnTo>
                  <a:pt x="433626" y="190605"/>
                </a:lnTo>
                <a:lnTo>
                  <a:pt x="438392" y="181075"/>
                </a:lnTo>
                <a:lnTo>
                  <a:pt x="466982" y="171545"/>
                </a:lnTo>
                <a:lnTo>
                  <a:pt x="481278" y="162015"/>
                </a:lnTo>
                <a:lnTo>
                  <a:pt x="486042" y="142953"/>
                </a:lnTo>
                <a:lnTo>
                  <a:pt x="471748" y="128659"/>
                </a:lnTo>
                <a:lnTo>
                  <a:pt x="457452" y="100067"/>
                </a:lnTo>
                <a:lnTo>
                  <a:pt x="443156" y="71477"/>
                </a:lnTo>
                <a:close/>
                <a:moveTo>
                  <a:pt x="400270" y="0"/>
                </a:moveTo>
                <a:lnTo>
                  <a:pt x="405036" y="0"/>
                </a:lnTo>
                <a:lnTo>
                  <a:pt x="400270" y="14295"/>
                </a:lnTo>
                <a:lnTo>
                  <a:pt x="395506" y="19060"/>
                </a:lnTo>
                <a:lnTo>
                  <a:pt x="390740" y="38121"/>
                </a:lnTo>
                <a:lnTo>
                  <a:pt x="395506" y="42886"/>
                </a:lnTo>
                <a:lnTo>
                  <a:pt x="433626" y="47651"/>
                </a:lnTo>
                <a:lnTo>
                  <a:pt x="428860" y="52416"/>
                </a:lnTo>
                <a:lnTo>
                  <a:pt x="390740" y="57181"/>
                </a:lnTo>
                <a:lnTo>
                  <a:pt x="381210" y="76242"/>
                </a:lnTo>
                <a:lnTo>
                  <a:pt x="381210" y="42886"/>
                </a:lnTo>
                <a:close/>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392" name="CustomShape 17"/>
          <p:cNvSpPr/>
          <p:nvPr/>
        </p:nvSpPr>
        <p:spPr>
          <a:xfrm>
            <a:off x="3183840" y="3898800"/>
            <a:ext cx="462600" cy="369720"/>
          </a:xfrm>
          <a:custGeom>
            <a:avLst/>
            <a:gdLst/>
            <a:ahLst/>
            <a:cxnLst/>
            <a:rect l="l" t="t" r="r" b="b"/>
            <a:pathLst>
              <a:path w="1095980" h="876784">
                <a:moveTo>
                  <a:pt x="490806" y="786246"/>
                </a:moveTo>
                <a:lnTo>
                  <a:pt x="505102" y="805306"/>
                </a:lnTo>
                <a:lnTo>
                  <a:pt x="533692" y="819602"/>
                </a:lnTo>
                <a:lnTo>
                  <a:pt x="552754" y="819602"/>
                </a:lnTo>
                <a:lnTo>
                  <a:pt x="567048" y="824367"/>
                </a:lnTo>
                <a:lnTo>
                  <a:pt x="571814" y="838662"/>
                </a:lnTo>
                <a:lnTo>
                  <a:pt x="571814" y="862488"/>
                </a:lnTo>
                <a:lnTo>
                  <a:pt x="557518" y="867252"/>
                </a:lnTo>
                <a:lnTo>
                  <a:pt x="543224" y="867252"/>
                </a:lnTo>
                <a:lnTo>
                  <a:pt x="524162" y="876784"/>
                </a:lnTo>
                <a:lnTo>
                  <a:pt x="457452" y="833897"/>
                </a:lnTo>
                <a:lnTo>
                  <a:pt x="457452" y="805306"/>
                </a:lnTo>
                <a:lnTo>
                  <a:pt x="457452" y="791011"/>
                </a:lnTo>
                <a:close/>
                <a:moveTo>
                  <a:pt x="324028" y="786246"/>
                </a:moveTo>
                <a:lnTo>
                  <a:pt x="338324" y="786246"/>
                </a:lnTo>
                <a:lnTo>
                  <a:pt x="347854" y="800541"/>
                </a:lnTo>
                <a:lnTo>
                  <a:pt x="357384" y="800541"/>
                </a:lnTo>
                <a:lnTo>
                  <a:pt x="371680" y="814837"/>
                </a:lnTo>
                <a:lnTo>
                  <a:pt x="357384" y="819602"/>
                </a:lnTo>
                <a:lnTo>
                  <a:pt x="347854" y="814837"/>
                </a:lnTo>
                <a:lnTo>
                  <a:pt x="328794" y="791011"/>
                </a:lnTo>
                <a:close/>
                <a:moveTo>
                  <a:pt x="648056" y="757655"/>
                </a:moveTo>
                <a:lnTo>
                  <a:pt x="657588" y="762420"/>
                </a:lnTo>
                <a:lnTo>
                  <a:pt x="671882" y="767185"/>
                </a:lnTo>
                <a:lnTo>
                  <a:pt x="681412" y="767185"/>
                </a:lnTo>
                <a:lnTo>
                  <a:pt x="686178" y="776715"/>
                </a:lnTo>
                <a:lnTo>
                  <a:pt x="690944" y="781480"/>
                </a:lnTo>
                <a:lnTo>
                  <a:pt x="686178" y="786246"/>
                </a:lnTo>
                <a:lnTo>
                  <a:pt x="662352" y="786246"/>
                </a:lnTo>
                <a:lnTo>
                  <a:pt x="633762" y="805306"/>
                </a:lnTo>
                <a:lnTo>
                  <a:pt x="624232" y="795776"/>
                </a:lnTo>
                <a:lnTo>
                  <a:pt x="628996" y="786246"/>
                </a:lnTo>
                <a:lnTo>
                  <a:pt x="633762" y="781480"/>
                </a:lnTo>
                <a:lnTo>
                  <a:pt x="643292" y="776715"/>
                </a:lnTo>
                <a:lnTo>
                  <a:pt x="648056" y="767185"/>
                </a:lnTo>
                <a:close/>
                <a:moveTo>
                  <a:pt x="257316" y="757655"/>
                </a:moveTo>
                <a:lnTo>
                  <a:pt x="262082" y="757655"/>
                </a:lnTo>
                <a:lnTo>
                  <a:pt x="266846" y="757655"/>
                </a:lnTo>
                <a:lnTo>
                  <a:pt x="295436" y="776715"/>
                </a:lnTo>
                <a:lnTo>
                  <a:pt x="304968" y="800541"/>
                </a:lnTo>
                <a:lnTo>
                  <a:pt x="304968" y="805306"/>
                </a:lnTo>
                <a:lnTo>
                  <a:pt x="285906" y="810071"/>
                </a:lnTo>
                <a:lnTo>
                  <a:pt x="281142" y="800541"/>
                </a:lnTo>
                <a:lnTo>
                  <a:pt x="262082" y="800541"/>
                </a:lnTo>
                <a:close/>
                <a:moveTo>
                  <a:pt x="438390" y="729064"/>
                </a:moveTo>
                <a:lnTo>
                  <a:pt x="443156" y="733829"/>
                </a:lnTo>
                <a:lnTo>
                  <a:pt x="438390" y="757655"/>
                </a:lnTo>
                <a:lnTo>
                  <a:pt x="414566" y="829132"/>
                </a:lnTo>
                <a:lnTo>
                  <a:pt x="409800" y="843428"/>
                </a:lnTo>
                <a:lnTo>
                  <a:pt x="400270" y="843428"/>
                </a:lnTo>
                <a:lnTo>
                  <a:pt x="390740" y="819601"/>
                </a:lnTo>
                <a:lnTo>
                  <a:pt x="390740" y="814836"/>
                </a:lnTo>
                <a:lnTo>
                  <a:pt x="400270" y="800541"/>
                </a:lnTo>
                <a:lnTo>
                  <a:pt x="409800" y="786246"/>
                </a:lnTo>
                <a:lnTo>
                  <a:pt x="428860" y="762420"/>
                </a:lnTo>
                <a:close/>
                <a:moveTo>
                  <a:pt x="1038798" y="690943"/>
                </a:moveTo>
                <a:lnTo>
                  <a:pt x="1095980" y="733829"/>
                </a:lnTo>
                <a:lnTo>
                  <a:pt x="1095980" y="748124"/>
                </a:lnTo>
                <a:lnTo>
                  <a:pt x="1091214" y="767185"/>
                </a:lnTo>
                <a:lnTo>
                  <a:pt x="1081684" y="771950"/>
                </a:lnTo>
                <a:lnTo>
                  <a:pt x="1057858" y="767185"/>
                </a:lnTo>
                <a:lnTo>
                  <a:pt x="1024502" y="748124"/>
                </a:lnTo>
                <a:lnTo>
                  <a:pt x="1029268" y="710003"/>
                </a:lnTo>
                <a:close/>
                <a:moveTo>
                  <a:pt x="338322" y="605171"/>
                </a:moveTo>
                <a:lnTo>
                  <a:pt x="347852" y="609936"/>
                </a:lnTo>
                <a:lnTo>
                  <a:pt x="362148" y="619466"/>
                </a:lnTo>
                <a:lnTo>
                  <a:pt x="371678" y="619466"/>
                </a:lnTo>
                <a:lnTo>
                  <a:pt x="390740" y="605171"/>
                </a:lnTo>
                <a:lnTo>
                  <a:pt x="395504" y="605171"/>
                </a:lnTo>
                <a:lnTo>
                  <a:pt x="400270" y="619466"/>
                </a:lnTo>
                <a:lnTo>
                  <a:pt x="409800" y="652822"/>
                </a:lnTo>
                <a:lnTo>
                  <a:pt x="424096" y="686178"/>
                </a:lnTo>
                <a:lnTo>
                  <a:pt x="419330" y="700473"/>
                </a:lnTo>
                <a:lnTo>
                  <a:pt x="419330" y="719534"/>
                </a:lnTo>
                <a:lnTo>
                  <a:pt x="419330" y="738594"/>
                </a:lnTo>
                <a:lnTo>
                  <a:pt x="390740" y="762420"/>
                </a:lnTo>
                <a:lnTo>
                  <a:pt x="362148" y="762420"/>
                </a:lnTo>
                <a:lnTo>
                  <a:pt x="333558" y="748125"/>
                </a:lnTo>
                <a:lnTo>
                  <a:pt x="290672" y="729064"/>
                </a:lnTo>
                <a:lnTo>
                  <a:pt x="290672" y="719534"/>
                </a:lnTo>
                <a:lnTo>
                  <a:pt x="281142" y="710004"/>
                </a:lnTo>
                <a:lnTo>
                  <a:pt x="271612" y="676648"/>
                </a:lnTo>
                <a:lnTo>
                  <a:pt x="271612" y="633762"/>
                </a:lnTo>
                <a:lnTo>
                  <a:pt x="295436" y="628997"/>
                </a:lnTo>
                <a:close/>
                <a:moveTo>
                  <a:pt x="700472" y="586110"/>
                </a:moveTo>
                <a:lnTo>
                  <a:pt x="705238" y="586110"/>
                </a:lnTo>
                <a:lnTo>
                  <a:pt x="710004" y="595640"/>
                </a:lnTo>
                <a:lnTo>
                  <a:pt x="710004" y="609936"/>
                </a:lnTo>
                <a:lnTo>
                  <a:pt x="695708" y="624231"/>
                </a:lnTo>
                <a:lnTo>
                  <a:pt x="690942" y="624231"/>
                </a:lnTo>
                <a:lnTo>
                  <a:pt x="686176" y="605170"/>
                </a:lnTo>
                <a:lnTo>
                  <a:pt x="695708" y="595640"/>
                </a:lnTo>
                <a:close/>
                <a:moveTo>
                  <a:pt x="381210" y="500338"/>
                </a:moveTo>
                <a:lnTo>
                  <a:pt x="395504" y="524164"/>
                </a:lnTo>
                <a:lnTo>
                  <a:pt x="400270" y="533694"/>
                </a:lnTo>
                <a:lnTo>
                  <a:pt x="390740" y="543224"/>
                </a:lnTo>
                <a:lnTo>
                  <a:pt x="390740" y="557520"/>
                </a:lnTo>
                <a:lnTo>
                  <a:pt x="385974" y="562285"/>
                </a:lnTo>
                <a:lnTo>
                  <a:pt x="376444" y="557520"/>
                </a:lnTo>
                <a:lnTo>
                  <a:pt x="376444" y="543224"/>
                </a:lnTo>
                <a:lnTo>
                  <a:pt x="381210" y="524164"/>
                </a:lnTo>
                <a:lnTo>
                  <a:pt x="376444" y="509868"/>
                </a:lnTo>
                <a:close/>
                <a:moveTo>
                  <a:pt x="643292" y="466982"/>
                </a:moveTo>
                <a:lnTo>
                  <a:pt x="657586" y="466982"/>
                </a:lnTo>
                <a:lnTo>
                  <a:pt x="671882" y="466982"/>
                </a:lnTo>
                <a:lnTo>
                  <a:pt x="690942" y="476512"/>
                </a:lnTo>
                <a:lnTo>
                  <a:pt x="695708" y="481277"/>
                </a:lnTo>
                <a:lnTo>
                  <a:pt x="700472" y="490808"/>
                </a:lnTo>
                <a:lnTo>
                  <a:pt x="690942" y="509868"/>
                </a:lnTo>
                <a:lnTo>
                  <a:pt x="690942" y="519398"/>
                </a:lnTo>
                <a:lnTo>
                  <a:pt x="695708" y="557519"/>
                </a:lnTo>
                <a:lnTo>
                  <a:pt x="695708" y="586110"/>
                </a:lnTo>
                <a:lnTo>
                  <a:pt x="690942" y="595640"/>
                </a:lnTo>
                <a:lnTo>
                  <a:pt x="686178" y="600406"/>
                </a:lnTo>
                <a:lnTo>
                  <a:pt x="671882" y="605171"/>
                </a:lnTo>
                <a:lnTo>
                  <a:pt x="657586" y="614701"/>
                </a:lnTo>
                <a:lnTo>
                  <a:pt x="643292" y="628996"/>
                </a:lnTo>
                <a:lnTo>
                  <a:pt x="643292" y="648057"/>
                </a:lnTo>
                <a:lnTo>
                  <a:pt x="648056" y="662352"/>
                </a:lnTo>
                <a:lnTo>
                  <a:pt x="667118" y="667117"/>
                </a:lnTo>
                <a:lnTo>
                  <a:pt x="671882" y="695708"/>
                </a:lnTo>
                <a:lnTo>
                  <a:pt x="657586" y="710004"/>
                </a:lnTo>
                <a:lnTo>
                  <a:pt x="619466" y="724299"/>
                </a:lnTo>
                <a:lnTo>
                  <a:pt x="614700" y="757655"/>
                </a:lnTo>
                <a:lnTo>
                  <a:pt x="619466" y="781480"/>
                </a:lnTo>
                <a:lnTo>
                  <a:pt x="619466" y="800541"/>
                </a:lnTo>
                <a:lnTo>
                  <a:pt x="614700" y="824367"/>
                </a:lnTo>
                <a:lnTo>
                  <a:pt x="586110" y="838662"/>
                </a:lnTo>
                <a:lnTo>
                  <a:pt x="567050" y="795776"/>
                </a:lnTo>
                <a:lnTo>
                  <a:pt x="567050" y="781480"/>
                </a:lnTo>
                <a:lnTo>
                  <a:pt x="562284" y="762420"/>
                </a:lnTo>
                <a:lnTo>
                  <a:pt x="557520" y="748125"/>
                </a:lnTo>
                <a:lnTo>
                  <a:pt x="552754" y="724299"/>
                </a:lnTo>
                <a:lnTo>
                  <a:pt x="524164" y="714769"/>
                </a:lnTo>
                <a:lnTo>
                  <a:pt x="514632" y="714769"/>
                </a:lnTo>
                <a:lnTo>
                  <a:pt x="500338" y="719534"/>
                </a:lnTo>
                <a:lnTo>
                  <a:pt x="495572" y="719534"/>
                </a:lnTo>
                <a:lnTo>
                  <a:pt x="476512" y="686178"/>
                </a:lnTo>
                <a:lnTo>
                  <a:pt x="481276" y="648057"/>
                </a:lnTo>
                <a:lnTo>
                  <a:pt x="471746" y="628996"/>
                </a:lnTo>
                <a:lnTo>
                  <a:pt x="471746" y="619466"/>
                </a:lnTo>
                <a:lnTo>
                  <a:pt x="471746" y="609936"/>
                </a:lnTo>
                <a:lnTo>
                  <a:pt x="462216" y="600406"/>
                </a:lnTo>
                <a:lnTo>
                  <a:pt x="452686" y="595640"/>
                </a:lnTo>
                <a:lnTo>
                  <a:pt x="447920" y="576580"/>
                </a:lnTo>
                <a:lnTo>
                  <a:pt x="457452" y="571815"/>
                </a:lnTo>
                <a:lnTo>
                  <a:pt x="486042" y="571815"/>
                </a:lnTo>
                <a:lnTo>
                  <a:pt x="495572" y="571815"/>
                </a:lnTo>
                <a:lnTo>
                  <a:pt x="500338" y="567050"/>
                </a:lnTo>
                <a:lnTo>
                  <a:pt x="524164" y="533694"/>
                </a:lnTo>
                <a:lnTo>
                  <a:pt x="524164" y="524164"/>
                </a:lnTo>
                <a:lnTo>
                  <a:pt x="524164" y="514633"/>
                </a:lnTo>
                <a:lnTo>
                  <a:pt x="547988" y="509868"/>
                </a:lnTo>
                <a:lnTo>
                  <a:pt x="557520" y="524164"/>
                </a:lnTo>
                <a:lnTo>
                  <a:pt x="557520" y="547989"/>
                </a:lnTo>
                <a:lnTo>
                  <a:pt x="557520" y="571815"/>
                </a:lnTo>
                <a:lnTo>
                  <a:pt x="571814" y="581345"/>
                </a:lnTo>
                <a:lnTo>
                  <a:pt x="576580" y="581345"/>
                </a:lnTo>
                <a:lnTo>
                  <a:pt x="586110" y="562285"/>
                </a:lnTo>
                <a:lnTo>
                  <a:pt x="590874" y="552754"/>
                </a:lnTo>
                <a:lnTo>
                  <a:pt x="595640" y="547989"/>
                </a:lnTo>
                <a:lnTo>
                  <a:pt x="595640" y="528929"/>
                </a:lnTo>
                <a:lnTo>
                  <a:pt x="595640" y="514633"/>
                </a:lnTo>
                <a:lnTo>
                  <a:pt x="586110" y="509868"/>
                </a:lnTo>
                <a:lnTo>
                  <a:pt x="614700" y="486043"/>
                </a:lnTo>
                <a:close/>
                <a:moveTo>
                  <a:pt x="462216" y="119128"/>
                </a:moveTo>
                <a:lnTo>
                  <a:pt x="476512" y="123893"/>
                </a:lnTo>
                <a:lnTo>
                  <a:pt x="462216" y="138189"/>
                </a:lnTo>
                <a:lnTo>
                  <a:pt x="457452" y="142954"/>
                </a:lnTo>
                <a:lnTo>
                  <a:pt x="452686" y="147719"/>
                </a:lnTo>
                <a:lnTo>
                  <a:pt x="428860" y="138189"/>
                </a:lnTo>
                <a:lnTo>
                  <a:pt x="438392" y="128658"/>
                </a:lnTo>
                <a:close/>
                <a:moveTo>
                  <a:pt x="390740" y="0"/>
                </a:moveTo>
                <a:lnTo>
                  <a:pt x="371680" y="28591"/>
                </a:lnTo>
                <a:lnTo>
                  <a:pt x="366914" y="38121"/>
                </a:lnTo>
                <a:lnTo>
                  <a:pt x="362148" y="52416"/>
                </a:lnTo>
                <a:lnTo>
                  <a:pt x="376444" y="85772"/>
                </a:lnTo>
                <a:lnTo>
                  <a:pt x="376444" y="104833"/>
                </a:lnTo>
                <a:lnTo>
                  <a:pt x="376444" y="147719"/>
                </a:lnTo>
                <a:lnTo>
                  <a:pt x="362148" y="166779"/>
                </a:lnTo>
                <a:lnTo>
                  <a:pt x="347854" y="209666"/>
                </a:lnTo>
                <a:lnTo>
                  <a:pt x="343088" y="214431"/>
                </a:lnTo>
                <a:lnTo>
                  <a:pt x="338324" y="266847"/>
                </a:lnTo>
                <a:lnTo>
                  <a:pt x="343088" y="276377"/>
                </a:lnTo>
                <a:lnTo>
                  <a:pt x="338324" y="324029"/>
                </a:lnTo>
                <a:lnTo>
                  <a:pt x="352618" y="343089"/>
                </a:lnTo>
                <a:lnTo>
                  <a:pt x="371680" y="352619"/>
                </a:lnTo>
                <a:lnTo>
                  <a:pt x="428860" y="352619"/>
                </a:lnTo>
                <a:lnTo>
                  <a:pt x="433626" y="362150"/>
                </a:lnTo>
                <a:lnTo>
                  <a:pt x="438392" y="371680"/>
                </a:lnTo>
                <a:lnTo>
                  <a:pt x="433626" y="395506"/>
                </a:lnTo>
                <a:lnTo>
                  <a:pt x="428860" y="414566"/>
                </a:lnTo>
                <a:lnTo>
                  <a:pt x="414566" y="428861"/>
                </a:lnTo>
                <a:lnTo>
                  <a:pt x="390740" y="443157"/>
                </a:lnTo>
                <a:lnTo>
                  <a:pt x="376444" y="443157"/>
                </a:lnTo>
                <a:lnTo>
                  <a:pt x="362148" y="419331"/>
                </a:lnTo>
                <a:lnTo>
                  <a:pt x="352618" y="428861"/>
                </a:lnTo>
                <a:lnTo>
                  <a:pt x="343088" y="438392"/>
                </a:lnTo>
                <a:lnTo>
                  <a:pt x="328792" y="495573"/>
                </a:lnTo>
                <a:lnTo>
                  <a:pt x="324028" y="533694"/>
                </a:lnTo>
                <a:lnTo>
                  <a:pt x="319262" y="538459"/>
                </a:lnTo>
                <a:lnTo>
                  <a:pt x="309732" y="533694"/>
                </a:lnTo>
                <a:lnTo>
                  <a:pt x="295438" y="533694"/>
                </a:lnTo>
                <a:lnTo>
                  <a:pt x="281142" y="543224"/>
                </a:lnTo>
                <a:lnTo>
                  <a:pt x="290672" y="552755"/>
                </a:lnTo>
                <a:lnTo>
                  <a:pt x="300202" y="567050"/>
                </a:lnTo>
                <a:lnTo>
                  <a:pt x="295438" y="571815"/>
                </a:lnTo>
                <a:lnTo>
                  <a:pt x="281142" y="581345"/>
                </a:lnTo>
                <a:lnTo>
                  <a:pt x="266846" y="595641"/>
                </a:lnTo>
                <a:lnTo>
                  <a:pt x="257316" y="605171"/>
                </a:lnTo>
                <a:lnTo>
                  <a:pt x="243020" y="619466"/>
                </a:lnTo>
                <a:lnTo>
                  <a:pt x="228726" y="638527"/>
                </a:lnTo>
                <a:lnTo>
                  <a:pt x="238256" y="662353"/>
                </a:lnTo>
                <a:lnTo>
                  <a:pt x="238256" y="681413"/>
                </a:lnTo>
                <a:lnTo>
                  <a:pt x="243020" y="700474"/>
                </a:lnTo>
                <a:lnTo>
                  <a:pt x="238256" y="719534"/>
                </a:lnTo>
                <a:lnTo>
                  <a:pt x="219196" y="743360"/>
                </a:lnTo>
                <a:lnTo>
                  <a:pt x="209664" y="762420"/>
                </a:lnTo>
                <a:lnTo>
                  <a:pt x="228726" y="762420"/>
                </a:lnTo>
                <a:lnTo>
                  <a:pt x="238256" y="767185"/>
                </a:lnTo>
                <a:lnTo>
                  <a:pt x="247786" y="776716"/>
                </a:lnTo>
                <a:lnTo>
                  <a:pt x="252550" y="781481"/>
                </a:lnTo>
                <a:lnTo>
                  <a:pt x="247786" y="795776"/>
                </a:lnTo>
                <a:lnTo>
                  <a:pt x="252550" y="819602"/>
                </a:lnTo>
                <a:lnTo>
                  <a:pt x="243020" y="819602"/>
                </a:lnTo>
                <a:lnTo>
                  <a:pt x="233490" y="814837"/>
                </a:lnTo>
                <a:lnTo>
                  <a:pt x="214430" y="819602"/>
                </a:lnTo>
                <a:lnTo>
                  <a:pt x="190604" y="829132"/>
                </a:lnTo>
                <a:lnTo>
                  <a:pt x="176308" y="824367"/>
                </a:lnTo>
                <a:lnTo>
                  <a:pt x="166778" y="814837"/>
                </a:lnTo>
                <a:lnTo>
                  <a:pt x="123892" y="800541"/>
                </a:lnTo>
                <a:lnTo>
                  <a:pt x="114362" y="800541"/>
                </a:lnTo>
                <a:lnTo>
                  <a:pt x="85772" y="800541"/>
                </a:lnTo>
                <a:lnTo>
                  <a:pt x="85772" y="776716"/>
                </a:lnTo>
                <a:lnTo>
                  <a:pt x="81006" y="762420"/>
                </a:lnTo>
                <a:lnTo>
                  <a:pt x="71476" y="738595"/>
                </a:lnTo>
                <a:lnTo>
                  <a:pt x="85772" y="733830"/>
                </a:lnTo>
                <a:lnTo>
                  <a:pt x="85772" y="686178"/>
                </a:lnTo>
                <a:lnTo>
                  <a:pt x="76242" y="662353"/>
                </a:lnTo>
                <a:lnTo>
                  <a:pt x="38120" y="633762"/>
                </a:lnTo>
                <a:lnTo>
                  <a:pt x="4764" y="609936"/>
                </a:lnTo>
                <a:lnTo>
                  <a:pt x="9530" y="524164"/>
                </a:lnTo>
                <a:lnTo>
                  <a:pt x="14294" y="505103"/>
                </a:lnTo>
                <a:lnTo>
                  <a:pt x="0" y="462217"/>
                </a:lnTo>
                <a:lnTo>
                  <a:pt x="4764" y="409801"/>
                </a:lnTo>
                <a:lnTo>
                  <a:pt x="9530" y="328794"/>
                </a:lnTo>
                <a:lnTo>
                  <a:pt x="19060" y="324029"/>
                </a:lnTo>
                <a:lnTo>
                  <a:pt x="23824" y="324029"/>
                </a:lnTo>
                <a:lnTo>
                  <a:pt x="57180" y="338324"/>
                </a:lnTo>
                <a:lnTo>
                  <a:pt x="66710" y="343089"/>
                </a:lnTo>
                <a:lnTo>
                  <a:pt x="76242" y="352619"/>
                </a:lnTo>
                <a:lnTo>
                  <a:pt x="85772" y="357384"/>
                </a:lnTo>
                <a:lnTo>
                  <a:pt x="95302" y="347854"/>
                </a:lnTo>
                <a:lnTo>
                  <a:pt x="95302" y="319263"/>
                </a:lnTo>
                <a:lnTo>
                  <a:pt x="119128" y="290673"/>
                </a:lnTo>
                <a:lnTo>
                  <a:pt x="138188" y="281142"/>
                </a:lnTo>
                <a:lnTo>
                  <a:pt x="147718" y="276377"/>
                </a:lnTo>
                <a:lnTo>
                  <a:pt x="162014" y="285908"/>
                </a:lnTo>
                <a:lnTo>
                  <a:pt x="166778" y="300203"/>
                </a:lnTo>
                <a:lnTo>
                  <a:pt x="171544" y="271612"/>
                </a:lnTo>
                <a:lnTo>
                  <a:pt x="176308" y="214431"/>
                </a:lnTo>
                <a:lnTo>
                  <a:pt x="157248" y="204900"/>
                </a:lnTo>
                <a:lnTo>
                  <a:pt x="138188" y="209666"/>
                </a:lnTo>
                <a:lnTo>
                  <a:pt x="119128" y="247787"/>
                </a:lnTo>
                <a:lnTo>
                  <a:pt x="104832" y="295438"/>
                </a:lnTo>
                <a:lnTo>
                  <a:pt x="76242" y="300203"/>
                </a:lnTo>
                <a:lnTo>
                  <a:pt x="57180" y="309733"/>
                </a:lnTo>
                <a:lnTo>
                  <a:pt x="38120" y="295438"/>
                </a:lnTo>
                <a:lnTo>
                  <a:pt x="23824" y="285908"/>
                </a:lnTo>
                <a:lnTo>
                  <a:pt x="23824" y="266847"/>
                </a:lnTo>
                <a:lnTo>
                  <a:pt x="28590" y="257317"/>
                </a:lnTo>
                <a:lnTo>
                  <a:pt x="47650" y="219196"/>
                </a:lnTo>
                <a:lnTo>
                  <a:pt x="81006" y="181075"/>
                </a:lnTo>
                <a:lnTo>
                  <a:pt x="109596" y="185840"/>
                </a:lnTo>
                <a:lnTo>
                  <a:pt x="128658" y="171545"/>
                </a:lnTo>
                <a:lnTo>
                  <a:pt x="142952" y="171545"/>
                </a:lnTo>
                <a:lnTo>
                  <a:pt x="185840" y="171545"/>
                </a:lnTo>
                <a:lnTo>
                  <a:pt x="204900" y="166779"/>
                </a:lnTo>
                <a:lnTo>
                  <a:pt x="223960" y="147719"/>
                </a:lnTo>
                <a:lnTo>
                  <a:pt x="266846" y="76242"/>
                </a:lnTo>
                <a:lnTo>
                  <a:pt x="290672" y="47651"/>
                </a:lnTo>
                <a:lnTo>
                  <a:pt x="333558" y="38121"/>
                </a:lnTo>
                <a:lnTo>
                  <a:pt x="376444" y="4765"/>
                </a:lnTo>
                <a:close/>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393" name="CustomShape 18"/>
          <p:cNvSpPr/>
          <p:nvPr/>
        </p:nvSpPr>
        <p:spPr>
          <a:xfrm>
            <a:off x="2034360" y="5377680"/>
            <a:ext cx="896760" cy="666720"/>
          </a:xfrm>
          <a:custGeom>
            <a:avLst/>
            <a:gdLst/>
            <a:ahLst/>
            <a:cxnLst/>
            <a:rect l="l" t="t" r="r" b="b"/>
            <a:pathLst>
              <a:path w="2120482" h="1577258">
                <a:moveTo>
                  <a:pt x="1667794" y="1038798"/>
                </a:moveTo>
                <a:lnTo>
                  <a:pt x="1677324" y="1048328"/>
                </a:lnTo>
                <a:lnTo>
                  <a:pt x="1691620" y="1053094"/>
                </a:lnTo>
                <a:lnTo>
                  <a:pt x="1691620" y="1057860"/>
                </a:lnTo>
                <a:lnTo>
                  <a:pt x="1677324" y="1057860"/>
                </a:lnTo>
                <a:lnTo>
                  <a:pt x="1663030" y="1057860"/>
                </a:lnTo>
                <a:lnTo>
                  <a:pt x="1663030" y="1048328"/>
                </a:lnTo>
                <a:lnTo>
                  <a:pt x="1663030" y="1043564"/>
                </a:lnTo>
                <a:close/>
                <a:moveTo>
                  <a:pt x="1686854" y="967320"/>
                </a:moveTo>
                <a:lnTo>
                  <a:pt x="1696386" y="972086"/>
                </a:lnTo>
                <a:lnTo>
                  <a:pt x="1696386" y="981616"/>
                </a:lnTo>
                <a:lnTo>
                  <a:pt x="1677324" y="1005442"/>
                </a:lnTo>
                <a:lnTo>
                  <a:pt x="1667794" y="1005442"/>
                </a:lnTo>
                <a:lnTo>
                  <a:pt x="1663028" y="1019736"/>
                </a:lnTo>
                <a:lnTo>
                  <a:pt x="1639204" y="1014972"/>
                </a:lnTo>
                <a:lnTo>
                  <a:pt x="1634438" y="1010206"/>
                </a:lnTo>
                <a:lnTo>
                  <a:pt x="1639204" y="995912"/>
                </a:lnTo>
                <a:lnTo>
                  <a:pt x="1648734" y="995912"/>
                </a:lnTo>
                <a:lnTo>
                  <a:pt x="1648734" y="986382"/>
                </a:lnTo>
                <a:lnTo>
                  <a:pt x="1653498" y="976852"/>
                </a:lnTo>
                <a:close/>
                <a:moveTo>
                  <a:pt x="1939406" y="795776"/>
                </a:moveTo>
                <a:lnTo>
                  <a:pt x="1944172" y="795776"/>
                </a:lnTo>
                <a:lnTo>
                  <a:pt x="1939406" y="805308"/>
                </a:lnTo>
                <a:lnTo>
                  <a:pt x="1944172" y="810072"/>
                </a:lnTo>
                <a:lnTo>
                  <a:pt x="1944172" y="814838"/>
                </a:lnTo>
                <a:lnTo>
                  <a:pt x="1939406" y="819602"/>
                </a:lnTo>
                <a:lnTo>
                  <a:pt x="1934642" y="829132"/>
                </a:lnTo>
                <a:lnTo>
                  <a:pt x="1948936" y="838664"/>
                </a:lnTo>
                <a:lnTo>
                  <a:pt x="1967998" y="833898"/>
                </a:lnTo>
                <a:lnTo>
                  <a:pt x="1972762" y="833898"/>
                </a:lnTo>
                <a:lnTo>
                  <a:pt x="1982292" y="838664"/>
                </a:lnTo>
                <a:lnTo>
                  <a:pt x="1987058" y="848194"/>
                </a:lnTo>
                <a:lnTo>
                  <a:pt x="1977528" y="862488"/>
                </a:lnTo>
                <a:lnTo>
                  <a:pt x="1967998" y="876784"/>
                </a:lnTo>
                <a:lnTo>
                  <a:pt x="1958468" y="895844"/>
                </a:lnTo>
                <a:lnTo>
                  <a:pt x="1948936" y="914906"/>
                </a:lnTo>
                <a:lnTo>
                  <a:pt x="1934642" y="924436"/>
                </a:lnTo>
                <a:lnTo>
                  <a:pt x="1925112" y="929200"/>
                </a:lnTo>
                <a:lnTo>
                  <a:pt x="1896520" y="914906"/>
                </a:lnTo>
                <a:lnTo>
                  <a:pt x="1882224" y="914906"/>
                </a:lnTo>
                <a:lnTo>
                  <a:pt x="1877460" y="910140"/>
                </a:lnTo>
                <a:lnTo>
                  <a:pt x="1872694" y="886314"/>
                </a:lnTo>
                <a:lnTo>
                  <a:pt x="1867930" y="881550"/>
                </a:lnTo>
                <a:lnTo>
                  <a:pt x="1853634" y="876784"/>
                </a:lnTo>
                <a:lnTo>
                  <a:pt x="1848868" y="886314"/>
                </a:lnTo>
                <a:lnTo>
                  <a:pt x="1834574" y="895844"/>
                </a:lnTo>
                <a:lnTo>
                  <a:pt x="1829808" y="886314"/>
                </a:lnTo>
                <a:lnTo>
                  <a:pt x="1820278" y="881550"/>
                </a:lnTo>
                <a:lnTo>
                  <a:pt x="1815514" y="876784"/>
                </a:lnTo>
                <a:lnTo>
                  <a:pt x="1815514" y="867254"/>
                </a:lnTo>
                <a:lnTo>
                  <a:pt x="1877460" y="819602"/>
                </a:lnTo>
                <a:lnTo>
                  <a:pt x="1896520" y="805308"/>
                </a:lnTo>
                <a:close/>
                <a:moveTo>
                  <a:pt x="2077594" y="771952"/>
                </a:moveTo>
                <a:lnTo>
                  <a:pt x="2106186" y="781482"/>
                </a:lnTo>
                <a:lnTo>
                  <a:pt x="2120482" y="805306"/>
                </a:lnTo>
                <a:lnTo>
                  <a:pt x="2120482" y="810072"/>
                </a:lnTo>
                <a:lnTo>
                  <a:pt x="2115716" y="819602"/>
                </a:lnTo>
                <a:lnTo>
                  <a:pt x="2110950" y="824368"/>
                </a:lnTo>
                <a:lnTo>
                  <a:pt x="2063300" y="800542"/>
                </a:lnTo>
                <a:lnTo>
                  <a:pt x="2049004" y="795776"/>
                </a:lnTo>
                <a:lnTo>
                  <a:pt x="2044238" y="791012"/>
                </a:lnTo>
                <a:lnTo>
                  <a:pt x="2044238" y="781482"/>
                </a:lnTo>
                <a:lnTo>
                  <a:pt x="2044238" y="776716"/>
                </a:lnTo>
                <a:close/>
                <a:moveTo>
                  <a:pt x="243022" y="0"/>
                </a:moveTo>
                <a:lnTo>
                  <a:pt x="257316" y="4766"/>
                </a:lnTo>
                <a:lnTo>
                  <a:pt x="271612" y="4766"/>
                </a:lnTo>
                <a:lnTo>
                  <a:pt x="290672" y="14296"/>
                </a:lnTo>
                <a:lnTo>
                  <a:pt x="309734" y="33356"/>
                </a:lnTo>
                <a:lnTo>
                  <a:pt x="343090" y="42888"/>
                </a:lnTo>
                <a:lnTo>
                  <a:pt x="366914" y="38122"/>
                </a:lnTo>
                <a:lnTo>
                  <a:pt x="409800" y="33356"/>
                </a:lnTo>
                <a:lnTo>
                  <a:pt x="433626" y="38122"/>
                </a:lnTo>
                <a:lnTo>
                  <a:pt x="471748" y="33356"/>
                </a:lnTo>
                <a:lnTo>
                  <a:pt x="495574" y="33356"/>
                </a:lnTo>
                <a:lnTo>
                  <a:pt x="528930" y="23826"/>
                </a:lnTo>
                <a:lnTo>
                  <a:pt x="557520" y="38122"/>
                </a:lnTo>
                <a:lnTo>
                  <a:pt x="614702" y="42888"/>
                </a:lnTo>
                <a:lnTo>
                  <a:pt x="648058" y="57182"/>
                </a:lnTo>
                <a:lnTo>
                  <a:pt x="738594" y="71478"/>
                </a:lnTo>
                <a:lnTo>
                  <a:pt x="771950" y="71478"/>
                </a:lnTo>
                <a:lnTo>
                  <a:pt x="814836" y="61948"/>
                </a:lnTo>
                <a:lnTo>
                  <a:pt x="838662" y="57182"/>
                </a:lnTo>
                <a:lnTo>
                  <a:pt x="852958" y="61948"/>
                </a:lnTo>
                <a:lnTo>
                  <a:pt x="881548" y="52418"/>
                </a:lnTo>
                <a:lnTo>
                  <a:pt x="895844" y="52418"/>
                </a:lnTo>
                <a:lnTo>
                  <a:pt x="910140" y="66712"/>
                </a:lnTo>
                <a:lnTo>
                  <a:pt x="967320" y="81008"/>
                </a:lnTo>
                <a:lnTo>
                  <a:pt x="981616" y="66712"/>
                </a:lnTo>
                <a:lnTo>
                  <a:pt x="995912" y="66712"/>
                </a:lnTo>
                <a:lnTo>
                  <a:pt x="1038798" y="76244"/>
                </a:lnTo>
                <a:lnTo>
                  <a:pt x="1076918" y="90538"/>
                </a:lnTo>
                <a:lnTo>
                  <a:pt x="1100744" y="95304"/>
                </a:lnTo>
                <a:lnTo>
                  <a:pt x="1134100" y="90538"/>
                </a:lnTo>
                <a:lnTo>
                  <a:pt x="1157926" y="76244"/>
                </a:lnTo>
                <a:lnTo>
                  <a:pt x="1162690" y="76244"/>
                </a:lnTo>
                <a:lnTo>
                  <a:pt x="1162690" y="81008"/>
                </a:lnTo>
                <a:lnTo>
                  <a:pt x="1172222" y="95304"/>
                </a:lnTo>
                <a:lnTo>
                  <a:pt x="1176986" y="95304"/>
                </a:lnTo>
                <a:lnTo>
                  <a:pt x="1191282" y="100068"/>
                </a:lnTo>
                <a:lnTo>
                  <a:pt x="1200812" y="104834"/>
                </a:lnTo>
                <a:lnTo>
                  <a:pt x="1215108" y="104834"/>
                </a:lnTo>
                <a:lnTo>
                  <a:pt x="1224638" y="109598"/>
                </a:lnTo>
                <a:lnTo>
                  <a:pt x="1224638" y="119130"/>
                </a:lnTo>
                <a:lnTo>
                  <a:pt x="1219872" y="128660"/>
                </a:lnTo>
                <a:lnTo>
                  <a:pt x="1215108" y="138190"/>
                </a:lnTo>
                <a:lnTo>
                  <a:pt x="1210342" y="147720"/>
                </a:lnTo>
                <a:lnTo>
                  <a:pt x="1215108" y="152486"/>
                </a:lnTo>
                <a:lnTo>
                  <a:pt x="1219872" y="152486"/>
                </a:lnTo>
                <a:lnTo>
                  <a:pt x="1224638" y="157250"/>
                </a:lnTo>
                <a:lnTo>
                  <a:pt x="1229402" y="152486"/>
                </a:lnTo>
                <a:lnTo>
                  <a:pt x="1234168" y="147720"/>
                </a:lnTo>
                <a:lnTo>
                  <a:pt x="1238932" y="142954"/>
                </a:lnTo>
                <a:lnTo>
                  <a:pt x="1243698" y="147720"/>
                </a:lnTo>
                <a:lnTo>
                  <a:pt x="1262758" y="157250"/>
                </a:lnTo>
                <a:lnTo>
                  <a:pt x="1296114" y="171546"/>
                </a:lnTo>
                <a:lnTo>
                  <a:pt x="1310410" y="171546"/>
                </a:lnTo>
                <a:lnTo>
                  <a:pt x="1324706" y="176310"/>
                </a:lnTo>
                <a:lnTo>
                  <a:pt x="1329470" y="181076"/>
                </a:lnTo>
                <a:lnTo>
                  <a:pt x="1353296" y="204902"/>
                </a:lnTo>
                <a:lnTo>
                  <a:pt x="1358062" y="204902"/>
                </a:lnTo>
                <a:lnTo>
                  <a:pt x="1367592" y="204902"/>
                </a:lnTo>
                <a:lnTo>
                  <a:pt x="1381886" y="204902"/>
                </a:lnTo>
                <a:lnTo>
                  <a:pt x="1391416" y="200136"/>
                </a:lnTo>
                <a:lnTo>
                  <a:pt x="1396182" y="200136"/>
                </a:lnTo>
                <a:lnTo>
                  <a:pt x="1405712" y="204902"/>
                </a:lnTo>
                <a:lnTo>
                  <a:pt x="1410478" y="209666"/>
                </a:lnTo>
                <a:lnTo>
                  <a:pt x="1420008" y="214432"/>
                </a:lnTo>
                <a:lnTo>
                  <a:pt x="1429538" y="223962"/>
                </a:lnTo>
                <a:lnTo>
                  <a:pt x="1439068" y="228728"/>
                </a:lnTo>
                <a:lnTo>
                  <a:pt x="1477190" y="223962"/>
                </a:lnTo>
                <a:lnTo>
                  <a:pt x="1481954" y="228728"/>
                </a:lnTo>
                <a:lnTo>
                  <a:pt x="1491484" y="228728"/>
                </a:lnTo>
                <a:lnTo>
                  <a:pt x="1501014" y="228728"/>
                </a:lnTo>
                <a:lnTo>
                  <a:pt x="1524840" y="228728"/>
                </a:lnTo>
                <a:lnTo>
                  <a:pt x="1543900" y="228728"/>
                </a:lnTo>
                <a:lnTo>
                  <a:pt x="1543900" y="204902"/>
                </a:lnTo>
                <a:lnTo>
                  <a:pt x="1548666" y="195372"/>
                </a:lnTo>
                <a:lnTo>
                  <a:pt x="1553432" y="195372"/>
                </a:lnTo>
                <a:lnTo>
                  <a:pt x="1562962" y="195372"/>
                </a:lnTo>
                <a:lnTo>
                  <a:pt x="1601082" y="209666"/>
                </a:lnTo>
                <a:lnTo>
                  <a:pt x="1615378" y="219196"/>
                </a:lnTo>
                <a:lnTo>
                  <a:pt x="1634438" y="223962"/>
                </a:lnTo>
                <a:lnTo>
                  <a:pt x="1643968" y="223962"/>
                </a:lnTo>
                <a:lnTo>
                  <a:pt x="1653498" y="228728"/>
                </a:lnTo>
                <a:lnTo>
                  <a:pt x="1667794" y="247788"/>
                </a:lnTo>
                <a:lnTo>
                  <a:pt x="1663030" y="257318"/>
                </a:lnTo>
                <a:lnTo>
                  <a:pt x="1667794" y="262082"/>
                </a:lnTo>
                <a:lnTo>
                  <a:pt x="1667794" y="271614"/>
                </a:lnTo>
                <a:lnTo>
                  <a:pt x="1667794" y="276378"/>
                </a:lnTo>
                <a:lnTo>
                  <a:pt x="1672560" y="281144"/>
                </a:lnTo>
                <a:lnTo>
                  <a:pt x="1677324" y="281144"/>
                </a:lnTo>
                <a:lnTo>
                  <a:pt x="1682090" y="281144"/>
                </a:lnTo>
                <a:lnTo>
                  <a:pt x="1691620" y="276378"/>
                </a:lnTo>
                <a:lnTo>
                  <a:pt x="1705916" y="271614"/>
                </a:lnTo>
                <a:lnTo>
                  <a:pt x="1710680" y="266848"/>
                </a:lnTo>
                <a:lnTo>
                  <a:pt x="1734506" y="276378"/>
                </a:lnTo>
                <a:lnTo>
                  <a:pt x="1744036" y="285908"/>
                </a:lnTo>
                <a:lnTo>
                  <a:pt x="1748802" y="290674"/>
                </a:lnTo>
                <a:lnTo>
                  <a:pt x="1753566" y="300204"/>
                </a:lnTo>
                <a:lnTo>
                  <a:pt x="1763096" y="300204"/>
                </a:lnTo>
                <a:lnTo>
                  <a:pt x="1772626" y="290674"/>
                </a:lnTo>
                <a:lnTo>
                  <a:pt x="1786922" y="285908"/>
                </a:lnTo>
                <a:lnTo>
                  <a:pt x="1815514" y="290674"/>
                </a:lnTo>
                <a:lnTo>
                  <a:pt x="1844104" y="300204"/>
                </a:lnTo>
                <a:lnTo>
                  <a:pt x="1858400" y="304970"/>
                </a:lnTo>
                <a:lnTo>
                  <a:pt x="1858400" y="300204"/>
                </a:lnTo>
                <a:lnTo>
                  <a:pt x="1863164" y="290674"/>
                </a:lnTo>
                <a:lnTo>
                  <a:pt x="1867930" y="285908"/>
                </a:lnTo>
                <a:lnTo>
                  <a:pt x="1872694" y="285908"/>
                </a:lnTo>
                <a:lnTo>
                  <a:pt x="1882224" y="285908"/>
                </a:lnTo>
                <a:lnTo>
                  <a:pt x="1896520" y="276378"/>
                </a:lnTo>
                <a:lnTo>
                  <a:pt x="1906050" y="276378"/>
                </a:lnTo>
                <a:lnTo>
                  <a:pt x="1920346" y="281144"/>
                </a:lnTo>
                <a:lnTo>
                  <a:pt x="1934642" y="285908"/>
                </a:lnTo>
                <a:lnTo>
                  <a:pt x="1944172" y="285908"/>
                </a:lnTo>
                <a:lnTo>
                  <a:pt x="1948936" y="295438"/>
                </a:lnTo>
                <a:lnTo>
                  <a:pt x="1958466" y="300204"/>
                </a:lnTo>
                <a:lnTo>
                  <a:pt x="1963232" y="314500"/>
                </a:lnTo>
                <a:lnTo>
                  <a:pt x="1948936" y="319264"/>
                </a:lnTo>
                <a:lnTo>
                  <a:pt x="1939406" y="319264"/>
                </a:lnTo>
                <a:lnTo>
                  <a:pt x="1934642" y="338324"/>
                </a:lnTo>
                <a:lnTo>
                  <a:pt x="1939406" y="347856"/>
                </a:lnTo>
                <a:lnTo>
                  <a:pt x="1948936" y="352620"/>
                </a:lnTo>
                <a:lnTo>
                  <a:pt x="1948936" y="357386"/>
                </a:lnTo>
                <a:lnTo>
                  <a:pt x="1953702" y="385976"/>
                </a:lnTo>
                <a:lnTo>
                  <a:pt x="1934642" y="405036"/>
                </a:lnTo>
                <a:lnTo>
                  <a:pt x="1915580" y="424098"/>
                </a:lnTo>
                <a:lnTo>
                  <a:pt x="1805982" y="486044"/>
                </a:lnTo>
                <a:lnTo>
                  <a:pt x="1777392" y="514634"/>
                </a:lnTo>
                <a:lnTo>
                  <a:pt x="1767862" y="524164"/>
                </a:lnTo>
                <a:lnTo>
                  <a:pt x="1686854" y="543226"/>
                </a:lnTo>
                <a:lnTo>
                  <a:pt x="1634438" y="562286"/>
                </a:lnTo>
                <a:lnTo>
                  <a:pt x="1605848" y="571816"/>
                </a:lnTo>
                <a:lnTo>
                  <a:pt x="1572492" y="605172"/>
                </a:lnTo>
                <a:lnTo>
                  <a:pt x="1558196" y="619468"/>
                </a:lnTo>
                <a:lnTo>
                  <a:pt x="1567726" y="624232"/>
                </a:lnTo>
                <a:lnTo>
                  <a:pt x="1582022" y="638528"/>
                </a:lnTo>
                <a:lnTo>
                  <a:pt x="1577256" y="648058"/>
                </a:lnTo>
                <a:lnTo>
                  <a:pt x="1558196" y="657588"/>
                </a:lnTo>
                <a:lnTo>
                  <a:pt x="1548666" y="662354"/>
                </a:lnTo>
                <a:lnTo>
                  <a:pt x="1543900" y="662354"/>
                </a:lnTo>
                <a:lnTo>
                  <a:pt x="1539136" y="662354"/>
                </a:lnTo>
                <a:lnTo>
                  <a:pt x="1501014" y="724300"/>
                </a:lnTo>
                <a:lnTo>
                  <a:pt x="1467658" y="767186"/>
                </a:lnTo>
                <a:lnTo>
                  <a:pt x="1448598" y="786246"/>
                </a:lnTo>
                <a:lnTo>
                  <a:pt x="1434302" y="814838"/>
                </a:lnTo>
                <a:lnTo>
                  <a:pt x="1391416" y="886314"/>
                </a:lnTo>
                <a:lnTo>
                  <a:pt x="1391416" y="905376"/>
                </a:lnTo>
                <a:lnTo>
                  <a:pt x="1410478" y="976852"/>
                </a:lnTo>
                <a:lnTo>
                  <a:pt x="1424772" y="995912"/>
                </a:lnTo>
                <a:lnTo>
                  <a:pt x="1439068" y="1014972"/>
                </a:lnTo>
                <a:lnTo>
                  <a:pt x="1467658" y="1024504"/>
                </a:lnTo>
                <a:lnTo>
                  <a:pt x="1477190" y="1038798"/>
                </a:lnTo>
                <a:lnTo>
                  <a:pt x="1462894" y="1053094"/>
                </a:lnTo>
                <a:lnTo>
                  <a:pt x="1434302" y="1072154"/>
                </a:lnTo>
                <a:lnTo>
                  <a:pt x="1386652" y="1105510"/>
                </a:lnTo>
                <a:lnTo>
                  <a:pt x="1362826" y="1129336"/>
                </a:lnTo>
                <a:lnTo>
                  <a:pt x="1358062" y="1148396"/>
                </a:lnTo>
                <a:lnTo>
                  <a:pt x="1343766" y="1162692"/>
                </a:lnTo>
                <a:lnTo>
                  <a:pt x="1339000" y="1191282"/>
                </a:lnTo>
                <a:lnTo>
                  <a:pt x="1329470" y="1215108"/>
                </a:lnTo>
                <a:lnTo>
                  <a:pt x="1324706" y="1219874"/>
                </a:lnTo>
                <a:lnTo>
                  <a:pt x="1315174" y="1234168"/>
                </a:lnTo>
                <a:lnTo>
                  <a:pt x="1315174" y="1248464"/>
                </a:lnTo>
                <a:lnTo>
                  <a:pt x="1329470" y="1262760"/>
                </a:lnTo>
                <a:lnTo>
                  <a:pt x="1324706" y="1272290"/>
                </a:lnTo>
                <a:lnTo>
                  <a:pt x="1315174" y="1272290"/>
                </a:lnTo>
                <a:lnTo>
                  <a:pt x="1296114" y="1277056"/>
                </a:lnTo>
                <a:lnTo>
                  <a:pt x="1234168" y="1277056"/>
                </a:lnTo>
                <a:lnTo>
                  <a:pt x="1186516" y="1310410"/>
                </a:lnTo>
                <a:lnTo>
                  <a:pt x="1162690" y="1343766"/>
                </a:lnTo>
                <a:lnTo>
                  <a:pt x="1143630" y="1396184"/>
                </a:lnTo>
                <a:lnTo>
                  <a:pt x="1115040" y="1429540"/>
                </a:lnTo>
                <a:lnTo>
                  <a:pt x="1100744" y="1439070"/>
                </a:lnTo>
                <a:lnTo>
                  <a:pt x="1086448" y="1424774"/>
                </a:lnTo>
                <a:lnTo>
                  <a:pt x="1062624" y="1420008"/>
                </a:lnTo>
                <a:lnTo>
                  <a:pt x="1038798" y="1424774"/>
                </a:lnTo>
                <a:lnTo>
                  <a:pt x="1029268" y="1439070"/>
                </a:lnTo>
                <a:lnTo>
                  <a:pt x="1010206" y="1443834"/>
                </a:lnTo>
                <a:lnTo>
                  <a:pt x="991146" y="1439070"/>
                </a:lnTo>
                <a:lnTo>
                  <a:pt x="953026" y="1434304"/>
                </a:lnTo>
                <a:lnTo>
                  <a:pt x="933964" y="1434304"/>
                </a:lnTo>
                <a:lnTo>
                  <a:pt x="910140" y="1443834"/>
                </a:lnTo>
                <a:lnTo>
                  <a:pt x="886314" y="1439070"/>
                </a:lnTo>
                <a:lnTo>
                  <a:pt x="848192" y="1434304"/>
                </a:lnTo>
                <a:lnTo>
                  <a:pt x="762420" y="1443834"/>
                </a:lnTo>
                <a:lnTo>
                  <a:pt x="752890" y="1443834"/>
                </a:lnTo>
                <a:lnTo>
                  <a:pt x="738594" y="1458130"/>
                </a:lnTo>
                <a:lnTo>
                  <a:pt x="714768" y="1481956"/>
                </a:lnTo>
                <a:lnTo>
                  <a:pt x="671882" y="1481956"/>
                </a:lnTo>
                <a:lnTo>
                  <a:pt x="638526" y="1501016"/>
                </a:lnTo>
                <a:lnTo>
                  <a:pt x="628996" y="1510546"/>
                </a:lnTo>
                <a:lnTo>
                  <a:pt x="609936" y="1534372"/>
                </a:lnTo>
                <a:lnTo>
                  <a:pt x="605170" y="1553432"/>
                </a:lnTo>
                <a:lnTo>
                  <a:pt x="605170" y="1558198"/>
                </a:lnTo>
                <a:lnTo>
                  <a:pt x="600406" y="1553432"/>
                </a:lnTo>
                <a:lnTo>
                  <a:pt x="595640" y="1553432"/>
                </a:lnTo>
                <a:lnTo>
                  <a:pt x="590876" y="1567728"/>
                </a:lnTo>
                <a:lnTo>
                  <a:pt x="576580" y="1572492"/>
                </a:lnTo>
                <a:lnTo>
                  <a:pt x="567050" y="1577258"/>
                </a:lnTo>
                <a:lnTo>
                  <a:pt x="538460" y="1562962"/>
                </a:lnTo>
                <a:lnTo>
                  <a:pt x="514634" y="1543902"/>
                </a:lnTo>
                <a:lnTo>
                  <a:pt x="500338" y="1543902"/>
                </a:lnTo>
                <a:lnTo>
                  <a:pt x="481278" y="1515312"/>
                </a:lnTo>
                <a:lnTo>
                  <a:pt x="471748" y="1501016"/>
                </a:lnTo>
                <a:lnTo>
                  <a:pt x="466982" y="1481956"/>
                </a:lnTo>
                <a:lnTo>
                  <a:pt x="466982" y="1472426"/>
                </a:lnTo>
                <a:lnTo>
                  <a:pt x="466982" y="1467660"/>
                </a:lnTo>
                <a:lnTo>
                  <a:pt x="447922" y="1458130"/>
                </a:lnTo>
                <a:lnTo>
                  <a:pt x="443156" y="1439070"/>
                </a:lnTo>
                <a:lnTo>
                  <a:pt x="457452" y="1415244"/>
                </a:lnTo>
                <a:lnTo>
                  <a:pt x="466982" y="1405714"/>
                </a:lnTo>
                <a:lnTo>
                  <a:pt x="457452" y="1405714"/>
                </a:lnTo>
                <a:lnTo>
                  <a:pt x="443156" y="1420008"/>
                </a:lnTo>
                <a:lnTo>
                  <a:pt x="428862" y="1396184"/>
                </a:lnTo>
                <a:lnTo>
                  <a:pt x="366914" y="1348532"/>
                </a:lnTo>
                <a:lnTo>
                  <a:pt x="371680" y="1339002"/>
                </a:lnTo>
                <a:lnTo>
                  <a:pt x="371680" y="1334236"/>
                </a:lnTo>
                <a:lnTo>
                  <a:pt x="362150" y="1343766"/>
                </a:lnTo>
                <a:lnTo>
                  <a:pt x="352620" y="1348532"/>
                </a:lnTo>
                <a:lnTo>
                  <a:pt x="324028" y="1348532"/>
                </a:lnTo>
                <a:lnTo>
                  <a:pt x="285908" y="1353296"/>
                </a:lnTo>
                <a:lnTo>
                  <a:pt x="276378" y="1305646"/>
                </a:lnTo>
                <a:lnTo>
                  <a:pt x="271612" y="1286586"/>
                </a:lnTo>
                <a:lnTo>
                  <a:pt x="271612" y="1272290"/>
                </a:lnTo>
                <a:lnTo>
                  <a:pt x="281142" y="1243700"/>
                </a:lnTo>
                <a:lnTo>
                  <a:pt x="290672" y="1234168"/>
                </a:lnTo>
                <a:lnTo>
                  <a:pt x="304968" y="1210344"/>
                </a:lnTo>
                <a:lnTo>
                  <a:pt x="324028" y="1191282"/>
                </a:lnTo>
                <a:lnTo>
                  <a:pt x="338324" y="1186518"/>
                </a:lnTo>
                <a:lnTo>
                  <a:pt x="347854" y="1181752"/>
                </a:lnTo>
                <a:lnTo>
                  <a:pt x="352620" y="1167458"/>
                </a:lnTo>
                <a:lnTo>
                  <a:pt x="357384" y="1153162"/>
                </a:lnTo>
                <a:lnTo>
                  <a:pt x="352620" y="1153162"/>
                </a:lnTo>
                <a:lnTo>
                  <a:pt x="333558" y="1153162"/>
                </a:lnTo>
                <a:lnTo>
                  <a:pt x="295438" y="1100746"/>
                </a:lnTo>
                <a:lnTo>
                  <a:pt x="300202" y="1091216"/>
                </a:lnTo>
                <a:lnTo>
                  <a:pt x="304968" y="1076920"/>
                </a:lnTo>
                <a:lnTo>
                  <a:pt x="304968" y="1062624"/>
                </a:lnTo>
                <a:lnTo>
                  <a:pt x="304968" y="1048328"/>
                </a:lnTo>
                <a:lnTo>
                  <a:pt x="314498" y="1038798"/>
                </a:lnTo>
                <a:lnTo>
                  <a:pt x="328794" y="1024504"/>
                </a:lnTo>
                <a:lnTo>
                  <a:pt x="343090" y="1010208"/>
                </a:lnTo>
                <a:lnTo>
                  <a:pt x="347854" y="995912"/>
                </a:lnTo>
                <a:lnTo>
                  <a:pt x="352620" y="981618"/>
                </a:lnTo>
                <a:lnTo>
                  <a:pt x="343090" y="967322"/>
                </a:lnTo>
                <a:lnTo>
                  <a:pt x="324028" y="962556"/>
                </a:lnTo>
                <a:lnTo>
                  <a:pt x="304968" y="924436"/>
                </a:lnTo>
                <a:lnTo>
                  <a:pt x="300202" y="895844"/>
                </a:lnTo>
                <a:lnTo>
                  <a:pt x="295438" y="895844"/>
                </a:lnTo>
                <a:lnTo>
                  <a:pt x="281142" y="881550"/>
                </a:lnTo>
                <a:lnTo>
                  <a:pt x="266848" y="862488"/>
                </a:lnTo>
                <a:lnTo>
                  <a:pt x="266848" y="857724"/>
                </a:lnTo>
                <a:lnTo>
                  <a:pt x="281142" y="852958"/>
                </a:lnTo>
                <a:lnTo>
                  <a:pt x="333558" y="852958"/>
                </a:lnTo>
                <a:lnTo>
                  <a:pt x="343090" y="848194"/>
                </a:lnTo>
                <a:lnTo>
                  <a:pt x="352620" y="829134"/>
                </a:lnTo>
                <a:lnTo>
                  <a:pt x="366914" y="800542"/>
                </a:lnTo>
                <a:lnTo>
                  <a:pt x="366914" y="781482"/>
                </a:lnTo>
                <a:lnTo>
                  <a:pt x="362150" y="776716"/>
                </a:lnTo>
                <a:lnTo>
                  <a:pt x="347854" y="757656"/>
                </a:lnTo>
                <a:lnTo>
                  <a:pt x="347854" y="752892"/>
                </a:lnTo>
                <a:lnTo>
                  <a:pt x="347854" y="743360"/>
                </a:lnTo>
                <a:lnTo>
                  <a:pt x="357384" y="738596"/>
                </a:lnTo>
                <a:lnTo>
                  <a:pt x="371680" y="729066"/>
                </a:lnTo>
                <a:lnTo>
                  <a:pt x="381210" y="719536"/>
                </a:lnTo>
                <a:lnTo>
                  <a:pt x="381210" y="710004"/>
                </a:lnTo>
                <a:lnTo>
                  <a:pt x="376444" y="705240"/>
                </a:lnTo>
                <a:lnTo>
                  <a:pt x="371680" y="695710"/>
                </a:lnTo>
                <a:lnTo>
                  <a:pt x="376444" y="690944"/>
                </a:lnTo>
                <a:lnTo>
                  <a:pt x="376444" y="662354"/>
                </a:lnTo>
                <a:lnTo>
                  <a:pt x="381210" y="652824"/>
                </a:lnTo>
                <a:lnTo>
                  <a:pt x="376444" y="628998"/>
                </a:lnTo>
                <a:lnTo>
                  <a:pt x="371680" y="609938"/>
                </a:lnTo>
                <a:lnTo>
                  <a:pt x="362150" y="581346"/>
                </a:lnTo>
                <a:lnTo>
                  <a:pt x="362150" y="576582"/>
                </a:lnTo>
                <a:lnTo>
                  <a:pt x="366914" y="571816"/>
                </a:lnTo>
                <a:lnTo>
                  <a:pt x="385976" y="562286"/>
                </a:lnTo>
                <a:lnTo>
                  <a:pt x="400270" y="538460"/>
                </a:lnTo>
                <a:lnTo>
                  <a:pt x="419332" y="519400"/>
                </a:lnTo>
                <a:lnTo>
                  <a:pt x="443156" y="505104"/>
                </a:lnTo>
                <a:lnTo>
                  <a:pt x="462218" y="486044"/>
                </a:lnTo>
                <a:lnTo>
                  <a:pt x="466982" y="476514"/>
                </a:lnTo>
                <a:lnTo>
                  <a:pt x="471748" y="471748"/>
                </a:lnTo>
                <a:lnTo>
                  <a:pt x="471748" y="466984"/>
                </a:lnTo>
                <a:lnTo>
                  <a:pt x="466982" y="457454"/>
                </a:lnTo>
                <a:lnTo>
                  <a:pt x="457452" y="447922"/>
                </a:lnTo>
                <a:lnTo>
                  <a:pt x="447922" y="443158"/>
                </a:lnTo>
                <a:lnTo>
                  <a:pt x="428862" y="443158"/>
                </a:lnTo>
                <a:lnTo>
                  <a:pt x="424096" y="443158"/>
                </a:lnTo>
                <a:lnTo>
                  <a:pt x="419332" y="438392"/>
                </a:lnTo>
                <a:lnTo>
                  <a:pt x="419332" y="419332"/>
                </a:lnTo>
                <a:lnTo>
                  <a:pt x="419332" y="400272"/>
                </a:lnTo>
                <a:lnTo>
                  <a:pt x="419332" y="390742"/>
                </a:lnTo>
                <a:lnTo>
                  <a:pt x="409800" y="385976"/>
                </a:lnTo>
                <a:lnTo>
                  <a:pt x="395506" y="385976"/>
                </a:lnTo>
                <a:lnTo>
                  <a:pt x="385976" y="381212"/>
                </a:lnTo>
                <a:lnTo>
                  <a:pt x="376444" y="381212"/>
                </a:lnTo>
                <a:lnTo>
                  <a:pt x="371680" y="385976"/>
                </a:lnTo>
                <a:lnTo>
                  <a:pt x="347854" y="385976"/>
                </a:lnTo>
                <a:lnTo>
                  <a:pt x="333558" y="381212"/>
                </a:lnTo>
                <a:lnTo>
                  <a:pt x="328794" y="376446"/>
                </a:lnTo>
                <a:lnTo>
                  <a:pt x="324028" y="381212"/>
                </a:lnTo>
                <a:lnTo>
                  <a:pt x="319264" y="385976"/>
                </a:lnTo>
                <a:lnTo>
                  <a:pt x="319264" y="390742"/>
                </a:lnTo>
                <a:lnTo>
                  <a:pt x="319264" y="395506"/>
                </a:lnTo>
                <a:lnTo>
                  <a:pt x="309734" y="405036"/>
                </a:lnTo>
                <a:lnTo>
                  <a:pt x="285908" y="409802"/>
                </a:lnTo>
                <a:lnTo>
                  <a:pt x="271612" y="409802"/>
                </a:lnTo>
                <a:lnTo>
                  <a:pt x="252552" y="405036"/>
                </a:lnTo>
                <a:lnTo>
                  <a:pt x="247786" y="400272"/>
                </a:lnTo>
                <a:lnTo>
                  <a:pt x="243022" y="400272"/>
                </a:lnTo>
                <a:lnTo>
                  <a:pt x="209666" y="400272"/>
                </a:lnTo>
                <a:lnTo>
                  <a:pt x="204900" y="400272"/>
                </a:lnTo>
                <a:lnTo>
                  <a:pt x="195370" y="405036"/>
                </a:lnTo>
                <a:lnTo>
                  <a:pt x="181074" y="414568"/>
                </a:lnTo>
                <a:lnTo>
                  <a:pt x="171544" y="414568"/>
                </a:lnTo>
                <a:lnTo>
                  <a:pt x="166780" y="409802"/>
                </a:lnTo>
                <a:lnTo>
                  <a:pt x="157250" y="395506"/>
                </a:lnTo>
                <a:lnTo>
                  <a:pt x="162014" y="390742"/>
                </a:lnTo>
                <a:lnTo>
                  <a:pt x="176310" y="371680"/>
                </a:lnTo>
                <a:lnTo>
                  <a:pt x="171544" y="366916"/>
                </a:lnTo>
                <a:lnTo>
                  <a:pt x="166780" y="362150"/>
                </a:lnTo>
                <a:lnTo>
                  <a:pt x="162014" y="352620"/>
                </a:lnTo>
                <a:lnTo>
                  <a:pt x="162014" y="347856"/>
                </a:lnTo>
                <a:lnTo>
                  <a:pt x="152484" y="347856"/>
                </a:lnTo>
                <a:lnTo>
                  <a:pt x="142954" y="347856"/>
                </a:lnTo>
                <a:lnTo>
                  <a:pt x="109598" y="362150"/>
                </a:lnTo>
                <a:lnTo>
                  <a:pt x="104832" y="362150"/>
                </a:lnTo>
                <a:lnTo>
                  <a:pt x="85772" y="371680"/>
                </a:lnTo>
                <a:lnTo>
                  <a:pt x="71476" y="385976"/>
                </a:lnTo>
                <a:lnTo>
                  <a:pt x="61946" y="390742"/>
                </a:lnTo>
                <a:lnTo>
                  <a:pt x="57182" y="385976"/>
                </a:lnTo>
                <a:lnTo>
                  <a:pt x="57182" y="352620"/>
                </a:lnTo>
                <a:lnTo>
                  <a:pt x="71476" y="328794"/>
                </a:lnTo>
                <a:lnTo>
                  <a:pt x="85772" y="314500"/>
                </a:lnTo>
                <a:lnTo>
                  <a:pt x="81008" y="314500"/>
                </a:lnTo>
                <a:lnTo>
                  <a:pt x="66712" y="314500"/>
                </a:lnTo>
                <a:lnTo>
                  <a:pt x="66712" y="304970"/>
                </a:lnTo>
                <a:lnTo>
                  <a:pt x="76242" y="300204"/>
                </a:lnTo>
                <a:lnTo>
                  <a:pt x="81008" y="285908"/>
                </a:lnTo>
                <a:lnTo>
                  <a:pt x="71476" y="281144"/>
                </a:lnTo>
                <a:lnTo>
                  <a:pt x="66712" y="276378"/>
                </a:lnTo>
                <a:lnTo>
                  <a:pt x="66712" y="257318"/>
                </a:lnTo>
                <a:lnTo>
                  <a:pt x="71476" y="247788"/>
                </a:lnTo>
                <a:lnTo>
                  <a:pt x="66712" y="238258"/>
                </a:lnTo>
                <a:lnTo>
                  <a:pt x="38122" y="252552"/>
                </a:lnTo>
                <a:lnTo>
                  <a:pt x="33356" y="247788"/>
                </a:lnTo>
                <a:lnTo>
                  <a:pt x="33356" y="233492"/>
                </a:lnTo>
                <a:lnTo>
                  <a:pt x="47652" y="214432"/>
                </a:lnTo>
                <a:lnTo>
                  <a:pt x="47652" y="204902"/>
                </a:lnTo>
                <a:lnTo>
                  <a:pt x="33356" y="200136"/>
                </a:lnTo>
                <a:lnTo>
                  <a:pt x="19060" y="190606"/>
                </a:lnTo>
                <a:lnTo>
                  <a:pt x="9530" y="181076"/>
                </a:lnTo>
                <a:lnTo>
                  <a:pt x="0" y="166780"/>
                </a:lnTo>
                <a:lnTo>
                  <a:pt x="0" y="152486"/>
                </a:lnTo>
                <a:lnTo>
                  <a:pt x="9530" y="123894"/>
                </a:lnTo>
                <a:lnTo>
                  <a:pt x="23826" y="114364"/>
                </a:lnTo>
                <a:lnTo>
                  <a:pt x="33356" y="109598"/>
                </a:lnTo>
                <a:lnTo>
                  <a:pt x="57182" y="90538"/>
                </a:lnTo>
                <a:lnTo>
                  <a:pt x="90538" y="95304"/>
                </a:lnTo>
                <a:lnTo>
                  <a:pt x="109598" y="90538"/>
                </a:lnTo>
                <a:lnTo>
                  <a:pt x="128658" y="81008"/>
                </a:lnTo>
                <a:lnTo>
                  <a:pt x="138188" y="76244"/>
                </a:lnTo>
                <a:lnTo>
                  <a:pt x="157250" y="66712"/>
                </a:lnTo>
                <a:lnTo>
                  <a:pt x="157250" y="57182"/>
                </a:lnTo>
                <a:lnTo>
                  <a:pt x="147718" y="47652"/>
                </a:lnTo>
                <a:lnTo>
                  <a:pt x="152484" y="38122"/>
                </a:lnTo>
                <a:lnTo>
                  <a:pt x="171544" y="28592"/>
                </a:lnTo>
                <a:lnTo>
                  <a:pt x="195370" y="14296"/>
                </a:lnTo>
                <a:lnTo>
                  <a:pt x="219196" y="9532"/>
                </a:lnTo>
                <a:close/>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394" name="CustomShape 19"/>
          <p:cNvSpPr/>
          <p:nvPr/>
        </p:nvSpPr>
        <p:spPr>
          <a:xfrm>
            <a:off x="4093200" y="3656520"/>
            <a:ext cx="416160" cy="266400"/>
          </a:xfrm>
          <a:custGeom>
            <a:avLst/>
            <a:gdLst/>
            <a:ahLst/>
            <a:cxnLst/>
            <a:rect l="l" t="t" r="r" b="b"/>
            <a:pathLst>
              <a:path w="986382" h="633762">
                <a:moveTo>
                  <a:pt x="109598" y="309734"/>
                </a:moveTo>
                <a:lnTo>
                  <a:pt x="119128" y="314499"/>
                </a:lnTo>
                <a:lnTo>
                  <a:pt x="133424" y="319264"/>
                </a:lnTo>
                <a:lnTo>
                  <a:pt x="142954" y="319264"/>
                </a:lnTo>
                <a:lnTo>
                  <a:pt x="152484" y="309734"/>
                </a:lnTo>
                <a:lnTo>
                  <a:pt x="176310" y="314499"/>
                </a:lnTo>
                <a:lnTo>
                  <a:pt x="228726" y="352620"/>
                </a:lnTo>
                <a:lnTo>
                  <a:pt x="233490" y="362150"/>
                </a:lnTo>
                <a:lnTo>
                  <a:pt x="200136" y="366915"/>
                </a:lnTo>
                <a:lnTo>
                  <a:pt x="195370" y="376446"/>
                </a:lnTo>
                <a:lnTo>
                  <a:pt x="185840" y="385976"/>
                </a:lnTo>
                <a:lnTo>
                  <a:pt x="176310" y="390741"/>
                </a:lnTo>
                <a:lnTo>
                  <a:pt x="162014" y="405036"/>
                </a:lnTo>
                <a:lnTo>
                  <a:pt x="142954" y="419332"/>
                </a:lnTo>
                <a:lnTo>
                  <a:pt x="138188" y="428862"/>
                </a:lnTo>
                <a:lnTo>
                  <a:pt x="104832" y="428862"/>
                </a:lnTo>
                <a:lnTo>
                  <a:pt x="81008" y="433627"/>
                </a:lnTo>
                <a:lnTo>
                  <a:pt x="66712" y="447922"/>
                </a:lnTo>
                <a:lnTo>
                  <a:pt x="61946" y="481278"/>
                </a:lnTo>
                <a:lnTo>
                  <a:pt x="47652" y="505104"/>
                </a:lnTo>
                <a:lnTo>
                  <a:pt x="38120" y="514634"/>
                </a:lnTo>
                <a:lnTo>
                  <a:pt x="23826" y="514634"/>
                </a:lnTo>
                <a:lnTo>
                  <a:pt x="23826" y="509869"/>
                </a:lnTo>
                <a:lnTo>
                  <a:pt x="23826" y="500339"/>
                </a:lnTo>
                <a:lnTo>
                  <a:pt x="47652" y="462218"/>
                </a:lnTo>
                <a:lnTo>
                  <a:pt x="52416" y="452687"/>
                </a:lnTo>
                <a:lnTo>
                  <a:pt x="42886" y="447922"/>
                </a:lnTo>
                <a:lnTo>
                  <a:pt x="28590" y="433627"/>
                </a:lnTo>
                <a:lnTo>
                  <a:pt x="4766" y="419332"/>
                </a:lnTo>
                <a:lnTo>
                  <a:pt x="0" y="409801"/>
                </a:lnTo>
                <a:lnTo>
                  <a:pt x="9530" y="405036"/>
                </a:lnTo>
                <a:lnTo>
                  <a:pt x="14296" y="405036"/>
                </a:lnTo>
                <a:lnTo>
                  <a:pt x="19060" y="395506"/>
                </a:lnTo>
                <a:lnTo>
                  <a:pt x="23826" y="381211"/>
                </a:lnTo>
                <a:lnTo>
                  <a:pt x="4766" y="347855"/>
                </a:lnTo>
                <a:lnTo>
                  <a:pt x="14296" y="343090"/>
                </a:lnTo>
                <a:lnTo>
                  <a:pt x="23826" y="343090"/>
                </a:lnTo>
                <a:lnTo>
                  <a:pt x="38120" y="352620"/>
                </a:lnTo>
                <a:lnTo>
                  <a:pt x="52416" y="343090"/>
                </a:lnTo>
                <a:lnTo>
                  <a:pt x="57182" y="343090"/>
                </a:lnTo>
                <a:lnTo>
                  <a:pt x="66712" y="347855"/>
                </a:lnTo>
                <a:lnTo>
                  <a:pt x="76242" y="324029"/>
                </a:lnTo>
                <a:lnTo>
                  <a:pt x="100068" y="319264"/>
                </a:lnTo>
                <a:close/>
                <a:moveTo>
                  <a:pt x="204900" y="295438"/>
                </a:moveTo>
                <a:lnTo>
                  <a:pt x="233490" y="304968"/>
                </a:lnTo>
                <a:lnTo>
                  <a:pt x="238256" y="324029"/>
                </a:lnTo>
                <a:lnTo>
                  <a:pt x="233490" y="333559"/>
                </a:lnTo>
                <a:lnTo>
                  <a:pt x="223960" y="338324"/>
                </a:lnTo>
                <a:lnTo>
                  <a:pt x="190606" y="314498"/>
                </a:lnTo>
                <a:lnTo>
                  <a:pt x="200136" y="300203"/>
                </a:lnTo>
                <a:close/>
                <a:moveTo>
                  <a:pt x="114364" y="171545"/>
                </a:moveTo>
                <a:lnTo>
                  <a:pt x="123894" y="171545"/>
                </a:lnTo>
                <a:lnTo>
                  <a:pt x="133424" y="176310"/>
                </a:lnTo>
                <a:lnTo>
                  <a:pt x="133424" y="185840"/>
                </a:lnTo>
                <a:lnTo>
                  <a:pt x="138188" y="195371"/>
                </a:lnTo>
                <a:lnTo>
                  <a:pt x="166780" y="200136"/>
                </a:lnTo>
                <a:lnTo>
                  <a:pt x="176310" y="223961"/>
                </a:lnTo>
                <a:lnTo>
                  <a:pt x="181074" y="247787"/>
                </a:lnTo>
                <a:lnTo>
                  <a:pt x="166780" y="252552"/>
                </a:lnTo>
                <a:lnTo>
                  <a:pt x="157250" y="266847"/>
                </a:lnTo>
                <a:lnTo>
                  <a:pt x="147720" y="257317"/>
                </a:lnTo>
                <a:lnTo>
                  <a:pt x="142954" y="252552"/>
                </a:lnTo>
                <a:lnTo>
                  <a:pt x="128658" y="285908"/>
                </a:lnTo>
                <a:lnTo>
                  <a:pt x="109598" y="290673"/>
                </a:lnTo>
                <a:lnTo>
                  <a:pt x="100068" y="285908"/>
                </a:lnTo>
                <a:lnTo>
                  <a:pt x="100068" y="271613"/>
                </a:lnTo>
                <a:lnTo>
                  <a:pt x="90538" y="238257"/>
                </a:lnTo>
                <a:lnTo>
                  <a:pt x="71478" y="228726"/>
                </a:lnTo>
                <a:lnTo>
                  <a:pt x="47652" y="228726"/>
                </a:lnTo>
                <a:lnTo>
                  <a:pt x="33356" y="214431"/>
                </a:lnTo>
                <a:lnTo>
                  <a:pt x="95302" y="204901"/>
                </a:lnTo>
                <a:lnTo>
                  <a:pt x="104832" y="190605"/>
                </a:lnTo>
                <a:close/>
                <a:moveTo>
                  <a:pt x="571816" y="0"/>
                </a:moveTo>
                <a:lnTo>
                  <a:pt x="590876" y="4765"/>
                </a:lnTo>
                <a:lnTo>
                  <a:pt x="619468" y="4765"/>
                </a:lnTo>
                <a:lnTo>
                  <a:pt x="719534" y="28591"/>
                </a:lnTo>
                <a:lnTo>
                  <a:pt x="748126" y="28591"/>
                </a:lnTo>
                <a:lnTo>
                  <a:pt x="781482" y="52416"/>
                </a:lnTo>
                <a:lnTo>
                  <a:pt x="800542" y="61947"/>
                </a:lnTo>
                <a:lnTo>
                  <a:pt x="857724" y="61947"/>
                </a:lnTo>
                <a:lnTo>
                  <a:pt x="943496" y="71477"/>
                </a:lnTo>
                <a:lnTo>
                  <a:pt x="962556" y="52416"/>
                </a:lnTo>
                <a:lnTo>
                  <a:pt x="972086" y="57182"/>
                </a:lnTo>
                <a:lnTo>
                  <a:pt x="981616" y="76242"/>
                </a:lnTo>
                <a:lnTo>
                  <a:pt x="986382" y="85772"/>
                </a:lnTo>
                <a:lnTo>
                  <a:pt x="981616" y="90537"/>
                </a:lnTo>
                <a:lnTo>
                  <a:pt x="972086" y="95303"/>
                </a:lnTo>
                <a:lnTo>
                  <a:pt x="967322" y="100068"/>
                </a:lnTo>
                <a:lnTo>
                  <a:pt x="962556" y="104833"/>
                </a:lnTo>
                <a:lnTo>
                  <a:pt x="953026" y="104833"/>
                </a:lnTo>
                <a:lnTo>
                  <a:pt x="948260" y="114363"/>
                </a:lnTo>
                <a:lnTo>
                  <a:pt x="938730" y="138189"/>
                </a:lnTo>
                <a:lnTo>
                  <a:pt x="924436" y="181075"/>
                </a:lnTo>
                <a:lnTo>
                  <a:pt x="910140" y="204900"/>
                </a:lnTo>
                <a:lnTo>
                  <a:pt x="886314" y="195370"/>
                </a:lnTo>
                <a:lnTo>
                  <a:pt x="852958" y="200135"/>
                </a:lnTo>
                <a:lnTo>
                  <a:pt x="824368" y="209666"/>
                </a:lnTo>
                <a:lnTo>
                  <a:pt x="800542" y="233491"/>
                </a:lnTo>
                <a:lnTo>
                  <a:pt x="800542" y="257317"/>
                </a:lnTo>
                <a:lnTo>
                  <a:pt x="829132" y="304968"/>
                </a:lnTo>
                <a:lnTo>
                  <a:pt x="843428" y="362150"/>
                </a:lnTo>
                <a:lnTo>
                  <a:pt x="857724" y="376445"/>
                </a:lnTo>
                <a:lnTo>
                  <a:pt x="872018" y="405036"/>
                </a:lnTo>
                <a:lnTo>
                  <a:pt x="881550" y="433627"/>
                </a:lnTo>
                <a:lnTo>
                  <a:pt x="881550" y="443157"/>
                </a:lnTo>
                <a:lnTo>
                  <a:pt x="905374" y="490808"/>
                </a:lnTo>
                <a:lnTo>
                  <a:pt x="910140" y="514634"/>
                </a:lnTo>
                <a:lnTo>
                  <a:pt x="919670" y="524164"/>
                </a:lnTo>
                <a:lnTo>
                  <a:pt x="924436" y="528929"/>
                </a:lnTo>
                <a:lnTo>
                  <a:pt x="929200" y="533694"/>
                </a:lnTo>
                <a:lnTo>
                  <a:pt x="929200" y="538459"/>
                </a:lnTo>
                <a:lnTo>
                  <a:pt x="924436" y="543225"/>
                </a:lnTo>
                <a:lnTo>
                  <a:pt x="891080" y="557520"/>
                </a:lnTo>
                <a:lnTo>
                  <a:pt x="886314" y="567050"/>
                </a:lnTo>
                <a:lnTo>
                  <a:pt x="881550" y="576580"/>
                </a:lnTo>
                <a:lnTo>
                  <a:pt x="867254" y="595641"/>
                </a:lnTo>
                <a:lnTo>
                  <a:pt x="862488" y="609936"/>
                </a:lnTo>
                <a:lnTo>
                  <a:pt x="862488" y="628997"/>
                </a:lnTo>
                <a:lnTo>
                  <a:pt x="862488" y="633762"/>
                </a:lnTo>
                <a:lnTo>
                  <a:pt x="857724" y="633762"/>
                </a:lnTo>
                <a:lnTo>
                  <a:pt x="833898" y="633762"/>
                </a:lnTo>
                <a:lnTo>
                  <a:pt x="810072" y="619467"/>
                </a:lnTo>
                <a:lnTo>
                  <a:pt x="800542" y="609936"/>
                </a:lnTo>
                <a:lnTo>
                  <a:pt x="791012" y="609936"/>
                </a:lnTo>
                <a:lnTo>
                  <a:pt x="776716" y="614702"/>
                </a:lnTo>
                <a:lnTo>
                  <a:pt x="733830" y="633762"/>
                </a:lnTo>
                <a:lnTo>
                  <a:pt x="719534" y="628997"/>
                </a:lnTo>
                <a:lnTo>
                  <a:pt x="695710" y="614702"/>
                </a:lnTo>
                <a:lnTo>
                  <a:pt x="681414" y="595641"/>
                </a:lnTo>
                <a:lnTo>
                  <a:pt x="652822" y="562285"/>
                </a:lnTo>
                <a:lnTo>
                  <a:pt x="652822" y="552755"/>
                </a:lnTo>
                <a:lnTo>
                  <a:pt x="648058" y="543225"/>
                </a:lnTo>
                <a:lnTo>
                  <a:pt x="619468" y="533694"/>
                </a:lnTo>
                <a:lnTo>
                  <a:pt x="605172" y="524164"/>
                </a:lnTo>
                <a:lnTo>
                  <a:pt x="595642" y="519399"/>
                </a:lnTo>
                <a:lnTo>
                  <a:pt x="581346" y="514634"/>
                </a:lnTo>
                <a:lnTo>
                  <a:pt x="547990" y="486043"/>
                </a:lnTo>
                <a:lnTo>
                  <a:pt x="538460" y="481278"/>
                </a:lnTo>
                <a:lnTo>
                  <a:pt x="533694" y="486043"/>
                </a:lnTo>
                <a:lnTo>
                  <a:pt x="533694" y="495573"/>
                </a:lnTo>
                <a:lnTo>
                  <a:pt x="528930" y="495573"/>
                </a:lnTo>
                <a:lnTo>
                  <a:pt x="519400" y="486043"/>
                </a:lnTo>
                <a:lnTo>
                  <a:pt x="509870" y="476513"/>
                </a:lnTo>
                <a:lnTo>
                  <a:pt x="481278" y="495573"/>
                </a:lnTo>
                <a:lnTo>
                  <a:pt x="466982" y="500338"/>
                </a:lnTo>
                <a:lnTo>
                  <a:pt x="457452" y="500338"/>
                </a:lnTo>
                <a:lnTo>
                  <a:pt x="409802" y="524164"/>
                </a:lnTo>
                <a:lnTo>
                  <a:pt x="395506" y="533694"/>
                </a:lnTo>
                <a:lnTo>
                  <a:pt x="385976" y="533694"/>
                </a:lnTo>
                <a:lnTo>
                  <a:pt x="390740" y="524164"/>
                </a:lnTo>
                <a:lnTo>
                  <a:pt x="409802" y="466983"/>
                </a:lnTo>
                <a:lnTo>
                  <a:pt x="414566" y="419331"/>
                </a:lnTo>
                <a:lnTo>
                  <a:pt x="419332" y="414566"/>
                </a:lnTo>
                <a:lnTo>
                  <a:pt x="424096" y="405036"/>
                </a:lnTo>
                <a:lnTo>
                  <a:pt x="419332" y="390740"/>
                </a:lnTo>
                <a:lnTo>
                  <a:pt x="400272" y="381210"/>
                </a:lnTo>
                <a:lnTo>
                  <a:pt x="390740" y="381210"/>
                </a:lnTo>
                <a:lnTo>
                  <a:pt x="381210" y="400271"/>
                </a:lnTo>
                <a:lnTo>
                  <a:pt x="376446" y="409801"/>
                </a:lnTo>
                <a:lnTo>
                  <a:pt x="357384" y="419331"/>
                </a:lnTo>
                <a:lnTo>
                  <a:pt x="338324" y="405036"/>
                </a:lnTo>
                <a:lnTo>
                  <a:pt x="300204" y="390740"/>
                </a:lnTo>
                <a:lnTo>
                  <a:pt x="290674" y="366915"/>
                </a:lnTo>
                <a:lnTo>
                  <a:pt x="290674" y="347854"/>
                </a:lnTo>
                <a:lnTo>
                  <a:pt x="266848" y="324029"/>
                </a:lnTo>
                <a:lnTo>
                  <a:pt x="262082" y="300203"/>
                </a:lnTo>
                <a:lnTo>
                  <a:pt x="262082" y="281143"/>
                </a:lnTo>
                <a:lnTo>
                  <a:pt x="281142" y="271612"/>
                </a:lnTo>
                <a:lnTo>
                  <a:pt x="285908" y="262082"/>
                </a:lnTo>
                <a:lnTo>
                  <a:pt x="262082" y="262082"/>
                </a:lnTo>
                <a:lnTo>
                  <a:pt x="257318" y="252552"/>
                </a:lnTo>
                <a:lnTo>
                  <a:pt x="247786" y="223961"/>
                </a:lnTo>
                <a:lnTo>
                  <a:pt x="257318" y="209666"/>
                </a:lnTo>
                <a:lnTo>
                  <a:pt x="262082" y="200135"/>
                </a:lnTo>
                <a:lnTo>
                  <a:pt x="252552" y="185840"/>
                </a:lnTo>
                <a:lnTo>
                  <a:pt x="257318" y="176310"/>
                </a:lnTo>
                <a:lnTo>
                  <a:pt x="262082" y="166779"/>
                </a:lnTo>
                <a:lnTo>
                  <a:pt x="257318" y="138189"/>
                </a:lnTo>
                <a:lnTo>
                  <a:pt x="281142" y="123893"/>
                </a:lnTo>
                <a:lnTo>
                  <a:pt x="304968" y="114363"/>
                </a:lnTo>
                <a:lnTo>
                  <a:pt x="347854" y="109598"/>
                </a:lnTo>
                <a:lnTo>
                  <a:pt x="343090" y="85772"/>
                </a:lnTo>
                <a:lnTo>
                  <a:pt x="362150" y="81007"/>
                </a:lnTo>
                <a:lnTo>
                  <a:pt x="395506" y="52416"/>
                </a:lnTo>
                <a:lnTo>
                  <a:pt x="428862" y="57182"/>
                </a:lnTo>
                <a:lnTo>
                  <a:pt x="476514" y="38121"/>
                </a:lnTo>
                <a:lnTo>
                  <a:pt x="562286" y="38121"/>
                </a:lnTo>
                <a:lnTo>
                  <a:pt x="576580" y="28591"/>
                </a:lnTo>
                <a:lnTo>
                  <a:pt x="571816" y="14295"/>
                </a:lnTo>
                <a:close/>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395" name="CustomShape 20"/>
          <p:cNvSpPr/>
          <p:nvPr/>
        </p:nvSpPr>
        <p:spPr>
          <a:xfrm>
            <a:off x="3939480" y="2009880"/>
            <a:ext cx="793800" cy="1622160"/>
          </a:xfrm>
          <a:custGeom>
            <a:avLst/>
            <a:gdLst/>
            <a:ahLst/>
            <a:cxnLst/>
            <a:rect l="l" t="t" r="r" b="b"/>
            <a:pathLst>
              <a:path w="1877460" h="3831162">
                <a:moveTo>
                  <a:pt x="152484" y="3750155"/>
                </a:moveTo>
                <a:lnTo>
                  <a:pt x="162014" y="3750155"/>
                </a:lnTo>
                <a:lnTo>
                  <a:pt x="171544" y="3759686"/>
                </a:lnTo>
                <a:lnTo>
                  <a:pt x="166780" y="3769216"/>
                </a:lnTo>
                <a:lnTo>
                  <a:pt x="157250" y="3769216"/>
                </a:lnTo>
                <a:lnTo>
                  <a:pt x="152484" y="3764451"/>
                </a:lnTo>
                <a:lnTo>
                  <a:pt x="138188" y="3764451"/>
                </a:lnTo>
                <a:lnTo>
                  <a:pt x="138188" y="3759686"/>
                </a:lnTo>
                <a:lnTo>
                  <a:pt x="142954" y="3754920"/>
                </a:lnTo>
                <a:close/>
                <a:moveTo>
                  <a:pt x="319264" y="3721564"/>
                </a:moveTo>
                <a:lnTo>
                  <a:pt x="328794" y="3721564"/>
                </a:lnTo>
                <a:lnTo>
                  <a:pt x="333560" y="3731094"/>
                </a:lnTo>
                <a:lnTo>
                  <a:pt x="328794" y="3740625"/>
                </a:lnTo>
                <a:lnTo>
                  <a:pt x="314500" y="3745390"/>
                </a:lnTo>
                <a:lnTo>
                  <a:pt x="304968" y="3735860"/>
                </a:lnTo>
                <a:lnTo>
                  <a:pt x="309734" y="3726329"/>
                </a:lnTo>
                <a:close/>
                <a:moveTo>
                  <a:pt x="347856" y="3712034"/>
                </a:moveTo>
                <a:lnTo>
                  <a:pt x="366916" y="3712034"/>
                </a:lnTo>
                <a:lnTo>
                  <a:pt x="362150" y="3731095"/>
                </a:lnTo>
                <a:lnTo>
                  <a:pt x="343090" y="3740625"/>
                </a:lnTo>
                <a:lnTo>
                  <a:pt x="338324" y="3735860"/>
                </a:lnTo>
                <a:lnTo>
                  <a:pt x="338324" y="3721564"/>
                </a:lnTo>
                <a:close/>
                <a:moveTo>
                  <a:pt x="4766" y="3697739"/>
                </a:moveTo>
                <a:lnTo>
                  <a:pt x="14296" y="3697739"/>
                </a:lnTo>
                <a:lnTo>
                  <a:pt x="23828" y="3716800"/>
                </a:lnTo>
                <a:lnTo>
                  <a:pt x="23828" y="3721565"/>
                </a:lnTo>
                <a:lnTo>
                  <a:pt x="14296" y="3721565"/>
                </a:lnTo>
                <a:lnTo>
                  <a:pt x="9532" y="3721565"/>
                </a:lnTo>
                <a:lnTo>
                  <a:pt x="9532" y="3731095"/>
                </a:lnTo>
                <a:lnTo>
                  <a:pt x="0" y="3726330"/>
                </a:lnTo>
                <a:lnTo>
                  <a:pt x="0" y="3716800"/>
                </a:lnTo>
                <a:close/>
                <a:moveTo>
                  <a:pt x="414566" y="3654852"/>
                </a:moveTo>
                <a:lnTo>
                  <a:pt x="433626" y="3664382"/>
                </a:lnTo>
                <a:lnTo>
                  <a:pt x="443156" y="3664382"/>
                </a:lnTo>
                <a:lnTo>
                  <a:pt x="452688" y="3678678"/>
                </a:lnTo>
                <a:lnTo>
                  <a:pt x="433626" y="3688208"/>
                </a:lnTo>
                <a:lnTo>
                  <a:pt x="433626" y="3702503"/>
                </a:lnTo>
                <a:lnTo>
                  <a:pt x="438392" y="3712034"/>
                </a:lnTo>
                <a:lnTo>
                  <a:pt x="443156" y="3721564"/>
                </a:lnTo>
                <a:lnTo>
                  <a:pt x="428862" y="3721564"/>
                </a:lnTo>
                <a:lnTo>
                  <a:pt x="419332" y="3712034"/>
                </a:lnTo>
                <a:lnTo>
                  <a:pt x="414566" y="3697738"/>
                </a:lnTo>
                <a:lnTo>
                  <a:pt x="409802" y="3688208"/>
                </a:lnTo>
                <a:lnTo>
                  <a:pt x="400272" y="3683443"/>
                </a:lnTo>
                <a:lnTo>
                  <a:pt x="405036" y="3673913"/>
                </a:lnTo>
                <a:lnTo>
                  <a:pt x="405036" y="3664382"/>
                </a:lnTo>
                <a:close/>
                <a:moveTo>
                  <a:pt x="57182" y="3645322"/>
                </a:moveTo>
                <a:lnTo>
                  <a:pt x="66712" y="3659617"/>
                </a:lnTo>
                <a:lnTo>
                  <a:pt x="71478" y="3664383"/>
                </a:lnTo>
                <a:lnTo>
                  <a:pt x="76242" y="3664383"/>
                </a:lnTo>
                <a:lnTo>
                  <a:pt x="81008" y="3659617"/>
                </a:lnTo>
                <a:lnTo>
                  <a:pt x="85772" y="3664383"/>
                </a:lnTo>
                <a:lnTo>
                  <a:pt x="100068" y="3673913"/>
                </a:lnTo>
                <a:lnTo>
                  <a:pt x="104832" y="3683443"/>
                </a:lnTo>
                <a:lnTo>
                  <a:pt x="114364" y="3683443"/>
                </a:lnTo>
                <a:lnTo>
                  <a:pt x="114364" y="3692973"/>
                </a:lnTo>
                <a:lnTo>
                  <a:pt x="104832" y="3712034"/>
                </a:lnTo>
                <a:lnTo>
                  <a:pt x="100068" y="3712034"/>
                </a:lnTo>
                <a:lnTo>
                  <a:pt x="95302" y="3712034"/>
                </a:lnTo>
                <a:lnTo>
                  <a:pt x="85772" y="3712034"/>
                </a:lnTo>
                <a:lnTo>
                  <a:pt x="81008" y="3716799"/>
                </a:lnTo>
                <a:lnTo>
                  <a:pt x="81008" y="3726329"/>
                </a:lnTo>
                <a:lnTo>
                  <a:pt x="81008" y="3745390"/>
                </a:lnTo>
                <a:lnTo>
                  <a:pt x="42886" y="3750155"/>
                </a:lnTo>
                <a:lnTo>
                  <a:pt x="33356" y="3740625"/>
                </a:lnTo>
                <a:lnTo>
                  <a:pt x="23826" y="3702504"/>
                </a:lnTo>
                <a:lnTo>
                  <a:pt x="23826" y="3688208"/>
                </a:lnTo>
                <a:lnTo>
                  <a:pt x="33356" y="3683443"/>
                </a:lnTo>
                <a:lnTo>
                  <a:pt x="38122" y="3683443"/>
                </a:lnTo>
                <a:lnTo>
                  <a:pt x="42886" y="3707269"/>
                </a:lnTo>
                <a:lnTo>
                  <a:pt x="52416" y="3702504"/>
                </a:lnTo>
                <a:lnTo>
                  <a:pt x="52416" y="3688208"/>
                </a:lnTo>
                <a:lnTo>
                  <a:pt x="52416" y="3678678"/>
                </a:lnTo>
                <a:lnTo>
                  <a:pt x="52416" y="3673913"/>
                </a:lnTo>
                <a:lnTo>
                  <a:pt x="42886" y="3669148"/>
                </a:lnTo>
                <a:lnTo>
                  <a:pt x="42886" y="3664383"/>
                </a:lnTo>
                <a:lnTo>
                  <a:pt x="47652" y="3650087"/>
                </a:lnTo>
                <a:close/>
                <a:moveTo>
                  <a:pt x="357384" y="3626262"/>
                </a:moveTo>
                <a:lnTo>
                  <a:pt x="371680" y="3635792"/>
                </a:lnTo>
                <a:lnTo>
                  <a:pt x="381210" y="3645322"/>
                </a:lnTo>
                <a:lnTo>
                  <a:pt x="371680" y="3650088"/>
                </a:lnTo>
                <a:lnTo>
                  <a:pt x="385976" y="3664383"/>
                </a:lnTo>
                <a:lnTo>
                  <a:pt x="385976" y="3669148"/>
                </a:lnTo>
                <a:lnTo>
                  <a:pt x="376446" y="3669148"/>
                </a:lnTo>
                <a:lnTo>
                  <a:pt x="357384" y="3654853"/>
                </a:lnTo>
                <a:lnTo>
                  <a:pt x="357384" y="3645322"/>
                </a:lnTo>
                <a:lnTo>
                  <a:pt x="362150" y="3645322"/>
                </a:lnTo>
                <a:lnTo>
                  <a:pt x="357384" y="3631027"/>
                </a:lnTo>
                <a:close/>
                <a:moveTo>
                  <a:pt x="271614" y="3573845"/>
                </a:moveTo>
                <a:lnTo>
                  <a:pt x="276378" y="3588140"/>
                </a:lnTo>
                <a:lnTo>
                  <a:pt x="300204" y="3607201"/>
                </a:lnTo>
                <a:lnTo>
                  <a:pt x="300204" y="3621496"/>
                </a:lnTo>
                <a:lnTo>
                  <a:pt x="290674" y="3621496"/>
                </a:lnTo>
                <a:lnTo>
                  <a:pt x="276378" y="3621496"/>
                </a:lnTo>
                <a:lnTo>
                  <a:pt x="266848" y="3607201"/>
                </a:lnTo>
                <a:lnTo>
                  <a:pt x="262084" y="3583375"/>
                </a:lnTo>
                <a:lnTo>
                  <a:pt x="266848" y="3578610"/>
                </a:lnTo>
                <a:close/>
                <a:moveTo>
                  <a:pt x="266848" y="2692297"/>
                </a:moveTo>
                <a:lnTo>
                  <a:pt x="266848" y="2701827"/>
                </a:lnTo>
                <a:lnTo>
                  <a:pt x="262082" y="2706592"/>
                </a:lnTo>
                <a:lnTo>
                  <a:pt x="266848" y="2716122"/>
                </a:lnTo>
                <a:lnTo>
                  <a:pt x="276378" y="2711357"/>
                </a:lnTo>
                <a:lnTo>
                  <a:pt x="285908" y="2701827"/>
                </a:lnTo>
                <a:lnTo>
                  <a:pt x="295438" y="2706592"/>
                </a:lnTo>
                <a:lnTo>
                  <a:pt x="295438" y="2720888"/>
                </a:lnTo>
                <a:lnTo>
                  <a:pt x="290672" y="2720888"/>
                </a:lnTo>
                <a:lnTo>
                  <a:pt x="285908" y="2720888"/>
                </a:lnTo>
                <a:lnTo>
                  <a:pt x="281142" y="2730418"/>
                </a:lnTo>
                <a:lnTo>
                  <a:pt x="281142" y="2735183"/>
                </a:lnTo>
                <a:lnTo>
                  <a:pt x="271612" y="2739948"/>
                </a:lnTo>
                <a:lnTo>
                  <a:pt x="252552" y="2720888"/>
                </a:lnTo>
                <a:lnTo>
                  <a:pt x="243022" y="2697062"/>
                </a:lnTo>
                <a:close/>
                <a:moveTo>
                  <a:pt x="824368" y="2044239"/>
                </a:moveTo>
                <a:lnTo>
                  <a:pt x="848194" y="2058534"/>
                </a:lnTo>
                <a:lnTo>
                  <a:pt x="852960" y="2063299"/>
                </a:lnTo>
                <a:lnTo>
                  <a:pt x="838664" y="2068064"/>
                </a:lnTo>
                <a:lnTo>
                  <a:pt x="829134" y="2082360"/>
                </a:lnTo>
                <a:lnTo>
                  <a:pt x="810072" y="2091890"/>
                </a:lnTo>
                <a:lnTo>
                  <a:pt x="791012" y="2087125"/>
                </a:lnTo>
                <a:lnTo>
                  <a:pt x="791012" y="2063299"/>
                </a:lnTo>
                <a:lnTo>
                  <a:pt x="800542" y="2049004"/>
                </a:lnTo>
                <a:close/>
                <a:moveTo>
                  <a:pt x="1286586" y="0"/>
                </a:moveTo>
                <a:lnTo>
                  <a:pt x="1305646" y="0"/>
                </a:lnTo>
                <a:lnTo>
                  <a:pt x="1329472" y="42886"/>
                </a:lnTo>
                <a:lnTo>
                  <a:pt x="1367592" y="85772"/>
                </a:lnTo>
                <a:lnTo>
                  <a:pt x="1386652" y="109598"/>
                </a:lnTo>
                <a:lnTo>
                  <a:pt x="1448600" y="152484"/>
                </a:lnTo>
                <a:lnTo>
                  <a:pt x="1501016" y="176310"/>
                </a:lnTo>
                <a:lnTo>
                  <a:pt x="1534372" y="266847"/>
                </a:lnTo>
                <a:lnTo>
                  <a:pt x="1515312" y="300203"/>
                </a:lnTo>
                <a:lnTo>
                  <a:pt x="1510546" y="314498"/>
                </a:lnTo>
                <a:lnTo>
                  <a:pt x="1481956" y="347854"/>
                </a:lnTo>
                <a:lnTo>
                  <a:pt x="1458130" y="395506"/>
                </a:lnTo>
                <a:lnTo>
                  <a:pt x="1453364" y="424096"/>
                </a:lnTo>
                <a:lnTo>
                  <a:pt x="1462894" y="447922"/>
                </a:lnTo>
                <a:lnTo>
                  <a:pt x="1472426" y="466982"/>
                </a:lnTo>
                <a:lnTo>
                  <a:pt x="1462894" y="471748"/>
                </a:lnTo>
                <a:lnTo>
                  <a:pt x="1434304" y="490808"/>
                </a:lnTo>
                <a:lnTo>
                  <a:pt x="1410478" y="505103"/>
                </a:lnTo>
                <a:lnTo>
                  <a:pt x="1386652" y="514634"/>
                </a:lnTo>
                <a:lnTo>
                  <a:pt x="1396184" y="528929"/>
                </a:lnTo>
                <a:lnTo>
                  <a:pt x="1434304" y="533694"/>
                </a:lnTo>
                <a:lnTo>
                  <a:pt x="1439070" y="538459"/>
                </a:lnTo>
                <a:lnTo>
                  <a:pt x="1443834" y="543224"/>
                </a:lnTo>
                <a:lnTo>
                  <a:pt x="1443834" y="557520"/>
                </a:lnTo>
                <a:lnTo>
                  <a:pt x="1443834" y="571815"/>
                </a:lnTo>
                <a:lnTo>
                  <a:pt x="1396184" y="676648"/>
                </a:lnTo>
                <a:lnTo>
                  <a:pt x="1396184" y="695708"/>
                </a:lnTo>
                <a:lnTo>
                  <a:pt x="1410478" y="752890"/>
                </a:lnTo>
                <a:lnTo>
                  <a:pt x="1429538" y="819602"/>
                </a:lnTo>
                <a:lnTo>
                  <a:pt x="1491486" y="852958"/>
                </a:lnTo>
                <a:lnTo>
                  <a:pt x="1534372" y="876783"/>
                </a:lnTo>
                <a:lnTo>
                  <a:pt x="1562962" y="929200"/>
                </a:lnTo>
                <a:lnTo>
                  <a:pt x="1610614" y="1005442"/>
                </a:lnTo>
                <a:lnTo>
                  <a:pt x="1634440" y="1029267"/>
                </a:lnTo>
                <a:lnTo>
                  <a:pt x="1634440" y="1038798"/>
                </a:lnTo>
                <a:lnTo>
                  <a:pt x="1624910" y="1086449"/>
                </a:lnTo>
                <a:lnTo>
                  <a:pt x="1596318" y="1138865"/>
                </a:lnTo>
                <a:lnTo>
                  <a:pt x="1567728" y="1176986"/>
                </a:lnTo>
                <a:lnTo>
                  <a:pt x="1539136" y="1229403"/>
                </a:lnTo>
                <a:lnTo>
                  <a:pt x="1520076" y="1272289"/>
                </a:lnTo>
                <a:lnTo>
                  <a:pt x="1491486" y="1319940"/>
                </a:lnTo>
                <a:lnTo>
                  <a:pt x="1491486" y="1339001"/>
                </a:lnTo>
                <a:lnTo>
                  <a:pt x="1491486" y="1353296"/>
                </a:lnTo>
                <a:lnTo>
                  <a:pt x="1496250" y="1367591"/>
                </a:lnTo>
                <a:lnTo>
                  <a:pt x="1524842" y="1429538"/>
                </a:lnTo>
                <a:lnTo>
                  <a:pt x="1539136" y="1462894"/>
                </a:lnTo>
                <a:lnTo>
                  <a:pt x="1553432" y="1496250"/>
                </a:lnTo>
                <a:lnTo>
                  <a:pt x="1562962" y="1529606"/>
                </a:lnTo>
                <a:lnTo>
                  <a:pt x="1572492" y="1562962"/>
                </a:lnTo>
                <a:lnTo>
                  <a:pt x="1586788" y="1596318"/>
                </a:lnTo>
                <a:lnTo>
                  <a:pt x="1591554" y="1610613"/>
                </a:lnTo>
                <a:lnTo>
                  <a:pt x="1605848" y="1634438"/>
                </a:lnTo>
                <a:lnTo>
                  <a:pt x="1620144" y="1667794"/>
                </a:lnTo>
                <a:lnTo>
                  <a:pt x="1624910" y="1691620"/>
                </a:lnTo>
                <a:lnTo>
                  <a:pt x="1648734" y="1782158"/>
                </a:lnTo>
                <a:lnTo>
                  <a:pt x="1653500" y="1805983"/>
                </a:lnTo>
                <a:lnTo>
                  <a:pt x="1648734" y="1820278"/>
                </a:lnTo>
                <a:lnTo>
                  <a:pt x="1639204" y="1825044"/>
                </a:lnTo>
                <a:lnTo>
                  <a:pt x="1620144" y="1829809"/>
                </a:lnTo>
                <a:lnTo>
                  <a:pt x="1591554" y="1839339"/>
                </a:lnTo>
                <a:lnTo>
                  <a:pt x="1591554" y="1844104"/>
                </a:lnTo>
                <a:lnTo>
                  <a:pt x="1605848" y="1863165"/>
                </a:lnTo>
                <a:lnTo>
                  <a:pt x="1591554" y="1901286"/>
                </a:lnTo>
                <a:lnTo>
                  <a:pt x="1591554" y="1953702"/>
                </a:lnTo>
                <a:lnTo>
                  <a:pt x="1577258" y="1977528"/>
                </a:lnTo>
                <a:lnTo>
                  <a:pt x="1577258" y="1987058"/>
                </a:lnTo>
                <a:lnTo>
                  <a:pt x="1577258" y="1991823"/>
                </a:lnTo>
                <a:lnTo>
                  <a:pt x="1577258" y="1996588"/>
                </a:lnTo>
                <a:lnTo>
                  <a:pt x="1605848" y="2001353"/>
                </a:lnTo>
                <a:lnTo>
                  <a:pt x="1610614" y="2010884"/>
                </a:lnTo>
                <a:lnTo>
                  <a:pt x="1610614" y="2025179"/>
                </a:lnTo>
                <a:lnTo>
                  <a:pt x="1605848" y="2039474"/>
                </a:lnTo>
                <a:lnTo>
                  <a:pt x="1591554" y="2049004"/>
                </a:lnTo>
                <a:lnTo>
                  <a:pt x="1577258" y="2063300"/>
                </a:lnTo>
                <a:lnTo>
                  <a:pt x="1572492" y="2077595"/>
                </a:lnTo>
                <a:lnTo>
                  <a:pt x="1577258" y="2087126"/>
                </a:lnTo>
                <a:lnTo>
                  <a:pt x="1582024" y="2110951"/>
                </a:lnTo>
                <a:lnTo>
                  <a:pt x="1591554" y="2134777"/>
                </a:lnTo>
                <a:lnTo>
                  <a:pt x="1601084" y="2149072"/>
                </a:lnTo>
                <a:lnTo>
                  <a:pt x="1648734" y="2163368"/>
                </a:lnTo>
                <a:lnTo>
                  <a:pt x="1653500" y="2177663"/>
                </a:lnTo>
                <a:lnTo>
                  <a:pt x="1658266" y="2191958"/>
                </a:lnTo>
                <a:lnTo>
                  <a:pt x="1653500" y="2206254"/>
                </a:lnTo>
                <a:lnTo>
                  <a:pt x="1634440" y="2239610"/>
                </a:lnTo>
                <a:lnTo>
                  <a:pt x="1634440" y="2253905"/>
                </a:lnTo>
                <a:lnTo>
                  <a:pt x="1643970" y="2282496"/>
                </a:lnTo>
                <a:lnTo>
                  <a:pt x="1653500" y="2311086"/>
                </a:lnTo>
                <a:lnTo>
                  <a:pt x="1696386" y="2339677"/>
                </a:lnTo>
                <a:lnTo>
                  <a:pt x="1710682" y="2353973"/>
                </a:lnTo>
                <a:lnTo>
                  <a:pt x="1715446" y="2368268"/>
                </a:lnTo>
                <a:lnTo>
                  <a:pt x="1720212" y="2392094"/>
                </a:lnTo>
                <a:lnTo>
                  <a:pt x="1720212" y="2411154"/>
                </a:lnTo>
                <a:lnTo>
                  <a:pt x="1715446" y="2434980"/>
                </a:lnTo>
                <a:lnTo>
                  <a:pt x="1701152" y="2458806"/>
                </a:lnTo>
                <a:lnTo>
                  <a:pt x="1667796" y="2511222"/>
                </a:lnTo>
                <a:lnTo>
                  <a:pt x="1634440" y="2530282"/>
                </a:lnTo>
                <a:lnTo>
                  <a:pt x="1634440" y="2535048"/>
                </a:lnTo>
                <a:lnTo>
                  <a:pt x="1643970" y="2549343"/>
                </a:lnTo>
                <a:lnTo>
                  <a:pt x="1701152" y="2616055"/>
                </a:lnTo>
                <a:lnTo>
                  <a:pt x="1739272" y="2644646"/>
                </a:lnTo>
                <a:lnTo>
                  <a:pt x="1786924" y="2687532"/>
                </a:lnTo>
                <a:lnTo>
                  <a:pt x="1820280" y="2720888"/>
                </a:lnTo>
                <a:lnTo>
                  <a:pt x="1829810" y="2739948"/>
                </a:lnTo>
                <a:lnTo>
                  <a:pt x="1844106" y="2768539"/>
                </a:lnTo>
                <a:lnTo>
                  <a:pt x="1863166" y="2787599"/>
                </a:lnTo>
                <a:lnTo>
                  <a:pt x="1872696" y="2806660"/>
                </a:lnTo>
                <a:lnTo>
                  <a:pt x="1877460" y="2816190"/>
                </a:lnTo>
                <a:lnTo>
                  <a:pt x="1877460" y="2830485"/>
                </a:lnTo>
                <a:lnTo>
                  <a:pt x="1863166" y="2868606"/>
                </a:lnTo>
                <a:lnTo>
                  <a:pt x="1853636" y="2897197"/>
                </a:lnTo>
                <a:lnTo>
                  <a:pt x="1839340" y="2940083"/>
                </a:lnTo>
                <a:lnTo>
                  <a:pt x="1820280" y="2968674"/>
                </a:lnTo>
                <a:lnTo>
                  <a:pt x="1782158" y="3021090"/>
                </a:lnTo>
                <a:lnTo>
                  <a:pt x="1724976" y="3087802"/>
                </a:lnTo>
                <a:lnTo>
                  <a:pt x="1710682" y="3106863"/>
                </a:lnTo>
                <a:lnTo>
                  <a:pt x="1682090" y="3140218"/>
                </a:lnTo>
                <a:lnTo>
                  <a:pt x="1639204" y="3206930"/>
                </a:lnTo>
                <a:lnTo>
                  <a:pt x="1624910" y="3225991"/>
                </a:lnTo>
                <a:lnTo>
                  <a:pt x="1586788" y="3278407"/>
                </a:lnTo>
                <a:lnTo>
                  <a:pt x="1572492" y="3297468"/>
                </a:lnTo>
                <a:lnTo>
                  <a:pt x="1558198" y="3311763"/>
                </a:lnTo>
                <a:lnTo>
                  <a:pt x="1520076" y="3364180"/>
                </a:lnTo>
                <a:lnTo>
                  <a:pt x="1477190" y="3402300"/>
                </a:lnTo>
                <a:lnTo>
                  <a:pt x="1439070" y="3435656"/>
                </a:lnTo>
                <a:lnTo>
                  <a:pt x="1429538" y="3454717"/>
                </a:lnTo>
                <a:lnTo>
                  <a:pt x="1410478" y="3469012"/>
                </a:lnTo>
                <a:lnTo>
                  <a:pt x="1396184" y="3483308"/>
                </a:lnTo>
                <a:lnTo>
                  <a:pt x="1386652" y="3488073"/>
                </a:lnTo>
                <a:lnTo>
                  <a:pt x="1348532" y="3535724"/>
                </a:lnTo>
                <a:lnTo>
                  <a:pt x="1291350" y="3607201"/>
                </a:lnTo>
                <a:lnTo>
                  <a:pt x="1286586" y="3607201"/>
                </a:lnTo>
                <a:lnTo>
                  <a:pt x="1272290" y="3616731"/>
                </a:lnTo>
                <a:lnTo>
                  <a:pt x="1248464" y="3616731"/>
                </a:lnTo>
                <a:lnTo>
                  <a:pt x="1238934" y="3626262"/>
                </a:lnTo>
                <a:lnTo>
                  <a:pt x="1205578" y="3602436"/>
                </a:lnTo>
                <a:lnTo>
                  <a:pt x="1200812" y="3602436"/>
                </a:lnTo>
                <a:lnTo>
                  <a:pt x="1181752" y="3607201"/>
                </a:lnTo>
                <a:lnTo>
                  <a:pt x="1157926" y="3626262"/>
                </a:lnTo>
                <a:lnTo>
                  <a:pt x="1124570" y="3631027"/>
                </a:lnTo>
                <a:lnTo>
                  <a:pt x="1105510" y="3635792"/>
                </a:lnTo>
                <a:lnTo>
                  <a:pt x="1095980" y="3645322"/>
                </a:lnTo>
                <a:lnTo>
                  <a:pt x="1091214" y="3626262"/>
                </a:lnTo>
                <a:lnTo>
                  <a:pt x="1095980" y="3602436"/>
                </a:lnTo>
                <a:lnTo>
                  <a:pt x="1105510" y="3588140"/>
                </a:lnTo>
                <a:lnTo>
                  <a:pt x="1105510" y="3573845"/>
                </a:lnTo>
                <a:lnTo>
                  <a:pt x="1100746" y="3578610"/>
                </a:lnTo>
                <a:lnTo>
                  <a:pt x="1091214" y="3597671"/>
                </a:lnTo>
                <a:lnTo>
                  <a:pt x="1081684" y="3626262"/>
                </a:lnTo>
                <a:lnTo>
                  <a:pt x="1072154" y="3640557"/>
                </a:lnTo>
                <a:lnTo>
                  <a:pt x="1043564" y="3645322"/>
                </a:lnTo>
                <a:lnTo>
                  <a:pt x="1014972" y="3626262"/>
                </a:lnTo>
                <a:lnTo>
                  <a:pt x="1005442" y="3626262"/>
                </a:lnTo>
                <a:lnTo>
                  <a:pt x="1014972" y="3640557"/>
                </a:lnTo>
                <a:lnTo>
                  <a:pt x="1019738" y="3654852"/>
                </a:lnTo>
                <a:lnTo>
                  <a:pt x="1014972" y="3664382"/>
                </a:lnTo>
                <a:lnTo>
                  <a:pt x="1000678" y="3664382"/>
                </a:lnTo>
                <a:lnTo>
                  <a:pt x="986382" y="3673913"/>
                </a:lnTo>
                <a:lnTo>
                  <a:pt x="972086" y="3688208"/>
                </a:lnTo>
                <a:lnTo>
                  <a:pt x="967322" y="3688208"/>
                </a:lnTo>
                <a:lnTo>
                  <a:pt x="957792" y="3669148"/>
                </a:lnTo>
                <a:lnTo>
                  <a:pt x="938730" y="3678678"/>
                </a:lnTo>
                <a:lnTo>
                  <a:pt x="924436" y="3692973"/>
                </a:lnTo>
                <a:lnTo>
                  <a:pt x="895844" y="3697738"/>
                </a:lnTo>
                <a:lnTo>
                  <a:pt x="881550" y="3712034"/>
                </a:lnTo>
                <a:lnTo>
                  <a:pt x="848194" y="3726329"/>
                </a:lnTo>
                <a:lnTo>
                  <a:pt x="829132" y="3726329"/>
                </a:lnTo>
                <a:lnTo>
                  <a:pt x="791012" y="3740624"/>
                </a:lnTo>
                <a:lnTo>
                  <a:pt x="781482" y="3759685"/>
                </a:lnTo>
                <a:lnTo>
                  <a:pt x="767186" y="3769215"/>
                </a:lnTo>
                <a:lnTo>
                  <a:pt x="752890" y="3759685"/>
                </a:lnTo>
                <a:lnTo>
                  <a:pt x="705240" y="3769215"/>
                </a:lnTo>
                <a:lnTo>
                  <a:pt x="657588" y="3783511"/>
                </a:lnTo>
                <a:lnTo>
                  <a:pt x="633762" y="3783511"/>
                </a:lnTo>
                <a:lnTo>
                  <a:pt x="614702" y="3778746"/>
                </a:lnTo>
                <a:lnTo>
                  <a:pt x="595642" y="3797806"/>
                </a:lnTo>
                <a:lnTo>
                  <a:pt x="571816" y="3821632"/>
                </a:lnTo>
                <a:lnTo>
                  <a:pt x="547990" y="3831162"/>
                </a:lnTo>
                <a:lnTo>
                  <a:pt x="538460" y="3826397"/>
                </a:lnTo>
                <a:lnTo>
                  <a:pt x="543226" y="3812102"/>
                </a:lnTo>
                <a:lnTo>
                  <a:pt x="562286" y="3802571"/>
                </a:lnTo>
                <a:lnTo>
                  <a:pt x="571816" y="3783511"/>
                </a:lnTo>
                <a:lnTo>
                  <a:pt x="571816" y="3769215"/>
                </a:lnTo>
                <a:lnTo>
                  <a:pt x="567050" y="3759685"/>
                </a:lnTo>
                <a:lnTo>
                  <a:pt x="557520" y="3759685"/>
                </a:lnTo>
                <a:lnTo>
                  <a:pt x="543226" y="3745390"/>
                </a:lnTo>
                <a:lnTo>
                  <a:pt x="528930" y="3707269"/>
                </a:lnTo>
                <a:lnTo>
                  <a:pt x="524164" y="3707269"/>
                </a:lnTo>
                <a:lnTo>
                  <a:pt x="519400" y="3716799"/>
                </a:lnTo>
                <a:lnTo>
                  <a:pt x="514634" y="3740624"/>
                </a:lnTo>
                <a:lnTo>
                  <a:pt x="509870" y="3750155"/>
                </a:lnTo>
                <a:lnTo>
                  <a:pt x="505104" y="3754920"/>
                </a:lnTo>
                <a:lnTo>
                  <a:pt x="495574" y="3764450"/>
                </a:lnTo>
                <a:lnTo>
                  <a:pt x="486044" y="3764450"/>
                </a:lnTo>
                <a:lnTo>
                  <a:pt x="457452" y="3764450"/>
                </a:lnTo>
                <a:lnTo>
                  <a:pt x="457452" y="3750155"/>
                </a:lnTo>
                <a:lnTo>
                  <a:pt x="457452" y="3745390"/>
                </a:lnTo>
                <a:lnTo>
                  <a:pt x="462218" y="3726329"/>
                </a:lnTo>
                <a:lnTo>
                  <a:pt x="457452" y="3726329"/>
                </a:lnTo>
                <a:lnTo>
                  <a:pt x="462218" y="3712034"/>
                </a:lnTo>
                <a:lnTo>
                  <a:pt x="466982" y="3712034"/>
                </a:lnTo>
                <a:lnTo>
                  <a:pt x="476514" y="3707269"/>
                </a:lnTo>
                <a:lnTo>
                  <a:pt x="476514" y="3702504"/>
                </a:lnTo>
                <a:lnTo>
                  <a:pt x="476514" y="3692973"/>
                </a:lnTo>
                <a:lnTo>
                  <a:pt x="466982" y="3692973"/>
                </a:lnTo>
                <a:lnTo>
                  <a:pt x="466982" y="3683443"/>
                </a:lnTo>
                <a:lnTo>
                  <a:pt x="476514" y="3659618"/>
                </a:lnTo>
                <a:lnTo>
                  <a:pt x="476514" y="3654852"/>
                </a:lnTo>
                <a:lnTo>
                  <a:pt x="466982" y="3654852"/>
                </a:lnTo>
                <a:lnTo>
                  <a:pt x="428862" y="3650087"/>
                </a:lnTo>
                <a:lnTo>
                  <a:pt x="376446" y="3616731"/>
                </a:lnTo>
                <a:lnTo>
                  <a:pt x="362150" y="3616731"/>
                </a:lnTo>
                <a:lnTo>
                  <a:pt x="357386" y="3588140"/>
                </a:lnTo>
                <a:lnTo>
                  <a:pt x="343090" y="3588140"/>
                </a:lnTo>
                <a:lnTo>
                  <a:pt x="328794" y="3607201"/>
                </a:lnTo>
                <a:lnTo>
                  <a:pt x="314498" y="3592906"/>
                </a:lnTo>
                <a:lnTo>
                  <a:pt x="300204" y="3588140"/>
                </a:lnTo>
                <a:lnTo>
                  <a:pt x="295438" y="3573845"/>
                </a:lnTo>
                <a:lnTo>
                  <a:pt x="295438" y="3554785"/>
                </a:lnTo>
                <a:lnTo>
                  <a:pt x="295438" y="3530959"/>
                </a:lnTo>
                <a:lnTo>
                  <a:pt x="290674" y="3507133"/>
                </a:lnTo>
                <a:lnTo>
                  <a:pt x="285908" y="3469012"/>
                </a:lnTo>
                <a:lnTo>
                  <a:pt x="290674" y="3435656"/>
                </a:lnTo>
                <a:lnTo>
                  <a:pt x="300204" y="3416596"/>
                </a:lnTo>
                <a:lnTo>
                  <a:pt x="304968" y="3402300"/>
                </a:lnTo>
                <a:lnTo>
                  <a:pt x="309734" y="3364180"/>
                </a:lnTo>
                <a:lnTo>
                  <a:pt x="314498" y="3321294"/>
                </a:lnTo>
                <a:lnTo>
                  <a:pt x="309734" y="3306998"/>
                </a:lnTo>
                <a:lnTo>
                  <a:pt x="309734" y="3297468"/>
                </a:lnTo>
                <a:lnTo>
                  <a:pt x="319264" y="3297468"/>
                </a:lnTo>
                <a:lnTo>
                  <a:pt x="314498" y="3292703"/>
                </a:lnTo>
                <a:lnTo>
                  <a:pt x="314498" y="3287938"/>
                </a:lnTo>
                <a:lnTo>
                  <a:pt x="309734" y="3278407"/>
                </a:lnTo>
                <a:lnTo>
                  <a:pt x="314498" y="3273642"/>
                </a:lnTo>
                <a:lnTo>
                  <a:pt x="324030" y="3273642"/>
                </a:lnTo>
                <a:lnTo>
                  <a:pt x="324030" y="3268877"/>
                </a:lnTo>
                <a:lnTo>
                  <a:pt x="324030" y="3264112"/>
                </a:lnTo>
                <a:lnTo>
                  <a:pt x="314498" y="3240286"/>
                </a:lnTo>
                <a:lnTo>
                  <a:pt x="314498" y="3225991"/>
                </a:lnTo>
                <a:lnTo>
                  <a:pt x="304968" y="3192635"/>
                </a:lnTo>
                <a:lnTo>
                  <a:pt x="290674" y="3159279"/>
                </a:lnTo>
                <a:lnTo>
                  <a:pt x="271612" y="3130688"/>
                </a:lnTo>
                <a:lnTo>
                  <a:pt x="276378" y="3092567"/>
                </a:lnTo>
                <a:lnTo>
                  <a:pt x="285908" y="3054446"/>
                </a:lnTo>
                <a:lnTo>
                  <a:pt x="285908" y="3035386"/>
                </a:lnTo>
                <a:lnTo>
                  <a:pt x="281142" y="3016325"/>
                </a:lnTo>
                <a:lnTo>
                  <a:pt x="257318" y="2992500"/>
                </a:lnTo>
                <a:lnTo>
                  <a:pt x="252552" y="2954379"/>
                </a:lnTo>
                <a:lnTo>
                  <a:pt x="247788" y="2921023"/>
                </a:lnTo>
                <a:lnTo>
                  <a:pt x="247788" y="2897197"/>
                </a:lnTo>
                <a:lnTo>
                  <a:pt x="252552" y="2878137"/>
                </a:lnTo>
                <a:lnTo>
                  <a:pt x="262082" y="2863841"/>
                </a:lnTo>
                <a:lnTo>
                  <a:pt x="300204" y="2806660"/>
                </a:lnTo>
                <a:lnTo>
                  <a:pt x="304968" y="2778069"/>
                </a:lnTo>
                <a:lnTo>
                  <a:pt x="333560" y="2778069"/>
                </a:lnTo>
                <a:lnTo>
                  <a:pt x="319264" y="2749478"/>
                </a:lnTo>
                <a:lnTo>
                  <a:pt x="314498" y="2735183"/>
                </a:lnTo>
                <a:lnTo>
                  <a:pt x="314498" y="2720888"/>
                </a:lnTo>
                <a:lnTo>
                  <a:pt x="357386" y="2706592"/>
                </a:lnTo>
                <a:lnTo>
                  <a:pt x="371680" y="2716122"/>
                </a:lnTo>
                <a:lnTo>
                  <a:pt x="405036" y="2706592"/>
                </a:lnTo>
                <a:lnTo>
                  <a:pt x="438392" y="2682766"/>
                </a:lnTo>
                <a:lnTo>
                  <a:pt x="438392" y="2673236"/>
                </a:lnTo>
                <a:lnTo>
                  <a:pt x="433628" y="2658941"/>
                </a:lnTo>
                <a:lnTo>
                  <a:pt x="424096" y="2639880"/>
                </a:lnTo>
                <a:lnTo>
                  <a:pt x="428862" y="2635115"/>
                </a:lnTo>
                <a:lnTo>
                  <a:pt x="438392" y="2635115"/>
                </a:lnTo>
                <a:lnTo>
                  <a:pt x="433628" y="2625585"/>
                </a:lnTo>
                <a:lnTo>
                  <a:pt x="438392" y="2616055"/>
                </a:lnTo>
                <a:lnTo>
                  <a:pt x="447922" y="2620820"/>
                </a:lnTo>
                <a:lnTo>
                  <a:pt x="466982" y="2587464"/>
                </a:lnTo>
                <a:lnTo>
                  <a:pt x="471748" y="2563638"/>
                </a:lnTo>
                <a:lnTo>
                  <a:pt x="505104" y="2554108"/>
                </a:lnTo>
                <a:lnTo>
                  <a:pt x="543226" y="2501692"/>
                </a:lnTo>
                <a:lnTo>
                  <a:pt x="562286" y="2487396"/>
                </a:lnTo>
                <a:lnTo>
                  <a:pt x="581346" y="2477866"/>
                </a:lnTo>
                <a:lnTo>
                  <a:pt x="619468" y="2430215"/>
                </a:lnTo>
                <a:lnTo>
                  <a:pt x="638528" y="2425450"/>
                </a:lnTo>
                <a:lnTo>
                  <a:pt x="643292" y="2392094"/>
                </a:lnTo>
                <a:lnTo>
                  <a:pt x="676648" y="2349208"/>
                </a:lnTo>
                <a:lnTo>
                  <a:pt x="686178" y="2344442"/>
                </a:lnTo>
                <a:lnTo>
                  <a:pt x="700474" y="2301556"/>
                </a:lnTo>
                <a:lnTo>
                  <a:pt x="743360" y="2253905"/>
                </a:lnTo>
                <a:lnTo>
                  <a:pt x="767186" y="2196724"/>
                </a:lnTo>
                <a:lnTo>
                  <a:pt x="781482" y="2172898"/>
                </a:lnTo>
                <a:lnTo>
                  <a:pt x="786246" y="2149072"/>
                </a:lnTo>
                <a:lnTo>
                  <a:pt x="800542" y="2149072"/>
                </a:lnTo>
                <a:lnTo>
                  <a:pt x="814838" y="2130012"/>
                </a:lnTo>
                <a:lnTo>
                  <a:pt x="848194" y="2120482"/>
                </a:lnTo>
                <a:lnTo>
                  <a:pt x="876784" y="2125246"/>
                </a:lnTo>
                <a:lnTo>
                  <a:pt x="886314" y="2130012"/>
                </a:lnTo>
                <a:lnTo>
                  <a:pt x="900610" y="2130012"/>
                </a:lnTo>
                <a:lnTo>
                  <a:pt x="900610" y="2106186"/>
                </a:lnTo>
                <a:lnTo>
                  <a:pt x="891080" y="2096656"/>
                </a:lnTo>
                <a:lnTo>
                  <a:pt x="895844" y="2082360"/>
                </a:lnTo>
                <a:lnTo>
                  <a:pt x="914906" y="2072830"/>
                </a:lnTo>
                <a:lnTo>
                  <a:pt x="910140" y="2053770"/>
                </a:lnTo>
                <a:lnTo>
                  <a:pt x="910140" y="2039474"/>
                </a:lnTo>
                <a:lnTo>
                  <a:pt x="895844" y="2025179"/>
                </a:lnTo>
                <a:lnTo>
                  <a:pt x="900610" y="1987058"/>
                </a:lnTo>
                <a:lnTo>
                  <a:pt x="905374" y="1948937"/>
                </a:lnTo>
                <a:lnTo>
                  <a:pt x="910140" y="1896520"/>
                </a:lnTo>
                <a:lnTo>
                  <a:pt x="891080" y="1872695"/>
                </a:lnTo>
                <a:lnTo>
                  <a:pt x="829132" y="1829809"/>
                </a:lnTo>
                <a:lnTo>
                  <a:pt x="819602" y="1829809"/>
                </a:lnTo>
                <a:lnTo>
                  <a:pt x="805308" y="1825044"/>
                </a:lnTo>
                <a:lnTo>
                  <a:pt x="791012" y="1791688"/>
                </a:lnTo>
                <a:lnTo>
                  <a:pt x="795776" y="1767862"/>
                </a:lnTo>
                <a:lnTo>
                  <a:pt x="795776" y="1753567"/>
                </a:lnTo>
                <a:lnTo>
                  <a:pt x="791012" y="1753567"/>
                </a:lnTo>
                <a:lnTo>
                  <a:pt x="781482" y="1767862"/>
                </a:lnTo>
                <a:lnTo>
                  <a:pt x="762420" y="1786923"/>
                </a:lnTo>
                <a:lnTo>
                  <a:pt x="738596" y="1772627"/>
                </a:lnTo>
                <a:lnTo>
                  <a:pt x="724300" y="1777392"/>
                </a:lnTo>
                <a:lnTo>
                  <a:pt x="705240" y="1705915"/>
                </a:lnTo>
                <a:lnTo>
                  <a:pt x="700474" y="1677325"/>
                </a:lnTo>
                <a:lnTo>
                  <a:pt x="686178" y="1643969"/>
                </a:lnTo>
                <a:lnTo>
                  <a:pt x="662354" y="1624908"/>
                </a:lnTo>
                <a:lnTo>
                  <a:pt x="657588" y="1620143"/>
                </a:lnTo>
                <a:lnTo>
                  <a:pt x="652822" y="1601083"/>
                </a:lnTo>
                <a:lnTo>
                  <a:pt x="652822" y="1582022"/>
                </a:lnTo>
                <a:lnTo>
                  <a:pt x="648058" y="1553431"/>
                </a:lnTo>
                <a:lnTo>
                  <a:pt x="648058" y="1529606"/>
                </a:lnTo>
                <a:lnTo>
                  <a:pt x="652822" y="1515310"/>
                </a:lnTo>
                <a:lnTo>
                  <a:pt x="662354" y="1505780"/>
                </a:lnTo>
                <a:lnTo>
                  <a:pt x="676648" y="1477189"/>
                </a:lnTo>
                <a:lnTo>
                  <a:pt x="681414" y="1458129"/>
                </a:lnTo>
                <a:lnTo>
                  <a:pt x="681414" y="1424773"/>
                </a:lnTo>
                <a:lnTo>
                  <a:pt x="690944" y="1400947"/>
                </a:lnTo>
                <a:lnTo>
                  <a:pt x="695710" y="1386652"/>
                </a:lnTo>
                <a:lnTo>
                  <a:pt x="695710" y="1372356"/>
                </a:lnTo>
                <a:lnTo>
                  <a:pt x="690944" y="1358061"/>
                </a:lnTo>
                <a:lnTo>
                  <a:pt x="681414" y="1334236"/>
                </a:lnTo>
                <a:lnTo>
                  <a:pt x="662354" y="1310410"/>
                </a:lnTo>
                <a:lnTo>
                  <a:pt x="648058" y="1281819"/>
                </a:lnTo>
                <a:lnTo>
                  <a:pt x="643292" y="1257994"/>
                </a:lnTo>
                <a:lnTo>
                  <a:pt x="638528" y="1234168"/>
                </a:lnTo>
                <a:lnTo>
                  <a:pt x="643292" y="1215107"/>
                </a:lnTo>
                <a:lnTo>
                  <a:pt x="643292" y="1200812"/>
                </a:lnTo>
                <a:lnTo>
                  <a:pt x="662354" y="1186517"/>
                </a:lnTo>
                <a:lnTo>
                  <a:pt x="662354" y="1176986"/>
                </a:lnTo>
                <a:lnTo>
                  <a:pt x="657588" y="1138865"/>
                </a:lnTo>
                <a:lnTo>
                  <a:pt x="648058" y="1129335"/>
                </a:lnTo>
                <a:lnTo>
                  <a:pt x="628998" y="1129335"/>
                </a:lnTo>
                <a:lnTo>
                  <a:pt x="614702" y="1129335"/>
                </a:lnTo>
                <a:lnTo>
                  <a:pt x="614702" y="1124570"/>
                </a:lnTo>
                <a:lnTo>
                  <a:pt x="614702" y="1115040"/>
                </a:lnTo>
                <a:lnTo>
                  <a:pt x="614702" y="1100744"/>
                </a:lnTo>
                <a:lnTo>
                  <a:pt x="624232" y="1081684"/>
                </a:lnTo>
                <a:lnTo>
                  <a:pt x="628998" y="1072154"/>
                </a:lnTo>
                <a:lnTo>
                  <a:pt x="628998" y="1057858"/>
                </a:lnTo>
                <a:lnTo>
                  <a:pt x="619468" y="1029267"/>
                </a:lnTo>
                <a:lnTo>
                  <a:pt x="619468" y="986381"/>
                </a:lnTo>
                <a:lnTo>
                  <a:pt x="619468" y="953025"/>
                </a:lnTo>
                <a:lnTo>
                  <a:pt x="643292" y="929200"/>
                </a:lnTo>
                <a:lnTo>
                  <a:pt x="643292" y="919670"/>
                </a:lnTo>
                <a:lnTo>
                  <a:pt x="614702" y="895844"/>
                </a:lnTo>
                <a:lnTo>
                  <a:pt x="600406" y="862488"/>
                </a:lnTo>
                <a:lnTo>
                  <a:pt x="590876" y="848193"/>
                </a:lnTo>
                <a:lnTo>
                  <a:pt x="571816" y="843427"/>
                </a:lnTo>
                <a:lnTo>
                  <a:pt x="557520" y="791011"/>
                </a:lnTo>
                <a:lnTo>
                  <a:pt x="538460" y="767185"/>
                </a:lnTo>
                <a:lnTo>
                  <a:pt x="519400" y="748125"/>
                </a:lnTo>
                <a:lnTo>
                  <a:pt x="509870" y="738595"/>
                </a:lnTo>
                <a:lnTo>
                  <a:pt x="443158" y="705239"/>
                </a:lnTo>
                <a:lnTo>
                  <a:pt x="419332" y="700474"/>
                </a:lnTo>
                <a:lnTo>
                  <a:pt x="385976" y="681413"/>
                </a:lnTo>
                <a:lnTo>
                  <a:pt x="362150" y="657588"/>
                </a:lnTo>
                <a:lnTo>
                  <a:pt x="343090" y="643292"/>
                </a:lnTo>
                <a:lnTo>
                  <a:pt x="328794" y="624232"/>
                </a:lnTo>
                <a:lnTo>
                  <a:pt x="304968" y="609936"/>
                </a:lnTo>
                <a:lnTo>
                  <a:pt x="295438" y="595641"/>
                </a:lnTo>
                <a:lnTo>
                  <a:pt x="271612" y="567050"/>
                </a:lnTo>
                <a:lnTo>
                  <a:pt x="257318" y="547990"/>
                </a:lnTo>
                <a:lnTo>
                  <a:pt x="219196" y="514634"/>
                </a:lnTo>
                <a:lnTo>
                  <a:pt x="214432" y="500338"/>
                </a:lnTo>
                <a:lnTo>
                  <a:pt x="214432" y="490808"/>
                </a:lnTo>
                <a:lnTo>
                  <a:pt x="214432" y="481278"/>
                </a:lnTo>
                <a:lnTo>
                  <a:pt x="171544" y="457452"/>
                </a:lnTo>
                <a:lnTo>
                  <a:pt x="181076" y="443157"/>
                </a:lnTo>
                <a:lnTo>
                  <a:pt x="214432" y="443157"/>
                </a:lnTo>
                <a:lnTo>
                  <a:pt x="243022" y="457452"/>
                </a:lnTo>
                <a:lnTo>
                  <a:pt x="247788" y="452687"/>
                </a:lnTo>
                <a:lnTo>
                  <a:pt x="252552" y="438392"/>
                </a:lnTo>
                <a:lnTo>
                  <a:pt x="238256" y="390740"/>
                </a:lnTo>
                <a:lnTo>
                  <a:pt x="243022" y="381210"/>
                </a:lnTo>
                <a:lnTo>
                  <a:pt x="252552" y="366915"/>
                </a:lnTo>
                <a:lnTo>
                  <a:pt x="271612" y="352619"/>
                </a:lnTo>
                <a:lnTo>
                  <a:pt x="300204" y="352619"/>
                </a:lnTo>
                <a:lnTo>
                  <a:pt x="324030" y="352619"/>
                </a:lnTo>
                <a:lnTo>
                  <a:pt x="328794" y="357384"/>
                </a:lnTo>
                <a:lnTo>
                  <a:pt x="357386" y="405036"/>
                </a:lnTo>
                <a:lnTo>
                  <a:pt x="385976" y="457452"/>
                </a:lnTo>
                <a:lnTo>
                  <a:pt x="400272" y="476513"/>
                </a:lnTo>
                <a:lnTo>
                  <a:pt x="433628" y="538459"/>
                </a:lnTo>
                <a:lnTo>
                  <a:pt x="447922" y="571815"/>
                </a:lnTo>
                <a:lnTo>
                  <a:pt x="452688" y="595641"/>
                </a:lnTo>
                <a:lnTo>
                  <a:pt x="466982" y="595641"/>
                </a:lnTo>
                <a:lnTo>
                  <a:pt x="514634" y="605171"/>
                </a:lnTo>
                <a:lnTo>
                  <a:pt x="552756" y="614701"/>
                </a:lnTo>
                <a:lnTo>
                  <a:pt x="567050" y="628997"/>
                </a:lnTo>
                <a:lnTo>
                  <a:pt x="595642" y="624232"/>
                </a:lnTo>
                <a:lnTo>
                  <a:pt x="614702" y="614701"/>
                </a:lnTo>
                <a:lnTo>
                  <a:pt x="652822" y="600406"/>
                </a:lnTo>
                <a:lnTo>
                  <a:pt x="662354" y="581346"/>
                </a:lnTo>
                <a:lnTo>
                  <a:pt x="676648" y="557520"/>
                </a:lnTo>
                <a:lnTo>
                  <a:pt x="700474" y="562285"/>
                </a:lnTo>
                <a:lnTo>
                  <a:pt x="724300" y="576580"/>
                </a:lnTo>
                <a:lnTo>
                  <a:pt x="752890" y="600406"/>
                </a:lnTo>
                <a:lnTo>
                  <a:pt x="776716" y="609936"/>
                </a:lnTo>
                <a:lnTo>
                  <a:pt x="810072" y="624232"/>
                </a:lnTo>
                <a:lnTo>
                  <a:pt x="824368" y="643292"/>
                </a:lnTo>
                <a:lnTo>
                  <a:pt x="848194" y="652822"/>
                </a:lnTo>
                <a:lnTo>
                  <a:pt x="867254" y="628997"/>
                </a:lnTo>
                <a:lnTo>
                  <a:pt x="881550" y="576580"/>
                </a:lnTo>
                <a:lnTo>
                  <a:pt x="895844" y="552755"/>
                </a:lnTo>
                <a:lnTo>
                  <a:pt x="910140" y="533694"/>
                </a:lnTo>
                <a:lnTo>
                  <a:pt x="929200" y="524164"/>
                </a:lnTo>
                <a:lnTo>
                  <a:pt x="943496" y="524164"/>
                </a:lnTo>
                <a:lnTo>
                  <a:pt x="957792" y="509869"/>
                </a:lnTo>
                <a:lnTo>
                  <a:pt x="972086" y="481278"/>
                </a:lnTo>
                <a:lnTo>
                  <a:pt x="976852" y="443157"/>
                </a:lnTo>
                <a:lnTo>
                  <a:pt x="972086" y="371680"/>
                </a:lnTo>
                <a:lnTo>
                  <a:pt x="976852" y="352619"/>
                </a:lnTo>
                <a:lnTo>
                  <a:pt x="986382" y="314498"/>
                </a:lnTo>
                <a:lnTo>
                  <a:pt x="1005442" y="214431"/>
                </a:lnTo>
                <a:lnTo>
                  <a:pt x="1014972" y="185840"/>
                </a:lnTo>
                <a:lnTo>
                  <a:pt x="1024504" y="166779"/>
                </a:lnTo>
                <a:lnTo>
                  <a:pt x="1034034" y="157249"/>
                </a:lnTo>
                <a:lnTo>
                  <a:pt x="1057858" y="128658"/>
                </a:lnTo>
                <a:lnTo>
                  <a:pt x="1095980" y="66712"/>
                </a:lnTo>
                <a:lnTo>
                  <a:pt x="1100746" y="61947"/>
                </a:lnTo>
                <a:lnTo>
                  <a:pt x="1124570" y="57182"/>
                </a:lnTo>
                <a:lnTo>
                  <a:pt x="1157926" y="61947"/>
                </a:lnTo>
                <a:lnTo>
                  <a:pt x="1186518" y="71477"/>
                </a:lnTo>
                <a:lnTo>
                  <a:pt x="1200812" y="66712"/>
                </a:lnTo>
                <a:lnTo>
                  <a:pt x="1219874" y="47651"/>
                </a:lnTo>
                <a:lnTo>
                  <a:pt x="1257994" y="9530"/>
                </a:lnTo>
                <a:close/>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396" name="CustomShape 21"/>
          <p:cNvSpPr/>
          <p:nvPr/>
        </p:nvSpPr>
        <p:spPr>
          <a:xfrm>
            <a:off x="2155680" y="3286440"/>
            <a:ext cx="64440" cy="129240"/>
          </a:xfrm>
          <a:custGeom>
            <a:avLst/>
            <a:gdLst/>
            <a:ahLst/>
            <a:cxnLst/>
            <a:rect l="l" t="t" r="r" b="b"/>
            <a:pathLst>
              <a:path w="157252" h="309734">
                <a:moveTo>
                  <a:pt x="76244" y="238257"/>
                </a:moveTo>
                <a:lnTo>
                  <a:pt x="81008" y="238257"/>
                </a:lnTo>
                <a:lnTo>
                  <a:pt x="81008" y="247787"/>
                </a:lnTo>
                <a:lnTo>
                  <a:pt x="100068" y="252552"/>
                </a:lnTo>
                <a:lnTo>
                  <a:pt x="104834" y="257318"/>
                </a:lnTo>
                <a:lnTo>
                  <a:pt x="104834" y="271613"/>
                </a:lnTo>
                <a:lnTo>
                  <a:pt x="109598" y="285908"/>
                </a:lnTo>
                <a:lnTo>
                  <a:pt x="109598" y="300204"/>
                </a:lnTo>
                <a:lnTo>
                  <a:pt x="114364" y="309734"/>
                </a:lnTo>
                <a:lnTo>
                  <a:pt x="109598" y="309734"/>
                </a:lnTo>
                <a:lnTo>
                  <a:pt x="100068" y="300204"/>
                </a:lnTo>
                <a:lnTo>
                  <a:pt x="81008" y="271613"/>
                </a:lnTo>
                <a:lnTo>
                  <a:pt x="76244" y="247787"/>
                </a:lnTo>
                <a:close/>
                <a:moveTo>
                  <a:pt x="90540" y="147719"/>
                </a:moveTo>
                <a:lnTo>
                  <a:pt x="95304" y="152484"/>
                </a:lnTo>
                <a:lnTo>
                  <a:pt x="119130" y="162014"/>
                </a:lnTo>
                <a:lnTo>
                  <a:pt x="123896" y="176310"/>
                </a:lnTo>
                <a:lnTo>
                  <a:pt x="123896" y="181075"/>
                </a:lnTo>
                <a:lnTo>
                  <a:pt x="119130" y="195370"/>
                </a:lnTo>
                <a:lnTo>
                  <a:pt x="114364" y="195370"/>
                </a:lnTo>
                <a:lnTo>
                  <a:pt x="100070" y="176310"/>
                </a:lnTo>
                <a:lnTo>
                  <a:pt x="90540" y="171544"/>
                </a:lnTo>
                <a:lnTo>
                  <a:pt x="85774" y="162014"/>
                </a:lnTo>
                <a:lnTo>
                  <a:pt x="81008" y="152484"/>
                </a:lnTo>
                <a:close/>
                <a:moveTo>
                  <a:pt x="28592" y="66712"/>
                </a:moveTo>
                <a:lnTo>
                  <a:pt x="38122" y="71477"/>
                </a:lnTo>
                <a:lnTo>
                  <a:pt x="47652" y="85772"/>
                </a:lnTo>
                <a:lnTo>
                  <a:pt x="57184" y="95303"/>
                </a:lnTo>
                <a:lnTo>
                  <a:pt x="47652" y="100068"/>
                </a:lnTo>
                <a:lnTo>
                  <a:pt x="38122" y="104833"/>
                </a:lnTo>
                <a:lnTo>
                  <a:pt x="23826" y="100068"/>
                </a:lnTo>
                <a:lnTo>
                  <a:pt x="4766" y="90538"/>
                </a:lnTo>
                <a:lnTo>
                  <a:pt x="0" y="71477"/>
                </a:lnTo>
                <a:lnTo>
                  <a:pt x="14296" y="71477"/>
                </a:lnTo>
                <a:close/>
                <a:moveTo>
                  <a:pt x="71478" y="9530"/>
                </a:moveTo>
                <a:lnTo>
                  <a:pt x="95304" y="28590"/>
                </a:lnTo>
                <a:lnTo>
                  <a:pt x="123894" y="42886"/>
                </a:lnTo>
                <a:lnTo>
                  <a:pt x="119128" y="85772"/>
                </a:lnTo>
                <a:lnTo>
                  <a:pt x="109598" y="85772"/>
                </a:lnTo>
                <a:lnTo>
                  <a:pt x="100068" y="71476"/>
                </a:lnTo>
                <a:lnTo>
                  <a:pt x="90538" y="71476"/>
                </a:lnTo>
                <a:lnTo>
                  <a:pt x="90538" y="76242"/>
                </a:lnTo>
                <a:lnTo>
                  <a:pt x="90538" y="85772"/>
                </a:lnTo>
                <a:lnTo>
                  <a:pt x="95304" y="90537"/>
                </a:lnTo>
                <a:lnTo>
                  <a:pt x="109598" y="119128"/>
                </a:lnTo>
                <a:lnTo>
                  <a:pt x="109598" y="128658"/>
                </a:lnTo>
                <a:lnTo>
                  <a:pt x="109598" y="133423"/>
                </a:lnTo>
                <a:lnTo>
                  <a:pt x="95304" y="123893"/>
                </a:lnTo>
                <a:lnTo>
                  <a:pt x="61948" y="85772"/>
                </a:lnTo>
                <a:lnTo>
                  <a:pt x="38122" y="23825"/>
                </a:lnTo>
                <a:close/>
                <a:moveTo>
                  <a:pt x="133424" y="0"/>
                </a:moveTo>
                <a:lnTo>
                  <a:pt x="147720" y="19061"/>
                </a:lnTo>
                <a:lnTo>
                  <a:pt x="157252" y="33356"/>
                </a:lnTo>
                <a:lnTo>
                  <a:pt x="147720" y="57182"/>
                </a:lnTo>
                <a:lnTo>
                  <a:pt x="138190" y="52417"/>
                </a:lnTo>
                <a:lnTo>
                  <a:pt x="138190" y="47652"/>
                </a:lnTo>
                <a:lnTo>
                  <a:pt x="133424" y="42886"/>
                </a:lnTo>
                <a:lnTo>
                  <a:pt x="133424" y="23826"/>
                </a:lnTo>
                <a:close/>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397" name="CustomShape 22"/>
          <p:cNvSpPr/>
          <p:nvPr/>
        </p:nvSpPr>
        <p:spPr>
          <a:xfrm>
            <a:off x="3947760" y="5559480"/>
            <a:ext cx="565560" cy="573480"/>
          </a:xfrm>
          <a:custGeom>
            <a:avLst/>
            <a:gdLst/>
            <a:ahLst/>
            <a:cxnLst/>
            <a:rect l="l" t="t" r="r" b="b"/>
            <a:pathLst>
              <a:path w="1339002" h="1358062">
                <a:moveTo>
                  <a:pt x="638528" y="1219872"/>
                </a:moveTo>
                <a:lnTo>
                  <a:pt x="643294" y="1224638"/>
                </a:lnTo>
                <a:lnTo>
                  <a:pt x="648060" y="1238932"/>
                </a:lnTo>
                <a:lnTo>
                  <a:pt x="657590" y="1243698"/>
                </a:lnTo>
                <a:lnTo>
                  <a:pt x="667120" y="1243698"/>
                </a:lnTo>
                <a:lnTo>
                  <a:pt x="681414" y="1243698"/>
                </a:lnTo>
                <a:lnTo>
                  <a:pt x="686180" y="1243698"/>
                </a:lnTo>
                <a:lnTo>
                  <a:pt x="695710" y="1229402"/>
                </a:lnTo>
                <a:lnTo>
                  <a:pt x="705240" y="1229402"/>
                </a:lnTo>
                <a:lnTo>
                  <a:pt x="710006" y="1243698"/>
                </a:lnTo>
                <a:lnTo>
                  <a:pt x="700476" y="1248462"/>
                </a:lnTo>
                <a:lnTo>
                  <a:pt x="695710" y="1248462"/>
                </a:lnTo>
                <a:lnTo>
                  <a:pt x="700476" y="1253228"/>
                </a:lnTo>
                <a:lnTo>
                  <a:pt x="710006" y="1257994"/>
                </a:lnTo>
                <a:lnTo>
                  <a:pt x="719536" y="1253228"/>
                </a:lnTo>
                <a:lnTo>
                  <a:pt x="719536" y="1262758"/>
                </a:lnTo>
                <a:lnTo>
                  <a:pt x="724302" y="1272288"/>
                </a:lnTo>
                <a:lnTo>
                  <a:pt x="729066" y="1277054"/>
                </a:lnTo>
                <a:lnTo>
                  <a:pt x="733832" y="1277054"/>
                </a:lnTo>
                <a:lnTo>
                  <a:pt x="748126" y="1272288"/>
                </a:lnTo>
                <a:lnTo>
                  <a:pt x="762422" y="1272288"/>
                </a:lnTo>
                <a:lnTo>
                  <a:pt x="776718" y="1267524"/>
                </a:lnTo>
                <a:lnTo>
                  <a:pt x="791014" y="1262758"/>
                </a:lnTo>
                <a:lnTo>
                  <a:pt x="838664" y="1267524"/>
                </a:lnTo>
                <a:lnTo>
                  <a:pt x="852960" y="1277054"/>
                </a:lnTo>
                <a:lnTo>
                  <a:pt x="881550" y="1281818"/>
                </a:lnTo>
                <a:lnTo>
                  <a:pt x="910142" y="1286584"/>
                </a:lnTo>
                <a:lnTo>
                  <a:pt x="924436" y="1281818"/>
                </a:lnTo>
                <a:lnTo>
                  <a:pt x="948262" y="1277054"/>
                </a:lnTo>
                <a:lnTo>
                  <a:pt x="953028" y="1281818"/>
                </a:lnTo>
                <a:lnTo>
                  <a:pt x="953028" y="1310410"/>
                </a:lnTo>
                <a:lnTo>
                  <a:pt x="953028" y="1319940"/>
                </a:lnTo>
                <a:lnTo>
                  <a:pt x="957792" y="1319940"/>
                </a:lnTo>
                <a:lnTo>
                  <a:pt x="967322" y="1319940"/>
                </a:lnTo>
                <a:lnTo>
                  <a:pt x="976854" y="1310410"/>
                </a:lnTo>
                <a:lnTo>
                  <a:pt x="995914" y="1305644"/>
                </a:lnTo>
                <a:lnTo>
                  <a:pt x="1019740" y="1305644"/>
                </a:lnTo>
                <a:lnTo>
                  <a:pt x="1038800" y="1286584"/>
                </a:lnTo>
                <a:lnTo>
                  <a:pt x="1043564" y="1286584"/>
                </a:lnTo>
                <a:lnTo>
                  <a:pt x="1038800" y="1296114"/>
                </a:lnTo>
                <a:lnTo>
                  <a:pt x="1038800" y="1315174"/>
                </a:lnTo>
                <a:lnTo>
                  <a:pt x="1034034" y="1324706"/>
                </a:lnTo>
                <a:lnTo>
                  <a:pt x="1029270" y="1334236"/>
                </a:lnTo>
                <a:lnTo>
                  <a:pt x="1019740" y="1339000"/>
                </a:lnTo>
                <a:lnTo>
                  <a:pt x="1000678" y="1343766"/>
                </a:lnTo>
                <a:lnTo>
                  <a:pt x="967322" y="1339000"/>
                </a:lnTo>
                <a:lnTo>
                  <a:pt x="933966" y="1343766"/>
                </a:lnTo>
                <a:lnTo>
                  <a:pt x="867256" y="1353296"/>
                </a:lnTo>
                <a:lnTo>
                  <a:pt x="805308" y="1358062"/>
                </a:lnTo>
                <a:lnTo>
                  <a:pt x="795778" y="1353296"/>
                </a:lnTo>
                <a:lnTo>
                  <a:pt x="795778" y="1343766"/>
                </a:lnTo>
                <a:lnTo>
                  <a:pt x="795778" y="1334236"/>
                </a:lnTo>
                <a:lnTo>
                  <a:pt x="791014" y="1329470"/>
                </a:lnTo>
                <a:lnTo>
                  <a:pt x="771952" y="1324706"/>
                </a:lnTo>
                <a:lnTo>
                  <a:pt x="752892" y="1315174"/>
                </a:lnTo>
                <a:lnTo>
                  <a:pt x="681414" y="1300880"/>
                </a:lnTo>
                <a:lnTo>
                  <a:pt x="662354" y="1296114"/>
                </a:lnTo>
                <a:lnTo>
                  <a:pt x="633764" y="1300880"/>
                </a:lnTo>
                <a:lnTo>
                  <a:pt x="624234" y="1300880"/>
                </a:lnTo>
                <a:lnTo>
                  <a:pt x="614704" y="1296114"/>
                </a:lnTo>
                <a:lnTo>
                  <a:pt x="609938" y="1286584"/>
                </a:lnTo>
                <a:lnTo>
                  <a:pt x="609938" y="1267524"/>
                </a:lnTo>
                <a:lnTo>
                  <a:pt x="614704" y="1243698"/>
                </a:lnTo>
                <a:lnTo>
                  <a:pt x="619468" y="1234168"/>
                </a:lnTo>
                <a:lnTo>
                  <a:pt x="624234" y="1243698"/>
                </a:lnTo>
                <a:lnTo>
                  <a:pt x="628998" y="1248462"/>
                </a:lnTo>
                <a:lnTo>
                  <a:pt x="633764" y="1238932"/>
                </a:lnTo>
                <a:lnTo>
                  <a:pt x="633764" y="1229402"/>
                </a:lnTo>
                <a:close/>
                <a:moveTo>
                  <a:pt x="1181752" y="1186518"/>
                </a:moveTo>
                <a:lnTo>
                  <a:pt x="1181752" y="1205578"/>
                </a:lnTo>
                <a:lnTo>
                  <a:pt x="1172222" y="1224638"/>
                </a:lnTo>
                <a:lnTo>
                  <a:pt x="1181752" y="1238934"/>
                </a:lnTo>
                <a:lnTo>
                  <a:pt x="1186518" y="1253228"/>
                </a:lnTo>
                <a:lnTo>
                  <a:pt x="1176988" y="1257994"/>
                </a:lnTo>
                <a:lnTo>
                  <a:pt x="1172222" y="1267524"/>
                </a:lnTo>
                <a:lnTo>
                  <a:pt x="1162692" y="1257994"/>
                </a:lnTo>
                <a:lnTo>
                  <a:pt x="1167458" y="1248464"/>
                </a:lnTo>
                <a:lnTo>
                  <a:pt x="1157928" y="1229404"/>
                </a:lnTo>
                <a:lnTo>
                  <a:pt x="1172222" y="1205578"/>
                </a:lnTo>
                <a:lnTo>
                  <a:pt x="1172222" y="1191282"/>
                </a:lnTo>
                <a:close/>
                <a:moveTo>
                  <a:pt x="514636" y="1076918"/>
                </a:moveTo>
                <a:lnTo>
                  <a:pt x="524166" y="1091214"/>
                </a:lnTo>
                <a:lnTo>
                  <a:pt x="538460" y="1105510"/>
                </a:lnTo>
                <a:lnTo>
                  <a:pt x="533696" y="1115040"/>
                </a:lnTo>
                <a:lnTo>
                  <a:pt x="528930" y="1124570"/>
                </a:lnTo>
                <a:lnTo>
                  <a:pt x="514636" y="1119804"/>
                </a:lnTo>
                <a:lnTo>
                  <a:pt x="509870" y="1110274"/>
                </a:lnTo>
                <a:lnTo>
                  <a:pt x="509870" y="1091214"/>
                </a:lnTo>
                <a:lnTo>
                  <a:pt x="514636" y="1081684"/>
                </a:lnTo>
                <a:close/>
                <a:moveTo>
                  <a:pt x="1339002" y="1067388"/>
                </a:moveTo>
                <a:lnTo>
                  <a:pt x="1339002" y="1081684"/>
                </a:lnTo>
                <a:lnTo>
                  <a:pt x="1329472" y="1110274"/>
                </a:lnTo>
                <a:lnTo>
                  <a:pt x="1315176" y="1129334"/>
                </a:lnTo>
                <a:lnTo>
                  <a:pt x="1319942" y="1138866"/>
                </a:lnTo>
                <a:lnTo>
                  <a:pt x="1300882" y="1143630"/>
                </a:lnTo>
                <a:lnTo>
                  <a:pt x="1281820" y="1167456"/>
                </a:lnTo>
                <a:lnTo>
                  <a:pt x="1267526" y="1172222"/>
                </a:lnTo>
                <a:lnTo>
                  <a:pt x="1262760" y="1172222"/>
                </a:lnTo>
                <a:lnTo>
                  <a:pt x="1257996" y="1162690"/>
                </a:lnTo>
                <a:lnTo>
                  <a:pt x="1267526" y="1138866"/>
                </a:lnTo>
                <a:lnTo>
                  <a:pt x="1262760" y="1124570"/>
                </a:lnTo>
                <a:lnTo>
                  <a:pt x="1262760" y="1119804"/>
                </a:lnTo>
                <a:lnTo>
                  <a:pt x="1267526" y="1110274"/>
                </a:lnTo>
                <a:lnTo>
                  <a:pt x="1277056" y="1100744"/>
                </a:lnTo>
                <a:lnTo>
                  <a:pt x="1291350" y="1086448"/>
                </a:lnTo>
                <a:lnTo>
                  <a:pt x="1329472" y="1072154"/>
                </a:lnTo>
                <a:close/>
                <a:moveTo>
                  <a:pt x="900610" y="1062622"/>
                </a:moveTo>
                <a:lnTo>
                  <a:pt x="910140" y="1067388"/>
                </a:lnTo>
                <a:lnTo>
                  <a:pt x="910140" y="1076918"/>
                </a:lnTo>
                <a:lnTo>
                  <a:pt x="905376" y="1086450"/>
                </a:lnTo>
                <a:lnTo>
                  <a:pt x="895844" y="1081684"/>
                </a:lnTo>
                <a:lnTo>
                  <a:pt x="900610" y="1076918"/>
                </a:lnTo>
                <a:lnTo>
                  <a:pt x="900610" y="1072154"/>
                </a:lnTo>
                <a:lnTo>
                  <a:pt x="900610" y="1067388"/>
                </a:lnTo>
                <a:close/>
                <a:moveTo>
                  <a:pt x="1277056" y="1029266"/>
                </a:moveTo>
                <a:lnTo>
                  <a:pt x="1281820" y="1029266"/>
                </a:lnTo>
                <a:lnTo>
                  <a:pt x="1286584" y="1034032"/>
                </a:lnTo>
                <a:lnTo>
                  <a:pt x="1286584" y="1038798"/>
                </a:lnTo>
                <a:lnTo>
                  <a:pt x="1281820" y="1043562"/>
                </a:lnTo>
                <a:lnTo>
                  <a:pt x="1281820" y="1048328"/>
                </a:lnTo>
                <a:lnTo>
                  <a:pt x="1272290" y="1038798"/>
                </a:lnTo>
                <a:lnTo>
                  <a:pt x="1272290" y="1034032"/>
                </a:lnTo>
                <a:close/>
                <a:moveTo>
                  <a:pt x="1048330" y="1029266"/>
                </a:moveTo>
                <a:lnTo>
                  <a:pt x="1057860" y="1034032"/>
                </a:lnTo>
                <a:lnTo>
                  <a:pt x="1062624" y="1038798"/>
                </a:lnTo>
                <a:lnTo>
                  <a:pt x="1053094" y="1043562"/>
                </a:lnTo>
                <a:lnTo>
                  <a:pt x="1043564" y="1053094"/>
                </a:lnTo>
                <a:lnTo>
                  <a:pt x="1034034" y="1048328"/>
                </a:lnTo>
                <a:lnTo>
                  <a:pt x="1034034" y="1038798"/>
                </a:lnTo>
                <a:lnTo>
                  <a:pt x="1043564" y="1038798"/>
                </a:lnTo>
                <a:lnTo>
                  <a:pt x="1053094" y="1034032"/>
                </a:lnTo>
                <a:close/>
                <a:moveTo>
                  <a:pt x="762422" y="1005442"/>
                </a:moveTo>
                <a:lnTo>
                  <a:pt x="762422" y="1014972"/>
                </a:lnTo>
                <a:lnTo>
                  <a:pt x="762422" y="1019738"/>
                </a:lnTo>
                <a:lnTo>
                  <a:pt x="729066" y="1024502"/>
                </a:lnTo>
                <a:lnTo>
                  <a:pt x="733832" y="1010208"/>
                </a:lnTo>
                <a:lnTo>
                  <a:pt x="738596" y="1010208"/>
                </a:lnTo>
                <a:lnTo>
                  <a:pt x="748126" y="1014972"/>
                </a:lnTo>
                <a:lnTo>
                  <a:pt x="748126" y="1010208"/>
                </a:lnTo>
                <a:lnTo>
                  <a:pt x="752892" y="1010208"/>
                </a:lnTo>
                <a:close/>
                <a:moveTo>
                  <a:pt x="881550" y="1000678"/>
                </a:moveTo>
                <a:lnTo>
                  <a:pt x="900612" y="1014972"/>
                </a:lnTo>
                <a:lnTo>
                  <a:pt x="895846" y="1024502"/>
                </a:lnTo>
                <a:lnTo>
                  <a:pt x="881550" y="1014972"/>
                </a:lnTo>
                <a:lnTo>
                  <a:pt x="876784" y="1005442"/>
                </a:lnTo>
                <a:close/>
                <a:moveTo>
                  <a:pt x="1181754" y="976850"/>
                </a:moveTo>
                <a:lnTo>
                  <a:pt x="1191284" y="976850"/>
                </a:lnTo>
                <a:lnTo>
                  <a:pt x="1205580" y="986382"/>
                </a:lnTo>
                <a:lnTo>
                  <a:pt x="1176988" y="995912"/>
                </a:lnTo>
                <a:lnTo>
                  <a:pt x="1172224" y="1000676"/>
                </a:lnTo>
                <a:lnTo>
                  <a:pt x="1153162" y="1000676"/>
                </a:lnTo>
                <a:lnTo>
                  <a:pt x="1138868" y="1010206"/>
                </a:lnTo>
                <a:lnTo>
                  <a:pt x="1134102" y="1010206"/>
                </a:lnTo>
                <a:lnTo>
                  <a:pt x="1143632" y="1000676"/>
                </a:lnTo>
                <a:lnTo>
                  <a:pt x="1157928" y="991146"/>
                </a:lnTo>
                <a:close/>
                <a:moveTo>
                  <a:pt x="991148" y="972086"/>
                </a:moveTo>
                <a:lnTo>
                  <a:pt x="1000678" y="976852"/>
                </a:lnTo>
                <a:lnTo>
                  <a:pt x="991148" y="981616"/>
                </a:lnTo>
                <a:lnTo>
                  <a:pt x="972088" y="1000678"/>
                </a:lnTo>
                <a:lnTo>
                  <a:pt x="957792" y="1000678"/>
                </a:lnTo>
                <a:lnTo>
                  <a:pt x="953028" y="1000678"/>
                </a:lnTo>
                <a:lnTo>
                  <a:pt x="962558" y="995912"/>
                </a:lnTo>
                <a:lnTo>
                  <a:pt x="967322" y="991146"/>
                </a:lnTo>
                <a:lnTo>
                  <a:pt x="967322" y="986382"/>
                </a:lnTo>
                <a:lnTo>
                  <a:pt x="981618" y="981616"/>
                </a:lnTo>
                <a:close/>
                <a:moveTo>
                  <a:pt x="786248" y="953026"/>
                </a:moveTo>
                <a:lnTo>
                  <a:pt x="791012" y="953026"/>
                </a:lnTo>
                <a:lnTo>
                  <a:pt x="800542" y="967320"/>
                </a:lnTo>
                <a:lnTo>
                  <a:pt x="791012" y="972086"/>
                </a:lnTo>
                <a:lnTo>
                  <a:pt x="791012" y="976850"/>
                </a:lnTo>
                <a:lnTo>
                  <a:pt x="786248" y="967320"/>
                </a:lnTo>
                <a:lnTo>
                  <a:pt x="786248" y="957790"/>
                </a:lnTo>
                <a:close/>
                <a:moveTo>
                  <a:pt x="1129336" y="943494"/>
                </a:moveTo>
                <a:lnTo>
                  <a:pt x="1143632" y="948260"/>
                </a:lnTo>
                <a:lnTo>
                  <a:pt x="1153162" y="957790"/>
                </a:lnTo>
                <a:lnTo>
                  <a:pt x="1153162" y="962556"/>
                </a:lnTo>
                <a:lnTo>
                  <a:pt x="1153162" y="967322"/>
                </a:lnTo>
                <a:lnTo>
                  <a:pt x="1134102" y="967322"/>
                </a:lnTo>
                <a:lnTo>
                  <a:pt x="1138866" y="953026"/>
                </a:lnTo>
                <a:close/>
                <a:moveTo>
                  <a:pt x="872020" y="929200"/>
                </a:moveTo>
                <a:lnTo>
                  <a:pt x="881550" y="933966"/>
                </a:lnTo>
                <a:lnTo>
                  <a:pt x="876784" y="943496"/>
                </a:lnTo>
                <a:lnTo>
                  <a:pt x="881550" y="943496"/>
                </a:lnTo>
                <a:lnTo>
                  <a:pt x="867254" y="957790"/>
                </a:lnTo>
                <a:lnTo>
                  <a:pt x="857724" y="957790"/>
                </a:lnTo>
                <a:lnTo>
                  <a:pt x="852960" y="953026"/>
                </a:lnTo>
                <a:lnTo>
                  <a:pt x="857724" y="938730"/>
                </a:lnTo>
                <a:close/>
                <a:moveTo>
                  <a:pt x="919670" y="919670"/>
                </a:moveTo>
                <a:lnTo>
                  <a:pt x="924436" y="919670"/>
                </a:lnTo>
                <a:lnTo>
                  <a:pt x="929200" y="929200"/>
                </a:lnTo>
                <a:lnTo>
                  <a:pt x="929200" y="953024"/>
                </a:lnTo>
                <a:lnTo>
                  <a:pt x="919670" y="967320"/>
                </a:lnTo>
                <a:lnTo>
                  <a:pt x="905376" y="972086"/>
                </a:lnTo>
                <a:lnTo>
                  <a:pt x="900610" y="962554"/>
                </a:lnTo>
                <a:lnTo>
                  <a:pt x="891080" y="943494"/>
                </a:lnTo>
                <a:close/>
                <a:moveTo>
                  <a:pt x="757656" y="914904"/>
                </a:moveTo>
                <a:lnTo>
                  <a:pt x="762420" y="919670"/>
                </a:lnTo>
                <a:lnTo>
                  <a:pt x="762420" y="924434"/>
                </a:lnTo>
                <a:lnTo>
                  <a:pt x="762420" y="933964"/>
                </a:lnTo>
                <a:lnTo>
                  <a:pt x="757656" y="938730"/>
                </a:lnTo>
                <a:lnTo>
                  <a:pt x="748126" y="933964"/>
                </a:lnTo>
                <a:lnTo>
                  <a:pt x="748126" y="919670"/>
                </a:lnTo>
                <a:close/>
                <a:moveTo>
                  <a:pt x="748126" y="867254"/>
                </a:moveTo>
                <a:lnTo>
                  <a:pt x="748126" y="872018"/>
                </a:lnTo>
                <a:lnTo>
                  <a:pt x="752892" y="876784"/>
                </a:lnTo>
                <a:lnTo>
                  <a:pt x="748126" y="891078"/>
                </a:lnTo>
                <a:lnTo>
                  <a:pt x="738596" y="895844"/>
                </a:lnTo>
                <a:lnTo>
                  <a:pt x="743360" y="881548"/>
                </a:lnTo>
                <a:lnTo>
                  <a:pt x="738596" y="876784"/>
                </a:lnTo>
                <a:lnTo>
                  <a:pt x="743360" y="872018"/>
                </a:lnTo>
                <a:close/>
                <a:moveTo>
                  <a:pt x="891080" y="857722"/>
                </a:moveTo>
                <a:lnTo>
                  <a:pt x="910140" y="867254"/>
                </a:lnTo>
                <a:lnTo>
                  <a:pt x="905376" y="872018"/>
                </a:lnTo>
                <a:lnTo>
                  <a:pt x="900610" y="876784"/>
                </a:lnTo>
                <a:lnTo>
                  <a:pt x="886316" y="876784"/>
                </a:lnTo>
                <a:lnTo>
                  <a:pt x="886316" y="862488"/>
                </a:lnTo>
                <a:close/>
                <a:moveTo>
                  <a:pt x="819604" y="857722"/>
                </a:moveTo>
                <a:lnTo>
                  <a:pt x="829132" y="862488"/>
                </a:lnTo>
                <a:lnTo>
                  <a:pt x="824368" y="881550"/>
                </a:lnTo>
                <a:lnTo>
                  <a:pt x="819604" y="876784"/>
                </a:lnTo>
                <a:lnTo>
                  <a:pt x="819604" y="872018"/>
                </a:lnTo>
                <a:close/>
                <a:moveTo>
                  <a:pt x="1043564" y="824366"/>
                </a:moveTo>
                <a:lnTo>
                  <a:pt x="1048330" y="824366"/>
                </a:lnTo>
                <a:lnTo>
                  <a:pt x="1038800" y="838662"/>
                </a:lnTo>
                <a:lnTo>
                  <a:pt x="1024504" y="848192"/>
                </a:lnTo>
                <a:lnTo>
                  <a:pt x="995914" y="852958"/>
                </a:lnTo>
                <a:lnTo>
                  <a:pt x="991148" y="857722"/>
                </a:lnTo>
                <a:lnTo>
                  <a:pt x="991148" y="848192"/>
                </a:lnTo>
                <a:lnTo>
                  <a:pt x="1005444" y="833898"/>
                </a:lnTo>
                <a:lnTo>
                  <a:pt x="1024504" y="833898"/>
                </a:lnTo>
                <a:close/>
                <a:moveTo>
                  <a:pt x="833900" y="824366"/>
                </a:moveTo>
                <a:lnTo>
                  <a:pt x="843430" y="824366"/>
                </a:lnTo>
                <a:lnTo>
                  <a:pt x="848194" y="829132"/>
                </a:lnTo>
                <a:lnTo>
                  <a:pt x="872020" y="833898"/>
                </a:lnTo>
                <a:lnTo>
                  <a:pt x="876784" y="838662"/>
                </a:lnTo>
                <a:lnTo>
                  <a:pt x="872020" y="852958"/>
                </a:lnTo>
                <a:lnTo>
                  <a:pt x="862490" y="852958"/>
                </a:lnTo>
                <a:lnTo>
                  <a:pt x="843430" y="838662"/>
                </a:lnTo>
                <a:lnTo>
                  <a:pt x="838664" y="833898"/>
                </a:lnTo>
                <a:close/>
                <a:moveTo>
                  <a:pt x="729066" y="824366"/>
                </a:moveTo>
                <a:lnTo>
                  <a:pt x="738596" y="824366"/>
                </a:lnTo>
                <a:lnTo>
                  <a:pt x="743362" y="829132"/>
                </a:lnTo>
                <a:lnTo>
                  <a:pt x="733832" y="843428"/>
                </a:lnTo>
                <a:lnTo>
                  <a:pt x="724300" y="852958"/>
                </a:lnTo>
                <a:lnTo>
                  <a:pt x="724300" y="838662"/>
                </a:lnTo>
                <a:close/>
                <a:moveTo>
                  <a:pt x="1110276" y="800542"/>
                </a:moveTo>
                <a:lnTo>
                  <a:pt x="1119806" y="800542"/>
                </a:lnTo>
                <a:lnTo>
                  <a:pt x="1138866" y="805306"/>
                </a:lnTo>
                <a:lnTo>
                  <a:pt x="1143632" y="805306"/>
                </a:lnTo>
                <a:lnTo>
                  <a:pt x="1153162" y="805306"/>
                </a:lnTo>
                <a:lnTo>
                  <a:pt x="1157928" y="819602"/>
                </a:lnTo>
                <a:lnTo>
                  <a:pt x="1143632" y="819602"/>
                </a:lnTo>
                <a:lnTo>
                  <a:pt x="1124572" y="833898"/>
                </a:lnTo>
                <a:lnTo>
                  <a:pt x="1115040" y="829132"/>
                </a:lnTo>
                <a:lnTo>
                  <a:pt x="1105510" y="819602"/>
                </a:lnTo>
                <a:lnTo>
                  <a:pt x="1086450" y="819602"/>
                </a:lnTo>
                <a:lnTo>
                  <a:pt x="1081684" y="814836"/>
                </a:lnTo>
                <a:lnTo>
                  <a:pt x="1091216" y="805306"/>
                </a:lnTo>
                <a:close/>
                <a:moveTo>
                  <a:pt x="162016" y="776716"/>
                </a:moveTo>
                <a:lnTo>
                  <a:pt x="176310" y="791012"/>
                </a:lnTo>
                <a:lnTo>
                  <a:pt x="185842" y="791012"/>
                </a:lnTo>
                <a:lnTo>
                  <a:pt x="195372" y="800542"/>
                </a:lnTo>
                <a:lnTo>
                  <a:pt x="209668" y="819602"/>
                </a:lnTo>
                <a:lnTo>
                  <a:pt x="195372" y="814836"/>
                </a:lnTo>
                <a:lnTo>
                  <a:pt x="181076" y="829132"/>
                </a:lnTo>
                <a:lnTo>
                  <a:pt x="166780" y="814836"/>
                </a:lnTo>
                <a:lnTo>
                  <a:pt x="152484" y="795776"/>
                </a:lnTo>
                <a:lnTo>
                  <a:pt x="152484" y="791012"/>
                </a:lnTo>
                <a:close/>
                <a:moveTo>
                  <a:pt x="800542" y="762420"/>
                </a:moveTo>
                <a:lnTo>
                  <a:pt x="805308" y="762420"/>
                </a:lnTo>
                <a:lnTo>
                  <a:pt x="814838" y="776716"/>
                </a:lnTo>
                <a:lnTo>
                  <a:pt x="829132" y="781480"/>
                </a:lnTo>
                <a:lnTo>
                  <a:pt x="829132" y="791010"/>
                </a:lnTo>
                <a:lnTo>
                  <a:pt x="833898" y="800542"/>
                </a:lnTo>
                <a:lnTo>
                  <a:pt x="833898" y="810072"/>
                </a:lnTo>
                <a:lnTo>
                  <a:pt x="829132" y="824366"/>
                </a:lnTo>
                <a:lnTo>
                  <a:pt x="819602" y="805306"/>
                </a:lnTo>
                <a:lnTo>
                  <a:pt x="805308" y="795776"/>
                </a:lnTo>
                <a:lnTo>
                  <a:pt x="800542" y="786246"/>
                </a:lnTo>
                <a:lnTo>
                  <a:pt x="791012" y="781480"/>
                </a:lnTo>
                <a:lnTo>
                  <a:pt x="791012" y="767186"/>
                </a:lnTo>
                <a:close/>
                <a:moveTo>
                  <a:pt x="600408" y="762420"/>
                </a:moveTo>
                <a:lnTo>
                  <a:pt x="605172" y="762420"/>
                </a:lnTo>
                <a:lnTo>
                  <a:pt x="605172" y="767186"/>
                </a:lnTo>
                <a:lnTo>
                  <a:pt x="609938" y="776716"/>
                </a:lnTo>
                <a:lnTo>
                  <a:pt x="605172" y="781482"/>
                </a:lnTo>
                <a:lnTo>
                  <a:pt x="595642" y="781482"/>
                </a:lnTo>
                <a:lnTo>
                  <a:pt x="590876" y="776716"/>
                </a:lnTo>
                <a:lnTo>
                  <a:pt x="590876" y="771950"/>
                </a:lnTo>
                <a:lnTo>
                  <a:pt x="595642" y="767186"/>
                </a:lnTo>
                <a:close/>
                <a:moveTo>
                  <a:pt x="152484" y="667118"/>
                </a:moveTo>
                <a:lnTo>
                  <a:pt x="157250" y="667118"/>
                </a:lnTo>
                <a:lnTo>
                  <a:pt x="162016" y="667118"/>
                </a:lnTo>
                <a:lnTo>
                  <a:pt x="166780" y="671884"/>
                </a:lnTo>
                <a:lnTo>
                  <a:pt x="166780" y="676648"/>
                </a:lnTo>
                <a:lnTo>
                  <a:pt x="166780" y="681414"/>
                </a:lnTo>
                <a:lnTo>
                  <a:pt x="171546" y="690944"/>
                </a:lnTo>
                <a:lnTo>
                  <a:pt x="176312" y="695708"/>
                </a:lnTo>
                <a:lnTo>
                  <a:pt x="166780" y="700474"/>
                </a:lnTo>
                <a:lnTo>
                  <a:pt x="157250" y="681414"/>
                </a:lnTo>
                <a:close/>
                <a:moveTo>
                  <a:pt x="142956" y="667118"/>
                </a:moveTo>
                <a:lnTo>
                  <a:pt x="152486" y="686178"/>
                </a:lnTo>
                <a:lnTo>
                  <a:pt x="152486" y="710004"/>
                </a:lnTo>
                <a:lnTo>
                  <a:pt x="162016" y="714770"/>
                </a:lnTo>
                <a:lnTo>
                  <a:pt x="176312" y="733830"/>
                </a:lnTo>
                <a:lnTo>
                  <a:pt x="176312" y="743360"/>
                </a:lnTo>
                <a:lnTo>
                  <a:pt x="176312" y="748126"/>
                </a:lnTo>
                <a:lnTo>
                  <a:pt x="147720" y="738594"/>
                </a:lnTo>
                <a:lnTo>
                  <a:pt x="142956" y="743360"/>
                </a:lnTo>
                <a:lnTo>
                  <a:pt x="138190" y="738594"/>
                </a:lnTo>
                <a:lnTo>
                  <a:pt x="133424" y="729064"/>
                </a:lnTo>
                <a:lnTo>
                  <a:pt x="133424" y="724300"/>
                </a:lnTo>
                <a:lnTo>
                  <a:pt x="128660" y="719534"/>
                </a:lnTo>
                <a:lnTo>
                  <a:pt x="123894" y="714770"/>
                </a:lnTo>
                <a:lnTo>
                  <a:pt x="114364" y="724300"/>
                </a:lnTo>
                <a:lnTo>
                  <a:pt x="109600" y="724300"/>
                </a:lnTo>
                <a:lnTo>
                  <a:pt x="109600" y="719534"/>
                </a:lnTo>
                <a:lnTo>
                  <a:pt x="119130" y="695708"/>
                </a:lnTo>
                <a:lnTo>
                  <a:pt x="123894" y="690944"/>
                </a:lnTo>
                <a:lnTo>
                  <a:pt x="128660" y="700474"/>
                </a:lnTo>
                <a:lnTo>
                  <a:pt x="138190" y="695708"/>
                </a:lnTo>
                <a:lnTo>
                  <a:pt x="142956" y="681414"/>
                </a:lnTo>
                <a:lnTo>
                  <a:pt x="142956" y="671884"/>
                </a:lnTo>
                <a:close/>
                <a:moveTo>
                  <a:pt x="995912" y="643292"/>
                </a:moveTo>
                <a:lnTo>
                  <a:pt x="1010208" y="652822"/>
                </a:lnTo>
                <a:lnTo>
                  <a:pt x="1019738" y="652822"/>
                </a:lnTo>
                <a:lnTo>
                  <a:pt x="1014972" y="667118"/>
                </a:lnTo>
                <a:lnTo>
                  <a:pt x="1014972" y="700474"/>
                </a:lnTo>
                <a:lnTo>
                  <a:pt x="1010208" y="705238"/>
                </a:lnTo>
                <a:lnTo>
                  <a:pt x="1010208" y="714768"/>
                </a:lnTo>
                <a:lnTo>
                  <a:pt x="1005442" y="719534"/>
                </a:lnTo>
                <a:lnTo>
                  <a:pt x="991148" y="729064"/>
                </a:lnTo>
                <a:lnTo>
                  <a:pt x="976852" y="714768"/>
                </a:lnTo>
                <a:lnTo>
                  <a:pt x="972088" y="710004"/>
                </a:lnTo>
                <a:lnTo>
                  <a:pt x="986382" y="700474"/>
                </a:lnTo>
                <a:lnTo>
                  <a:pt x="991148" y="690944"/>
                </a:lnTo>
                <a:lnTo>
                  <a:pt x="986382" y="676648"/>
                </a:lnTo>
                <a:lnTo>
                  <a:pt x="967322" y="662352"/>
                </a:lnTo>
                <a:lnTo>
                  <a:pt x="967322" y="648058"/>
                </a:lnTo>
                <a:close/>
                <a:moveTo>
                  <a:pt x="162016" y="595642"/>
                </a:moveTo>
                <a:lnTo>
                  <a:pt x="166780" y="600406"/>
                </a:lnTo>
                <a:lnTo>
                  <a:pt x="166780" y="633762"/>
                </a:lnTo>
                <a:lnTo>
                  <a:pt x="162016" y="638526"/>
                </a:lnTo>
                <a:lnTo>
                  <a:pt x="157250" y="643292"/>
                </a:lnTo>
                <a:lnTo>
                  <a:pt x="152486" y="643292"/>
                </a:lnTo>
                <a:lnTo>
                  <a:pt x="147720" y="643292"/>
                </a:lnTo>
                <a:lnTo>
                  <a:pt x="142956" y="643292"/>
                </a:lnTo>
                <a:lnTo>
                  <a:pt x="142956" y="628996"/>
                </a:lnTo>
                <a:lnTo>
                  <a:pt x="147720" y="609936"/>
                </a:lnTo>
                <a:lnTo>
                  <a:pt x="152486" y="600406"/>
                </a:lnTo>
                <a:close/>
                <a:moveTo>
                  <a:pt x="757656" y="567050"/>
                </a:moveTo>
                <a:lnTo>
                  <a:pt x="767186" y="571816"/>
                </a:lnTo>
                <a:lnTo>
                  <a:pt x="771952" y="586110"/>
                </a:lnTo>
                <a:lnTo>
                  <a:pt x="786248" y="600406"/>
                </a:lnTo>
                <a:lnTo>
                  <a:pt x="767186" y="605170"/>
                </a:lnTo>
                <a:lnTo>
                  <a:pt x="762422" y="605170"/>
                </a:lnTo>
                <a:lnTo>
                  <a:pt x="767186" y="600406"/>
                </a:lnTo>
                <a:lnTo>
                  <a:pt x="767186" y="595640"/>
                </a:lnTo>
                <a:lnTo>
                  <a:pt x="752892" y="586110"/>
                </a:lnTo>
                <a:lnTo>
                  <a:pt x="752892" y="571816"/>
                </a:lnTo>
                <a:close/>
                <a:moveTo>
                  <a:pt x="562286" y="557520"/>
                </a:moveTo>
                <a:lnTo>
                  <a:pt x="571816" y="557520"/>
                </a:lnTo>
                <a:lnTo>
                  <a:pt x="590878" y="571816"/>
                </a:lnTo>
                <a:lnTo>
                  <a:pt x="595642" y="590876"/>
                </a:lnTo>
                <a:lnTo>
                  <a:pt x="605172" y="600406"/>
                </a:lnTo>
                <a:lnTo>
                  <a:pt x="624234" y="609936"/>
                </a:lnTo>
                <a:lnTo>
                  <a:pt x="628998" y="609936"/>
                </a:lnTo>
                <a:lnTo>
                  <a:pt x="662354" y="624232"/>
                </a:lnTo>
                <a:lnTo>
                  <a:pt x="695710" y="628998"/>
                </a:lnTo>
                <a:lnTo>
                  <a:pt x="700476" y="633762"/>
                </a:lnTo>
                <a:lnTo>
                  <a:pt x="705240" y="643292"/>
                </a:lnTo>
                <a:lnTo>
                  <a:pt x="710006" y="652822"/>
                </a:lnTo>
                <a:lnTo>
                  <a:pt x="714770" y="662354"/>
                </a:lnTo>
                <a:lnTo>
                  <a:pt x="710006" y="671884"/>
                </a:lnTo>
                <a:lnTo>
                  <a:pt x="714770" y="695708"/>
                </a:lnTo>
                <a:lnTo>
                  <a:pt x="724300" y="719534"/>
                </a:lnTo>
                <a:lnTo>
                  <a:pt x="738596" y="729064"/>
                </a:lnTo>
                <a:lnTo>
                  <a:pt x="752892" y="733830"/>
                </a:lnTo>
                <a:lnTo>
                  <a:pt x="767186" y="733830"/>
                </a:lnTo>
                <a:lnTo>
                  <a:pt x="771952" y="738596"/>
                </a:lnTo>
                <a:lnTo>
                  <a:pt x="771952" y="757656"/>
                </a:lnTo>
                <a:lnTo>
                  <a:pt x="762422" y="767186"/>
                </a:lnTo>
                <a:lnTo>
                  <a:pt x="757656" y="767186"/>
                </a:lnTo>
                <a:lnTo>
                  <a:pt x="752892" y="767186"/>
                </a:lnTo>
                <a:lnTo>
                  <a:pt x="748126" y="762420"/>
                </a:lnTo>
                <a:lnTo>
                  <a:pt x="743362" y="757656"/>
                </a:lnTo>
                <a:lnTo>
                  <a:pt x="738596" y="757656"/>
                </a:lnTo>
                <a:lnTo>
                  <a:pt x="729066" y="748126"/>
                </a:lnTo>
                <a:lnTo>
                  <a:pt x="714770" y="738596"/>
                </a:lnTo>
                <a:lnTo>
                  <a:pt x="710006" y="733830"/>
                </a:lnTo>
                <a:lnTo>
                  <a:pt x="710006" y="719534"/>
                </a:lnTo>
                <a:lnTo>
                  <a:pt x="700476" y="714770"/>
                </a:lnTo>
                <a:lnTo>
                  <a:pt x="695710" y="700474"/>
                </a:lnTo>
                <a:lnTo>
                  <a:pt x="690944" y="695708"/>
                </a:lnTo>
                <a:lnTo>
                  <a:pt x="686180" y="686178"/>
                </a:lnTo>
                <a:lnTo>
                  <a:pt x="662354" y="681414"/>
                </a:lnTo>
                <a:lnTo>
                  <a:pt x="643294" y="681414"/>
                </a:lnTo>
                <a:lnTo>
                  <a:pt x="624234" y="671884"/>
                </a:lnTo>
                <a:lnTo>
                  <a:pt x="619468" y="652822"/>
                </a:lnTo>
                <a:lnTo>
                  <a:pt x="609938" y="643292"/>
                </a:lnTo>
                <a:lnTo>
                  <a:pt x="605172" y="638528"/>
                </a:lnTo>
                <a:lnTo>
                  <a:pt x="595642" y="628998"/>
                </a:lnTo>
                <a:lnTo>
                  <a:pt x="581348" y="614702"/>
                </a:lnTo>
                <a:lnTo>
                  <a:pt x="562286" y="600406"/>
                </a:lnTo>
                <a:lnTo>
                  <a:pt x="547992" y="595642"/>
                </a:lnTo>
                <a:lnTo>
                  <a:pt x="528930" y="586110"/>
                </a:lnTo>
                <a:lnTo>
                  <a:pt x="514636" y="595642"/>
                </a:lnTo>
                <a:lnTo>
                  <a:pt x="505104" y="590876"/>
                </a:lnTo>
                <a:lnTo>
                  <a:pt x="505104" y="586110"/>
                </a:lnTo>
                <a:lnTo>
                  <a:pt x="524166" y="581346"/>
                </a:lnTo>
                <a:lnTo>
                  <a:pt x="547992" y="562286"/>
                </a:lnTo>
                <a:close/>
                <a:moveTo>
                  <a:pt x="614704" y="519398"/>
                </a:moveTo>
                <a:lnTo>
                  <a:pt x="648060" y="538460"/>
                </a:lnTo>
                <a:lnTo>
                  <a:pt x="638528" y="547990"/>
                </a:lnTo>
                <a:lnTo>
                  <a:pt x="628998" y="543224"/>
                </a:lnTo>
                <a:close/>
                <a:moveTo>
                  <a:pt x="676650" y="509870"/>
                </a:moveTo>
                <a:lnTo>
                  <a:pt x="671884" y="519400"/>
                </a:lnTo>
                <a:lnTo>
                  <a:pt x="662354" y="528930"/>
                </a:lnTo>
                <a:lnTo>
                  <a:pt x="652824" y="533694"/>
                </a:lnTo>
                <a:lnTo>
                  <a:pt x="662354" y="514634"/>
                </a:lnTo>
                <a:close/>
                <a:moveTo>
                  <a:pt x="1019738" y="486042"/>
                </a:moveTo>
                <a:lnTo>
                  <a:pt x="1048330" y="486042"/>
                </a:lnTo>
                <a:lnTo>
                  <a:pt x="1057860" y="495574"/>
                </a:lnTo>
                <a:lnTo>
                  <a:pt x="1053094" y="505104"/>
                </a:lnTo>
                <a:lnTo>
                  <a:pt x="1076920" y="528930"/>
                </a:lnTo>
                <a:lnTo>
                  <a:pt x="1081684" y="538460"/>
                </a:lnTo>
                <a:lnTo>
                  <a:pt x="1086450" y="552754"/>
                </a:lnTo>
                <a:lnTo>
                  <a:pt x="1081684" y="557520"/>
                </a:lnTo>
                <a:lnTo>
                  <a:pt x="1076920" y="547990"/>
                </a:lnTo>
                <a:lnTo>
                  <a:pt x="1067390" y="547990"/>
                </a:lnTo>
                <a:lnTo>
                  <a:pt x="1072154" y="557520"/>
                </a:lnTo>
                <a:lnTo>
                  <a:pt x="1076920" y="562284"/>
                </a:lnTo>
                <a:lnTo>
                  <a:pt x="1067390" y="567050"/>
                </a:lnTo>
                <a:lnTo>
                  <a:pt x="1053094" y="567050"/>
                </a:lnTo>
                <a:lnTo>
                  <a:pt x="1019738" y="557520"/>
                </a:lnTo>
                <a:lnTo>
                  <a:pt x="1010208" y="547990"/>
                </a:lnTo>
                <a:lnTo>
                  <a:pt x="1029268" y="528930"/>
                </a:lnTo>
                <a:lnTo>
                  <a:pt x="1034034" y="524164"/>
                </a:lnTo>
                <a:lnTo>
                  <a:pt x="1019738" y="524164"/>
                </a:lnTo>
                <a:lnTo>
                  <a:pt x="1005442" y="543224"/>
                </a:lnTo>
                <a:lnTo>
                  <a:pt x="976852" y="533694"/>
                </a:lnTo>
                <a:lnTo>
                  <a:pt x="967322" y="524164"/>
                </a:lnTo>
                <a:lnTo>
                  <a:pt x="976852" y="505104"/>
                </a:lnTo>
                <a:lnTo>
                  <a:pt x="995912" y="505104"/>
                </a:lnTo>
                <a:lnTo>
                  <a:pt x="1005442" y="500338"/>
                </a:lnTo>
                <a:lnTo>
                  <a:pt x="1019738" y="495574"/>
                </a:lnTo>
                <a:close/>
                <a:moveTo>
                  <a:pt x="28592" y="395506"/>
                </a:moveTo>
                <a:lnTo>
                  <a:pt x="38122" y="400270"/>
                </a:lnTo>
                <a:lnTo>
                  <a:pt x="42888" y="405036"/>
                </a:lnTo>
                <a:lnTo>
                  <a:pt x="47652" y="409800"/>
                </a:lnTo>
                <a:lnTo>
                  <a:pt x="33356" y="424096"/>
                </a:lnTo>
                <a:lnTo>
                  <a:pt x="33356" y="428860"/>
                </a:lnTo>
                <a:lnTo>
                  <a:pt x="38122" y="438390"/>
                </a:lnTo>
                <a:lnTo>
                  <a:pt x="38122" y="443156"/>
                </a:lnTo>
                <a:lnTo>
                  <a:pt x="42888" y="462216"/>
                </a:lnTo>
                <a:lnTo>
                  <a:pt x="47652" y="466982"/>
                </a:lnTo>
                <a:lnTo>
                  <a:pt x="61948" y="471746"/>
                </a:lnTo>
                <a:lnTo>
                  <a:pt x="66712" y="476512"/>
                </a:lnTo>
                <a:lnTo>
                  <a:pt x="71478" y="486042"/>
                </a:lnTo>
                <a:lnTo>
                  <a:pt x="52418" y="481276"/>
                </a:lnTo>
                <a:lnTo>
                  <a:pt x="38122" y="466982"/>
                </a:lnTo>
                <a:lnTo>
                  <a:pt x="23826" y="443156"/>
                </a:lnTo>
                <a:lnTo>
                  <a:pt x="0" y="414566"/>
                </a:lnTo>
                <a:lnTo>
                  <a:pt x="0" y="405036"/>
                </a:lnTo>
                <a:lnTo>
                  <a:pt x="9532" y="400270"/>
                </a:lnTo>
                <a:close/>
                <a:moveTo>
                  <a:pt x="905376" y="352618"/>
                </a:moveTo>
                <a:lnTo>
                  <a:pt x="905376" y="362150"/>
                </a:lnTo>
                <a:lnTo>
                  <a:pt x="900610" y="371680"/>
                </a:lnTo>
                <a:lnTo>
                  <a:pt x="895846" y="381210"/>
                </a:lnTo>
                <a:lnTo>
                  <a:pt x="891080" y="400270"/>
                </a:lnTo>
                <a:lnTo>
                  <a:pt x="881550" y="400270"/>
                </a:lnTo>
                <a:lnTo>
                  <a:pt x="876786" y="395504"/>
                </a:lnTo>
                <a:lnTo>
                  <a:pt x="876786" y="390740"/>
                </a:lnTo>
                <a:lnTo>
                  <a:pt x="876786" y="381210"/>
                </a:lnTo>
                <a:lnTo>
                  <a:pt x="872020" y="381210"/>
                </a:lnTo>
                <a:lnTo>
                  <a:pt x="867254" y="390740"/>
                </a:lnTo>
                <a:lnTo>
                  <a:pt x="867254" y="395504"/>
                </a:lnTo>
                <a:lnTo>
                  <a:pt x="857724" y="395504"/>
                </a:lnTo>
                <a:lnTo>
                  <a:pt x="848194" y="390740"/>
                </a:lnTo>
                <a:lnTo>
                  <a:pt x="848194" y="376444"/>
                </a:lnTo>
                <a:lnTo>
                  <a:pt x="843428" y="362150"/>
                </a:lnTo>
                <a:lnTo>
                  <a:pt x="872020" y="357384"/>
                </a:lnTo>
                <a:lnTo>
                  <a:pt x="881550" y="366914"/>
                </a:lnTo>
                <a:lnTo>
                  <a:pt x="891080" y="362150"/>
                </a:lnTo>
                <a:lnTo>
                  <a:pt x="895846" y="357384"/>
                </a:lnTo>
                <a:close/>
                <a:moveTo>
                  <a:pt x="924436" y="252552"/>
                </a:moveTo>
                <a:lnTo>
                  <a:pt x="933966" y="257318"/>
                </a:lnTo>
                <a:lnTo>
                  <a:pt x="938730" y="266848"/>
                </a:lnTo>
                <a:lnTo>
                  <a:pt x="943496" y="271612"/>
                </a:lnTo>
                <a:lnTo>
                  <a:pt x="924436" y="276378"/>
                </a:lnTo>
                <a:lnTo>
                  <a:pt x="905376" y="262082"/>
                </a:lnTo>
                <a:close/>
                <a:moveTo>
                  <a:pt x="776718" y="195370"/>
                </a:moveTo>
                <a:lnTo>
                  <a:pt x="791012" y="200136"/>
                </a:lnTo>
                <a:lnTo>
                  <a:pt x="800542" y="209666"/>
                </a:lnTo>
                <a:lnTo>
                  <a:pt x="805308" y="214430"/>
                </a:lnTo>
                <a:lnTo>
                  <a:pt x="800542" y="223960"/>
                </a:lnTo>
                <a:lnTo>
                  <a:pt x="800542" y="233490"/>
                </a:lnTo>
                <a:lnTo>
                  <a:pt x="781482" y="243022"/>
                </a:lnTo>
                <a:lnTo>
                  <a:pt x="762422" y="228726"/>
                </a:lnTo>
                <a:lnTo>
                  <a:pt x="762422" y="219196"/>
                </a:lnTo>
                <a:lnTo>
                  <a:pt x="771952" y="200136"/>
                </a:lnTo>
                <a:close/>
                <a:moveTo>
                  <a:pt x="1024504" y="0"/>
                </a:moveTo>
                <a:lnTo>
                  <a:pt x="1043564" y="4766"/>
                </a:lnTo>
                <a:lnTo>
                  <a:pt x="1057860" y="9530"/>
                </a:lnTo>
                <a:lnTo>
                  <a:pt x="1062626" y="14296"/>
                </a:lnTo>
                <a:lnTo>
                  <a:pt x="1072156" y="23826"/>
                </a:lnTo>
                <a:lnTo>
                  <a:pt x="1076920" y="28590"/>
                </a:lnTo>
                <a:lnTo>
                  <a:pt x="1081686" y="28590"/>
                </a:lnTo>
                <a:lnTo>
                  <a:pt x="1086450" y="47652"/>
                </a:lnTo>
                <a:lnTo>
                  <a:pt x="1091216" y="71476"/>
                </a:lnTo>
                <a:lnTo>
                  <a:pt x="1086450" y="81008"/>
                </a:lnTo>
                <a:lnTo>
                  <a:pt x="1076920" y="81008"/>
                </a:lnTo>
                <a:lnTo>
                  <a:pt x="1043564" y="104832"/>
                </a:lnTo>
                <a:lnTo>
                  <a:pt x="1043564" y="123894"/>
                </a:lnTo>
                <a:lnTo>
                  <a:pt x="1043564" y="133424"/>
                </a:lnTo>
                <a:lnTo>
                  <a:pt x="1043564" y="138188"/>
                </a:lnTo>
                <a:lnTo>
                  <a:pt x="1048330" y="147718"/>
                </a:lnTo>
                <a:lnTo>
                  <a:pt x="1048330" y="152484"/>
                </a:lnTo>
                <a:lnTo>
                  <a:pt x="1043564" y="162014"/>
                </a:lnTo>
                <a:lnTo>
                  <a:pt x="1029270" y="176310"/>
                </a:lnTo>
                <a:lnTo>
                  <a:pt x="1019740" y="190606"/>
                </a:lnTo>
                <a:lnTo>
                  <a:pt x="1010208" y="204900"/>
                </a:lnTo>
                <a:lnTo>
                  <a:pt x="1005444" y="209666"/>
                </a:lnTo>
                <a:lnTo>
                  <a:pt x="1000678" y="209666"/>
                </a:lnTo>
                <a:lnTo>
                  <a:pt x="995914" y="200136"/>
                </a:lnTo>
                <a:lnTo>
                  <a:pt x="967322" y="185840"/>
                </a:lnTo>
                <a:lnTo>
                  <a:pt x="914906" y="176310"/>
                </a:lnTo>
                <a:lnTo>
                  <a:pt x="886316" y="166780"/>
                </a:lnTo>
                <a:lnTo>
                  <a:pt x="876786" y="166780"/>
                </a:lnTo>
                <a:lnTo>
                  <a:pt x="852960" y="157250"/>
                </a:lnTo>
                <a:lnTo>
                  <a:pt x="838664" y="162014"/>
                </a:lnTo>
                <a:lnTo>
                  <a:pt x="805308" y="185840"/>
                </a:lnTo>
                <a:lnTo>
                  <a:pt x="786248" y="181074"/>
                </a:lnTo>
                <a:lnTo>
                  <a:pt x="767188" y="166780"/>
                </a:lnTo>
                <a:lnTo>
                  <a:pt x="752892" y="166780"/>
                </a:lnTo>
                <a:lnTo>
                  <a:pt x="738596" y="171544"/>
                </a:lnTo>
                <a:lnTo>
                  <a:pt x="714770" y="200136"/>
                </a:lnTo>
                <a:lnTo>
                  <a:pt x="690946" y="209666"/>
                </a:lnTo>
                <a:lnTo>
                  <a:pt x="671884" y="204900"/>
                </a:lnTo>
                <a:lnTo>
                  <a:pt x="643294" y="204900"/>
                </a:lnTo>
                <a:lnTo>
                  <a:pt x="638528" y="219196"/>
                </a:lnTo>
                <a:lnTo>
                  <a:pt x="643294" y="228726"/>
                </a:lnTo>
                <a:lnTo>
                  <a:pt x="662354" y="247786"/>
                </a:lnTo>
                <a:lnTo>
                  <a:pt x="652824" y="262082"/>
                </a:lnTo>
                <a:lnTo>
                  <a:pt x="657590" y="271612"/>
                </a:lnTo>
                <a:lnTo>
                  <a:pt x="667120" y="276378"/>
                </a:lnTo>
                <a:lnTo>
                  <a:pt x="686180" y="276378"/>
                </a:lnTo>
                <a:lnTo>
                  <a:pt x="714770" y="290672"/>
                </a:lnTo>
                <a:lnTo>
                  <a:pt x="724302" y="309734"/>
                </a:lnTo>
                <a:lnTo>
                  <a:pt x="733832" y="328794"/>
                </a:lnTo>
                <a:lnTo>
                  <a:pt x="714770" y="314498"/>
                </a:lnTo>
                <a:lnTo>
                  <a:pt x="705240" y="300202"/>
                </a:lnTo>
                <a:lnTo>
                  <a:pt x="690946" y="300202"/>
                </a:lnTo>
                <a:lnTo>
                  <a:pt x="667120" y="285908"/>
                </a:lnTo>
                <a:lnTo>
                  <a:pt x="652824" y="285908"/>
                </a:lnTo>
                <a:lnTo>
                  <a:pt x="638528" y="290672"/>
                </a:lnTo>
                <a:lnTo>
                  <a:pt x="638528" y="300202"/>
                </a:lnTo>
                <a:lnTo>
                  <a:pt x="652824" y="319264"/>
                </a:lnTo>
                <a:lnTo>
                  <a:pt x="667120" y="328794"/>
                </a:lnTo>
                <a:lnTo>
                  <a:pt x="676650" y="333558"/>
                </a:lnTo>
                <a:lnTo>
                  <a:pt x="681414" y="352620"/>
                </a:lnTo>
                <a:lnTo>
                  <a:pt x="676650" y="362150"/>
                </a:lnTo>
                <a:lnTo>
                  <a:pt x="671884" y="366914"/>
                </a:lnTo>
                <a:lnTo>
                  <a:pt x="652824" y="352620"/>
                </a:lnTo>
                <a:lnTo>
                  <a:pt x="628998" y="314498"/>
                </a:lnTo>
                <a:lnTo>
                  <a:pt x="590878" y="304968"/>
                </a:lnTo>
                <a:lnTo>
                  <a:pt x="586112" y="314498"/>
                </a:lnTo>
                <a:lnTo>
                  <a:pt x="590878" y="333558"/>
                </a:lnTo>
                <a:lnTo>
                  <a:pt x="595642" y="343090"/>
                </a:lnTo>
                <a:lnTo>
                  <a:pt x="628998" y="366914"/>
                </a:lnTo>
                <a:lnTo>
                  <a:pt x="628998" y="371680"/>
                </a:lnTo>
                <a:lnTo>
                  <a:pt x="624234" y="376444"/>
                </a:lnTo>
                <a:lnTo>
                  <a:pt x="586112" y="362150"/>
                </a:lnTo>
                <a:lnTo>
                  <a:pt x="576582" y="343090"/>
                </a:lnTo>
                <a:lnTo>
                  <a:pt x="571816" y="314498"/>
                </a:lnTo>
                <a:lnTo>
                  <a:pt x="538462" y="295438"/>
                </a:lnTo>
                <a:lnTo>
                  <a:pt x="509870" y="276378"/>
                </a:lnTo>
                <a:lnTo>
                  <a:pt x="500340" y="257316"/>
                </a:lnTo>
                <a:lnTo>
                  <a:pt x="505106" y="252552"/>
                </a:lnTo>
                <a:lnTo>
                  <a:pt x="509870" y="238256"/>
                </a:lnTo>
                <a:lnTo>
                  <a:pt x="495574" y="243022"/>
                </a:lnTo>
                <a:lnTo>
                  <a:pt x="486044" y="247786"/>
                </a:lnTo>
                <a:lnTo>
                  <a:pt x="466984" y="257316"/>
                </a:lnTo>
                <a:lnTo>
                  <a:pt x="466984" y="271612"/>
                </a:lnTo>
                <a:lnTo>
                  <a:pt x="466984" y="285908"/>
                </a:lnTo>
                <a:lnTo>
                  <a:pt x="462218" y="304968"/>
                </a:lnTo>
                <a:lnTo>
                  <a:pt x="457454" y="333558"/>
                </a:lnTo>
                <a:lnTo>
                  <a:pt x="462218" y="352620"/>
                </a:lnTo>
                <a:lnTo>
                  <a:pt x="500340" y="400270"/>
                </a:lnTo>
                <a:lnTo>
                  <a:pt x="509870" y="433626"/>
                </a:lnTo>
                <a:lnTo>
                  <a:pt x="519400" y="447922"/>
                </a:lnTo>
                <a:lnTo>
                  <a:pt x="538462" y="462218"/>
                </a:lnTo>
                <a:lnTo>
                  <a:pt x="562286" y="490808"/>
                </a:lnTo>
                <a:lnTo>
                  <a:pt x="567052" y="505104"/>
                </a:lnTo>
                <a:lnTo>
                  <a:pt x="576582" y="528928"/>
                </a:lnTo>
                <a:lnTo>
                  <a:pt x="557522" y="543224"/>
                </a:lnTo>
                <a:lnTo>
                  <a:pt x="547992" y="543224"/>
                </a:lnTo>
                <a:lnTo>
                  <a:pt x="543226" y="533694"/>
                </a:lnTo>
                <a:lnTo>
                  <a:pt x="547992" y="519398"/>
                </a:lnTo>
                <a:lnTo>
                  <a:pt x="547992" y="509868"/>
                </a:lnTo>
                <a:lnTo>
                  <a:pt x="524166" y="495574"/>
                </a:lnTo>
                <a:lnTo>
                  <a:pt x="509870" y="500338"/>
                </a:lnTo>
                <a:lnTo>
                  <a:pt x="500340" y="509868"/>
                </a:lnTo>
                <a:lnTo>
                  <a:pt x="505106" y="528928"/>
                </a:lnTo>
                <a:lnTo>
                  <a:pt x="514636" y="538460"/>
                </a:lnTo>
                <a:lnTo>
                  <a:pt x="519400" y="557520"/>
                </a:lnTo>
                <a:lnTo>
                  <a:pt x="533696" y="552754"/>
                </a:lnTo>
                <a:lnTo>
                  <a:pt x="514636" y="571814"/>
                </a:lnTo>
                <a:lnTo>
                  <a:pt x="490810" y="581346"/>
                </a:lnTo>
                <a:lnTo>
                  <a:pt x="471750" y="581346"/>
                </a:lnTo>
                <a:lnTo>
                  <a:pt x="462218" y="586110"/>
                </a:lnTo>
                <a:lnTo>
                  <a:pt x="457454" y="586110"/>
                </a:lnTo>
                <a:lnTo>
                  <a:pt x="466984" y="590876"/>
                </a:lnTo>
                <a:lnTo>
                  <a:pt x="476514" y="590876"/>
                </a:lnTo>
                <a:lnTo>
                  <a:pt x="490810" y="600406"/>
                </a:lnTo>
                <a:lnTo>
                  <a:pt x="528930" y="614702"/>
                </a:lnTo>
                <a:lnTo>
                  <a:pt x="547992" y="628996"/>
                </a:lnTo>
                <a:lnTo>
                  <a:pt x="562286" y="628996"/>
                </a:lnTo>
                <a:lnTo>
                  <a:pt x="581348" y="657588"/>
                </a:lnTo>
                <a:lnTo>
                  <a:pt x="614704" y="662352"/>
                </a:lnTo>
                <a:lnTo>
                  <a:pt x="628998" y="690944"/>
                </a:lnTo>
                <a:lnTo>
                  <a:pt x="652824" y="695708"/>
                </a:lnTo>
                <a:lnTo>
                  <a:pt x="676650" y="705238"/>
                </a:lnTo>
                <a:lnTo>
                  <a:pt x="681414" y="714768"/>
                </a:lnTo>
                <a:lnTo>
                  <a:pt x="686180" y="733830"/>
                </a:lnTo>
                <a:lnTo>
                  <a:pt x="686180" y="771950"/>
                </a:lnTo>
                <a:lnTo>
                  <a:pt x="690946" y="795776"/>
                </a:lnTo>
                <a:lnTo>
                  <a:pt x="690946" y="805306"/>
                </a:lnTo>
                <a:lnTo>
                  <a:pt x="690946" y="819602"/>
                </a:lnTo>
                <a:lnTo>
                  <a:pt x="681414" y="824366"/>
                </a:lnTo>
                <a:lnTo>
                  <a:pt x="676650" y="824366"/>
                </a:lnTo>
                <a:lnTo>
                  <a:pt x="662354" y="805306"/>
                </a:lnTo>
                <a:lnTo>
                  <a:pt x="638528" y="786246"/>
                </a:lnTo>
                <a:lnTo>
                  <a:pt x="614704" y="757654"/>
                </a:lnTo>
                <a:lnTo>
                  <a:pt x="609938" y="752890"/>
                </a:lnTo>
                <a:lnTo>
                  <a:pt x="600408" y="752890"/>
                </a:lnTo>
                <a:lnTo>
                  <a:pt x="590878" y="762420"/>
                </a:lnTo>
                <a:lnTo>
                  <a:pt x="552756" y="771950"/>
                </a:lnTo>
                <a:lnTo>
                  <a:pt x="538462" y="776716"/>
                </a:lnTo>
                <a:lnTo>
                  <a:pt x="533696" y="781480"/>
                </a:lnTo>
                <a:lnTo>
                  <a:pt x="528930" y="786246"/>
                </a:lnTo>
                <a:lnTo>
                  <a:pt x="538462" y="791010"/>
                </a:lnTo>
                <a:lnTo>
                  <a:pt x="547992" y="800542"/>
                </a:lnTo>
                <a:lnTo>
                  <a:pt x="547992" y="819602"/>
                </a:lnTo>
                <a:lnTo>
                  <a:pt x="552756" y="838662"/>
                </a:lnTo>
                <a:lnTo>
                  <a:pt x="567052" y="843428"/>
                </a:lnTo>
                <a:lnTo>
                  <a:pt x="576582" y="838662"/>
                </a:lnTo>
                <a:lnTo>
                  <a:pt x="586112" y="843428"/>
                </a:lnTo>
                <a:lnTo>
                  <a:pt x="586112" y="852958"/>
                </a:lnTo>
                <a:lnTo>
                  <a:pt x="595642" y="862488"/>
                </a:lnTo>
                <a:lnTo>
                  <a:pt x="600408" y="867252"/>
                </a:lnTo>
                <a:lnTo>
                  <a:pt x="600408" y="872018"/>
                </a:lnTo>
                <a:lnTo>
                  <a:pt x="562286" y="886314"/>
                </a:lnTo>
                <a:lnTo>
                  <a:pt x="557522" y="891078"/>
                </a:lnTo>
                <a:lnTo>
                  <a:pt x="547992" y="891078"/>
                </a:lnTo>
                <a:lnTo>
                  <a:pt x="538462" y="886314"/>
                </a:lnTo>
                <a:lnTo>
                  <a:pt x="538462" y="872018"/>
                </a:lnTo>
                <a:lnTo>
                  <a:pt x="524166" y="862488"/>
                </a:lnTo>
                <a:lnTo>
                  <a:pt x="514636" y="857722"/>
                </a:lnTo>
                <a:lnTo>
                  <a:pt x="500340" y="852958"/>
                </a:lnTo>
                <a:lnTo>
                  <a:pt x="490810" y="843428"/>
                </a:lnTo>
                <a:lnTo>
                  <a:pt x="481280" y="852958"/>
                </a:lnTo>
                <a:lnTo>
                  <a:pt x="486044" y="881548"/>
                </a:lnTo>
                <a:lnTo>
                  <a:pt x="500340" y="900608"/>
                </a:lnTo>
                <a:lnTo>
                  <a:pt x="524166" y="953026"/>
                </a:lnTo>
                <a:lnTo>
                  <a:pt x="533696" y="986380"/>
                </a:lnTo>
                <a:lnTo>
                  <a:pt x="533696" y="1000676"/>
                </a:lnTo>
                <a:lnTo>
                  <a:pt x="528930" y="1029266"/>
                </a:lnTo>
                <a:lnTo>
                  <a:pt x="543226" y="1048328"/>
                </a:lnTo>
                <a:lnTo>
                  <a:pt x="547992" y="1067388"/>
                </a:lnTo>
                <a:lnTo>
                  <a:pt x="543226" y="1067388"/>
                </a:lnTo>
                <a:lnTo>
                  <a:pt x="533696" y="1057858"/>
                </a:lnTo>
                <a:lnTo>
                  <a:pt x="519400" y="1048328"/>
                </a:lnTo>
                <a:lnTo>
                  <a:pt x="495574" y="1019736"/>
                </a:lnTo>
                <a:lnTo>
                  <a:pt x="490810" y="1000676"/>
                </a:lnTo>
                <a:lnTo>
                  <a:pt x="481280" y="1000676"/>
                </a:lnTo>
                <a:lnTo>
                  <a:pt x="462218" y="1000676"/>
                </a:lnTo>
                <a:lnTo>
                  <a:pt x="443158" y="1043562"/>
                </a:lnTo>
                <a:lnTo>
                  <a:pt x="443158" y="1067388"/>
                </a:lnTo>
                <a:lnTo>
                  <a:pt x="433628" y="1062622"/>
                </a:lnTo>
                <a:lnTo>
                  <a:pt x="428864" y="1053092"/>
                </a:lnTo>
                <a:lnTo>
                  <a:pt x="428864" y="1029266"/>
                </a:lnTo>
                <a:lnTo>
                  <a:pt x="428864" y="1014972"/>
                </a:lnTo>
                <a:lnTo>
                  <a:pt x="405038" y="981616"/>
                </a:lnTo>
                <a:lnTo>
                  <a:pt x="395508" y="976850"/>
                </a:lnTo>
                <a:lnTo>
                  <a:pt x="390742" y="967320"/>
                </a:lnTo>
                <a:lnTo>
                  <a:pt x="381212" y="953026"/>
                </a:lnTo>
                <a:lnTo>
                  <a:pt x="371682" y="953026"/>
                </a:lnTo>
                <a:lnTo>
                  <a:pt x="362152" y="962556"/>
                </a:lnTo>
                <a:lnTo>
                  <a:pt x="357386" y="981616"/>
                </a:lnTo>
                <a:lnTo>
                  <a:pt x="357386" y="995912"/>
                </a:lnTo>
                <a:lnTo>
                  <a:pt x="352620" y="1010206"/>
                </a:lnTo>
                <a:lnTo>
                  <a:pt x="328796" y="986380"/>
                </a:lnTo>
                <a:lnTo>
                  <a:pt x="300204" y="943494"/>
                </a:lnTo>
                <a:lnTo>
                  <a:pt x="300204" y="919670"/>
                </a:lnTo>
                <a:lnTo>
                  <a:pt x="319266" y="895844"/>
                </a:lnTo>
                <a:lnTo>
                  <a:pt x="319266" y="881548"/>
                </a:lnTo>
                <a:lnTo>
                  <a:pt x="300204" y="852958"/>
                </a:lnTo>
                <a:lnTo>
                  <a:pt x="276378" y="833896"/>
                </a:lnTo>
                <a:lnTo>
                  <a:pt x="262084" y="829132"/>
                </a:lnTo>
                <a:lnTo>
                  <a:pt x="257318" y="805306"/>
                </a:lnTo>
                <a:lnTo>
                  <a:pt x="243024" y="795776"/>
                </a:lnTo>
                <a:lnTo>
                  <a:pt x="233492" y="791010"/>
                </a:lnTo>
                <a:lnTo>
                  <a:pt x="233492" y="781480"/>
                </a:lnTo>
                <a:lnTo>
                  <a:pt x="233492" y="776716"/>
                </a:lnTo>
                <a:lnTo>
                  <a:pt x="257318" y="757654"/>
                </a:lnTo>
                <a:lnTo>
                  <a:pt x="276378" y="724298"/>
                </a:lnTo>
                <a:lnTo>
                  <a:pt x="281144" y="719534"/>
                </a:lnTo>
                <a:lnTo>
                  <a:pt x="295440" y="729064"/>
                </a:lnTo>
                <a:lnTo>
                  <a:pt x="314500" y="724298"/>
                </a:lnTo>
                <a:lnTo>
                  <a:pt x="328796" y="705238"/>
                </a:lnTo>
                <a:lnTo>
                  <a:pt x="338326" y="695708"/>
                </a:lnTo>
                <a:lnTo>
                  <a:pt x="362152" y="695708"/>
                </a:lnTo>
                <a:lnTo>
                  <a:pt x="405038" y="724298"/>
                </a:lnTo>
                <a:lnTo>
                  <a:pt x="452688" y="738594"/>
                </a:lnTo>
                <a:lnTo>
                  <a:pt x="476514" y="752890"/>
                </a:lnTo>
                <a:lnTo>
                  <a:pt x="490810" y="767186"/>
                </a:lnTo>
                <a:lnTo>
                  <a:pt x="500340" y="767186"/>
                </a:lnTo>
                <a:lnTo>
                  <a:pt x="509870" y="771950"/>
                </a:lnTo>
                <a:lnTo>
                  <a:pt x="509870" y="762420"/>
                </a:lnTo>
                <a:lnTo>
                  <a:pt x="505106" y="752890"/>
                </a:lnTo>
                <a:lnTo>
                  <a:pt x="514636" y="748124"/>
                </a:lnTo>
                <a:lnTo>
                  <a:pt x="543226" y="748124"/>
                </a:lnTo>
                <a:lnTo>
                  <a:pt x="547992" y="743360"/>
                </a:lnTo>
                <a:lnTo>
                  <a:pt x="552756" y="733830"/>
                </a:lnTo>
                <a:lnTo>
                  <a:pt x="547992" y="724298"/>
                </a:lnTo>
                <a:lnTo>
                  <a:pt x="538462" y="724298"/>
                </a:lnTo>
                <a:lnTo>
                  <a:pt x="528930" y="719534"/>
                </a:lnTo>
                <a:lnTo>
                  <a:pt x="524166" y="719534"/>
                </a:lnTo>
                <a:lnTo>
                  <a:pt x="514636" y="719534"/>
                </a:lnTo>
                <a:lnTo>
                  <a:pt x="495574" y="714768"/>
                </a:lnTo>
                <a:lnTo>
                  <a:pt x="490810" y="710004"/>
                </a:lnTo>
                <a:lnTo>
                  <a:pt x="486044" y="705238"/>
                </a:lnTo>
                <a:lnTo>
                  <a:pt x="457454" y="690944"/>
                </a:lnTo>
                <a:lnTo>
                  <a:pt x="433628" y="676648"/>
                </a:lnTo>
                <a:lnTo>
                  <a:pt x="428864" y="686178"/>
                </a:lnTo>
                <a:lnTo>
                  <a:pt x="419332" y="690944"/>
                </a:lnTo>
                <a:lnTo>
                  <a:pt x="405038" y="690944"/>
                </a:lnTo>
                <a:lnTo>
                  <a:pt x="362152" y="681412"/>
                </a:lnTo>
                <a:lnTo>
                  <a:pt x="338326" y="686178"/>
                </a:lnTo>
                <a:lnTo>
                  <a:pt x="324030" y="690944"/>
                </a:lnTo>
                <a:lnTo>
                  <a:pt x="314500" y="690944"/>
                </a:lnTo>
                <a:lnTo>
                  <a:pt x="300204" y="695708"/>
                </a:lnTo>
                <a:lnTo>
                  <a:pt x="285910" y="695708"/>
                </a:lnTo>
                <a:lnTo>
                  <a:pt x="271614" y="681412"/>
                </a:lnTo>
                <a:lnTo>
                  <a:pt x="266848" y="667118"/>
                </a:lnTo>
                <a:lnTo>
                  <a:pt x="262084" y="662352"/>
                </a:lnTo>
                <a:lnTo>
                  <a:pt x="262084" y="676648"/>
                </a:lnTo>
                <a:lnTo>
                  <a:pt x="257318" y="686178"/>
                </a:lnTo>
                <a:lnTo>
                  <a:pt x="238258" y="690944"/>
                </a:lnTo>
                <a:lnTo>
                  <a:pt x="228728" y="686178"/>
                </a:lnTo>
                <a:lnTo>
                  <a:pt x="219198" y="662352"/>
                </a:lnTo>
                <a:lnTo>
                  <a:pt x="209668" y="633762"/>
                </a:lnTo>
                <a:lnTo>
                  <a:pt x="190606" y="605170"/>
                </a:lnTo>
                <a:lnTo>
                  <a:pt x="176312" y="600406"/>
                </a:lnTo>
                <a:lnTo>
                  <a:pt x="176312" y="586110"/>
                </a:lnTo>
                <a:lnTo>
                  <a:pt x="176312" y="576580"/>
                </a:lnTo>
                <a:lnTo>
                  <a:pt x="195372" y="571814"/>
                </a:lnTo>
                <a:lnTo>
                  <a:pt x="223962" y="586110"/>
                </a:lnTo>
                <a:lnTo>
                  <a:pt x="228728" y="581346"/>
                </a:lnTo>
                <a:lnTo>
                  <a:pt x="233492" y="576580"/>
                </a:lnTo>
                <a:lnTo>
                  <a:pt x="233492" y="567050"/>
                </a:lnTo>
                <a:lnTo>
                  <a:pt x="228728" y="557520"/>
                </a:lnTo>
                <a:lnTo>
                  <a:pt x="223962" y="557520"/>
                </a:lnTo>
                <a:lnTo>
                  <a:pt x="219198" y="557520"/>
                </a:lnTo>
                <a:lnTo>
                  <a:pt x="200136" y="552754"/>
                </a:lnTo>
                <a:lnTo>
                  <a:pt x="176312" y="562284"/>
                </a:lnTo>
                <a:lnTo>
                  <a:pt x="166780" y="557520"/>
                </a:lnTo>
                <a:lnTo>
                  <a:pt x="162016" y="547990"/>
                </a:lnTo>
                <a:lnTo>
                  <a:pt x="142956" y="533694"/>
                </a:lnTo>
                <a:lnTo>
                  <a:pt x="128660" y="509868"/>
                </a:lnTo>
                <a:lnTo>
                  <a:pt x="100070" y="495574"/>
                </a:lnTo>
                <a:lnTo>
                  <a:pt x="85774" y="452686"/>
                </a:lnTo>
                <a:lnTo>
                  <a:pt x="71478" y="433626"/>
                </a:lnTo>
                <a:lnTo>
                  <a:pt x="57184" y="419330"/>
                </a:lnTo>
                <a:lnTo>
                  <a:pt x="66714" y="419330"/>
                </a:lnTo>
                <a:lnTo>
                  <a:pt x="76244" y="428862"/>
                </a:lnTo>
                <a:lnTo>
                  <a:pt x="85774" y="428862"/>
                </a:lnTo>
                <a:lnTo>
                  <a:pt x="95304" y="424096"/>
                </a:lnTo>
                <a:lnTo>
                  <a:pt x="100070" y="419330"/>
                </a:lnTo>
                <a:lnTo>
                  <a:pt x="100070" y="414566"/>
                </a:lnTo>
                <a:lnTo>
                  <a:pt x="100070" y="405036"/>
                </a:lnTo>
                <a:lnTo>
                  <a:pt x="104834" y="400270"/>
                </a:lnTo>
                <a:lnTo>
                  <a:pt x="109600" y="400270"/>
                </a:lnTo>
                <a:lnTo>
                  <a:pt x="114364" y="400270"/>
                </a:lnTo>
                <a:lnTo>
                  <a:pt x="114364" y="390740"/>
                </a:lnTo>
                <a:lnTo>
                  <a:pt x="109600" y="381210"/>
                </a:lnTo>
                <a:lnTo>
                  <a:pt x="104834" y="371680"/>
                </a:lnTo>
                <a:lnTo>
                  <a:pt x="104834" y="362150"/>
                </a:lnTo>
                <a:lnTo>
                  <a:pt x="109600" y="362150"/>
                </a:lnTo>
                <a:lnTo>
                  <a:pt x="114364" y="357384"/>
                </a:lnTo>
                <a:lnTo>
                  <a:pt x="119130" y="347854"/>
                </a:lnTo>
                <a:lnTo>
                  <a:pt x="128660" y="347854"/>
                </a:lnTo>
                <a:lnTo>
                  <a:pt x="138190" y="347854"/>
                </a:lnTo>
                <a:lnTo>
                  <a:pt x="147720" y="343090"/>
                </a:lnTo>
                <a:lnTo>
                  <a:pt x="157250" y="333558"/>
                </a:lnTo>
                <a:lnTo>
                  <a:pt x="157250" y="328794"/>
                </a:lnTo>
                <a:lnTo>
                  <a:pt x="162016" y="309734"/>
                </a:lnTo>
                <a:lnTo>
                  <a:pt x="166780" y="300202"/>
                </a:lnTo>
                <a:lnTo>
                  <a:pt x="171546" y="290672"/>
                </a:lnTo>
                <a:lnTo>
                  <a:pt x="176312" y="281142"/>
                </a:lnTo>
                <a:lnTo>
                  <a:pt x="181076" y="266846"/>
                </a:lnTo>
                <a:lnTo>
                  <a:pt x="195372" y="262082"/>
                </a:lnTo>
                <a:lnTo>
                  <a:pt x="204902" y="257316"/>
                </a:lnTo>
                <a:lnTo>
                  <a:pt x="214432" y="243022"/>
                </a:lnTo>
                <a:lnTo>
                  <a:pt x="214432" y="233492"/>
                </a:lnTo>
                <a:lnTo>
                  <a:pt x="214432" y="223960"/>
                </a:lnTo>
                <a:lnTo>
                  <a:pt x="209668" y="214430"/>
                </a:lnTo>
                <a:lnTo>
                  <a:pt x="204902" y="200136"/>
                </a:lnTo>
                <a:lnTo>
                  <a:pt x="204902" y="185840"/>
                </a:lnTo>
                <a:lnTo>
                  <a:pt x="228728" y="185840"/>
                </a:lnTo>
                <a:lnTo>
                  <a:pt x="233492" y="181074"/>
                </a:lnTo>
                <a:lnTo>
                  <a:pt x="262084" y="181074"/>
                </a:lnTo>
                <a:lnTo>
                  <a:pt x="276378" y="171544"/>
                </a:lnTo>
                <a:lnTo>
                  <a:pt x="281144" y="176310"/>
                </a:lnTo>
                <a:lnTo>
                  <a:pt x="300204" y="181074"/>
                </a:lnTo>
                <a:lnTo>
                  <a:pt x="309734" y="176310"/>
                </a:lnTo>
                <a:lnTo>
                  <a:pt x="333560" y="166780"/>
                </a:lnTo>
                <a:lnTo>
                  <a:pt x="357386" y="133424"/>
                </a:lnTo>
                <a:lnTo>
                  <a:pt x="366916" y="128658"/>
                </a:lnTo>
                <a:lnTo>
                  <a:pt x="390742" y="123894"/>
                </a:lnTo>
                <a:lnTo>
                  <a:pt x="395508" y="119128"/>
                </a:lnTo>
                <a:lnTo>
                  <a:pt x="405038" y="123894"/>
                </a:lnTo>
                <a:lnTo>
                  <a:pt x="428864" y="128658"/>
                </a:lnTo>
                <a:lnTo>
                  <a:pt x="443158" y="128658"/>
                </a:lnTo>
                <a:lnTo>
                  <a:pt x="462218" y="123894"/>
                </a:lnTo>
                <a:lnTo>
                  <a:pt x="481280" y="119128"/>
                </a:lnTo>
                <a:lnTo>
                  <a:pt x="486044" y="90538"/>
                </a:lnTo>
                <a:lnTo>
                  <a:pt x="490810" y="85772"/>
                </a:lnTo>
                <a:lnTo>
                  <a:pt x="500340" y="85772"/>
                </a:lnTo>
                <a:lnTo>
                  <a:pt x="509870" y="85772"/>
                </a:lnTo>
                <a:lnTo>
                  <a:pt x="528930" y="85772"/>
                </a:lnTo>
                <a:lnTo>
                  <a:pt x="547992" y="85772"/>
                </a:lnTo>
                <a:lnTo>
                  <a:pt x="562286" y="76242"/>
                </a:lnTo>
                <a:lnTo>
                  <a:pt x="581348" y="71476"/>
                </a:lnTo>
                <a:lnTo>
                  <a:pt x="590878" y="71476"/>
                </a:lnTo>
                <a:lnTo>
                  <a:pt x="609938" y="76242"/>
                </a:lnTo>
                <a:lnTo>
                  <a:pt x="624234" y="76242"/>
                </a:lnTo>
                <a:lnTo>
                  <a:pt x="643294" y="66712"/>
                </a:lnTo>
                <a:lnTo>
                  <a:pt x="662354" y="57182"/>
                </a:lnTo>
                <a:lnTo>
                  <a:pt x="676650" y="61946"/>
                </a:lnTo>
                <a:lnTo>
                  <a:pt x="681414" y="57182"/>
                </a:lnTo>
                <a:lnTo>
                  <a:pt x="686180" y="57182"/>
                </a:lnTo>
                <a:lnTo>
                  <a:pt x="690946" y="42886"/>
                </a:lnTo>
                <a:lnTo>
                  <a:pt x="714770" y="42886"/>
                </a:lnTo>
                <a:lnTo>
                  <a:pt x="724302" y="42886"/>
                </a:lnTo>
                <a:lnTo>
                  <a:pt x="738596" y="42886"/>
                </a:lnTo>
                <a:lnTo>
                  <a:pt x="757656" y="38122"/>
                </a:lnTo>
                <a:lnTo>
                  <a:pt x="762422" y="38122"/>
                </a:lnTo>
                <a:lnTo>
                  <a:pt x="767188" y="57182"/>
                </a:lnTo>
                <a:lnTo>
                  <a:pt x="771952" y="61946"/>
                </a:lnTo>
                <a:lnTo>
                  <a:pt x="781482" y="66712"/>
                </a:lnTo>
                <a:lnTo>
                  <a:pt x="800544" y="81008"/>
                </a:lnTo>
                <a:lnTo>
                  <a:pt x="805308" y="76242"/>
                </a:lnTo>
                <a:lnTo>
                  <a:pt x="810074" y="71476"/>
                </a:lnTo>
                <a:lnTo>
                  <a:pt x="833900" y="76242"/>
                </a:lnTo>
                <a:lnTo>
                  <a:pt x="857724" y="90538"/>
                </a:lnTo>
                <a:lnTo>
                  <a:pt x="876786" y="104832"/>
                </a:lnTo>
                <a:lnTo>
                  <a:pt x="895846" y="100068"/>
                </a:lnTo>
                <a:lnTo>
                  <a:pt x="919672" y="90538"/>
                </a:lnTo>
                <a:lnTo>
                  <a:pt x="933966" y="90538"/>
                </a:lnTo>
                <a:lnTo>
                  <a:pt x="948262" y="90538"/>
                </a:lnTo>
                <a:lnTo>
                  <a:pt x="957792" y="85772"/>
                </a:lnTo>
                <a:lnTo>
                  <a:pt x="981618" y="90538"/>
                </a:lnTo>
                <a:lnTo>
                  <a:pt x="1000678" y="81008"/>
                </a:lnTo>
                <a:lnTo>
                  <a:pt x="1014974" y="76242"/>
                </a:lnTo>
                <a:lnTo>
                  <a:pt x="1014974" y="61946"/>
                </a:lnTo>
                <a:lnTo>
                  <a:pt x="1014974" y="47652"/>
                </a:lnTo>
                <a:lnTo>
                  <a:pt x="1010208" y="28590"/>
                </a:lnTo>
                <a:lnTo>
                  <a:pt x="1005444" y="19060"/>
                </a:lnTo>
                <a:lnTo>
                  <a:pt x="1000678" y="14296"/>
                </a:lnTo>
                <a:lnTo>
                  <a:pt x="1005444" y="9530"/>
                </a:lnTo>
                <a:lnTo>
                  <a:pt x="1010208" y="4766"/>
                </a:lnTo>
                <a:close/>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398" name="CustomShape 23"/>
          <p:cNvSpPr/>
          <p:nvPr/>
        </p:nvSpPr>
        <p:spPr>
          <a:xfrm>
            <a:off x="3541680" y="5117040"/>
            <a:ext cx="387720" cy="377640"/>
          </a:xfrm>
          <a:custGeom>
            <a:avLst/>
            <a:gdLst/>
            <a:ahLst/>
            <a:cxnLst/>
            <a:rect l="l" t="t" r="r" b="b"/>
            <a:pathLst>
              <a:path w="919668" h="895844">
                <a:moveTo>
                  <a:pt x="605170" y="819600"/>
                </a:moveTo>
                <a:lnTo>
                  <a:pt x="609936" y="819600"/>
                </a:lnTo>
                <a:lnTo>
                  <a:pt x="638526" y="824364"/>
                </a:lnTo>
                <a:lnTo>
                  <a:pt x="662352" y="843428"/>
                </a:lnTo>
                <a:lnTo>
                  <a:pt x="595640" y="824364"/>
                </a:lnTo>
                <a:close/>
                <a:moveTo>
                  <a:pt x="490808" y="776716"/>
                </a:moveTo>
                <a:lnTo>
                  <a:pt x="519398" y="786244"/>
                </a:lnTo>
                <a:lnTo>
                  <a:pt x="538458" y="781480"/>
                </a:lnTo>
                <a:lnTo>
                  <a:pt x="557518" y="786244"/>
                </a:lnTo>
                <a:lnTo>
                  <a:pt x="571814" y="791008"/>
                </a:lnTo>
                <a:lnTo>
                  <a:pt x="571814" y="795776"/>
                </a:lnTo>
                <a:lnTo>
                  <a:pt x="557518" y="795776"/>
                </a:lnTo>
                <a:lnTo>
                  <a:pt x="543224" y="791008"/>
                </a:lnTo>
                <a:lnTo>
                  <a:pt x="519398" y="800540"/>
                </a:lnTo>
                <a:lnTo>
                  <a:pt x="505102" y="795776"/>
                </a:lnTo>
                <a:lnTo>
                  <a:pt x="495572" y="791008"/>
                </a:lnTo>
                <a:lnTo>
                  <a:pt x="490808" y="786244"/>
                </a:lnTo>
                <a:close/>
                <a:moveTo>
                  <a:pt x="552752" y="771950"/>
                </a:moveTo>
                <a:lnTo>
                  <a:pt x="562284" y="771950"/>
                </a:lnTo>
                <a:lnTo>
                  <a:pt x="581344" y="771950"/>
                </a:lnTo>
                <a:lnTo>
                  <a:pt x="657586" y="810070"/>
                </a:lnTo>
                <a:lnTo>
                  <a:pt x="648056" y="800540"/>
                </a:lnTo>
                <a:lnTo>
                  <a:pt x="662350" y="795776"/>
                </a:lnTo>
                <a:lnTo>
                  <a:pt x="671882" y="800540"/>
                </a:lnTo>
                <a:lnTo>
                  <a:pt x="676646" y="810070"/>
                </a:lnTo>
                <a:lnTo>
                  <a:pt x="686176" y="819602"/>
                </a:lnTo>
                <a:lnTo>
                  <a:pt x="710002" y="833896"/>
                </a:lnTo>
                <a:lnTo>
                  <a:pt x="719532" y="843426"/>
                </a:lnTo>
                <a:lnTo>
                  <a:pt x="748124" y="862488"/>
                </a:lnTo>
                <a:lnTo>
                  <a:pt x="752888" y="867252"/>
                </a:lnTo>
                <a:lnTo>
                  <a:pt x="767184" y="872018"/>
                </a:lnTo>
                <a:lnTo>
                  <a:pt x="767184" y="876782"/>
                </a:lnTo>
                <a:lnTo>
                  <a:pt x="776714" y="886312"/>
                </a:lnTo>
                <a:lnTo>
                  <a:pt x="781480" y="895844"/>
                </a:lnTo>
                <a:lnTo>
                  <a:pt x="752888" y="876782"/>
                </a:lnTo>
                <a:lnTo>
                  <a:pt x="724298" y="857722"/>
                </a:lnTo>
                <a:lnTo>
                  <a:pt x="671882" y="819602"/>
                </a:lnTo>
                <a:lnTo>
                  <a:pt x="633760" y="810070"/>
                </a:lnTo>
                <a:lnTo>
                  <a:pt x="586108" y="786246"/>
                </a:lnTo>
                <a:close/>
                <a:moveTo>
                  <a:pt x="447920" y="729064"/>
                </a:moveTo>
                <a:lnTo>
                  <a:pt x="471746" y="729064"/>
                </a:lnTo>
                <a:lnTo>
                  <a:pt x="490808" y="729064"/>
                </a:lnTo>
                <a:lnTo>
                  <a:pt x="495572" y="738592"/>
                </a:lnTo>
                <a:lnTo>
                  <a:pt x="552754" y="748124"/>
                </a:lnTo>
                <a:lnTo>
                  <a:pt x="576580" y="748124"/>
                </a:lnTo>
                <a:lnTo>
                  <a:pt x="562284" y="752888"/>
                </a:lnTo>
                <a:lnTo>
                  <a:pt x="495572" y="752888"/>
                </a:lnTo>
                <a:lnTo>
                  <a:pt x="476512" y="748124"/>
                </a:lnTo>
                <a:lnTo>
                  <a:pt x="452686" y="733828"/>
                </a:lnTo>
                <a:close/>
                <a:moveTo>
                  <a:pt x="457452" y="695708"/>
                </a:moveTo>
                <a:lnTo>
                  <a:pt x="481276" y="695708"/>
                </a:lnTo>
                <a:lnTo>
                  <a:pt x="519398" y="700472"/>
                </a:lnTo>
                <a:lnTo>
                  <a:pt x="528928" y="710004"/>
                </a:lnTo>
                <a:lnTo>
                  <a:pt x="524162" y="714768"/>
                </a:lnTo>
                <a:lnTo>
                  <a:pt x="509868" y="719532"/>
                </a:lnTo>
                <a:lnTo>
                  <a:pt x="486042" y="719532"/>
                </a:lnTo>
                <a:lnTo>
                  <a:pt x="466982" y="714768"/>
                </a:lnTo>
                <a:lnTo>
                  <a:pt x="452686" y="710004"/>
                </a:lnTo>
                <a:lnTo>
                  <a:pt x="457452" y="705236"/>
                </a:lnTo>
                <a:close/>
                <a:moveTo>
                  <a:pt x="276376" y="562284"/>
                </a:moveTo>
                <a:lnTo>
                  <a:pt x="290672" y="567048"/>
                </a:lnTo>
                <a:lnTo>
                  <a:pt x="300202" y="586108"/>
                </a:lnTo>
                <a:lnTo>
                  <a:pt x="290672" y="581344"/>
                </a:lnTo>
                <a:lnTo>
                  <a:pt x="281142" y="571812"/>
                </a:lnTo>
                <a:close/>
                <a:moveTo>
                  <a:pt x="243020" y="528928"/>
                </a:moveTo>
                <a:lnTo>
                  <a:pt x="266846" y="547988"/>
                </a:lnTo>
                <a:lnTo>
                  <a:pt x="271612" y="557520"/>
                </a:lnTo>
                <a:lnTo>
                  <a:pt x="252550" y="543224"/>
                </a:lnTo>
                <a:lnTo>
                  <a:pt x="243020" y="533692"/>
                </a:lnTo>
                <a:close/>
                <a:moveTo>
                  <a:pt x="209664" y="524164"/>
                </a:moveTo>
                <a:lnTo>
                  <a:pt x="223960" y="538456"/>
                </a:lnTo>
                <a:lnTo>
                  <a:pt x="262080" y="576580"/>
                </a:lnTo>
                <a:lnTo>
                  <a:pt x="262080" y="581344"/>
                </a:lnTo>
                <a:lnTo>
                  <a:pt x="262080" y="586108"/>
                </a:lnTo>
                <a:lnTo>
                  <a:pt x="257314" y="581344"/>
                </a:lnTo>
                <a:lnTo>
                  <a:pt x="252550" y="581344"/>
                </a:lnTo>
                <a:lnTo>
                  <a:pt x="214430" y="533692"/>
                </a:lnTo>
                <a:close/>
                <a:moveTo>
                  <a:pt x="195370" y="414564"/>
                </a:moveTo>
                <a:lnTo>
                  <a:pt x="200134" y="419328"/>
                </a:lnTo>
                <a:lnTo>
                  <a:pt x="209664" y="428860"/>
                </a:lnTo>
                <a:lnTo>
                  <a:pt x="214430" y="428860"/>
                </a:lnTo>
                <a:lnTo>
                  <a:pt x="233490" y="447920"/>
                </a:lnTo>
                <a:lnTo>
                  <a:pt x="247786" y="466980"/>
                </a:lnTo>
                <a:lnTo>
                  <a:pt x="271612" y="486040"/>
                </a:lnTo>
                <a:lnTo>
                  <a:pt x="266846" y="486040"/>
                </a:lnTo>
                <a:lnTo>
                  <a:pt x="262080" y="490804"/>
                </a:lnTo>
                <a:lnTo>
                  <a:pt x="257316" y="495572"/>
                </a:lnTo>
                <a:lnTo>
                  <a:pt x="247786" y="486040"/>
                </a:lnTo>
                <a:lnTo>
                  <a:pt x="238256" y="476512"/>
                </a:lnTo>
                <a:lnTo>
                  <a:pt x="233490" y="466980"/>
                </a:lnTo>
                <a:lnTo>
                  <a:pt x="219194" y="457452"/>
                </a:lnTo>
                <a:lnTo>
                  <a:pt x="214430" y="443156"/>
                </a:lnTo>
                <a:close/>
                <a:moveTo>
                  <a:pt x="185840" y="376444"/>
                </a:moveTo>
                <a:lnTo>
                  <a:pt x="195370" y="376444"/>
                </a:lnTo>
                <a:lnTo>
                  <a:pt x="195370" y="381208"/>
                </a:lnTo>
                <a:lnTo>
                  <a:pt x="204900" y="395504"/>
                </a:lnTo>
                <a:lnTo>
                  <a:pt x="209664" y="405036"/>
                </a:lnTo>
                <a:lnTo>
                  <a:pt x="195370" y="395504"/>
                </a:lnTo>
                <a:lnTo>
                  <a:pt x="181074" y="395504"/>
                </a:lnTo>
                <a:lnTo>
                  <a:pt x="181074" y="385972"/>
                </a:lnTo>
                <a:lnTo>
                  <a:pt x="181074" y="381208"/>
                </a:lnTo>
                <a:close/>
                <a:moveTo>
                  <a:pt x="128658" y="304968"/>
                </a:moveTo>
                <a:lnTo>
                  <a:pt x="133422" y="304968"/>
                </a:lnTo>
                <a:lnTo>
                  <a:pt x="133422" y="324028"/>
                </a:lnTo>
                <a:lnTo>
                  <a:pt x="138188" y="338320"/>
                </a:lnTo>
                <a:lnTo>
                  <a:pt x="147718" y="347852"/>
                </a:lnTo>
                <a:lnTo>
                  <a:pt x="147718" y="371676"/>
                </a:lnTo>
                <a:lnTo>
                  <a:pt x="147718" y="405032"/>
                </a:lnTo>
                <a:lnTo>
                  <a:pt x="152484" y="409800"/>
                </a:lnTo>
                <a:lnTo>
                  <a:pt x="152484" y="419328"/>
                </a:lnTo>
                <a:lnTo>
                  <a:pt x="152484" y="428860"/>
                </a:lnTo>
                <a:lnTo>
                  <a:pt x="142952" y="414564"/>
                </a:lnTo>
                <a:lnTo>
                  <a:pt x="138188" y="395504"/>
                </a:lnTo>
                <a:lnTo>
                  <a:pt x="123892" y="366912"/>
                </a:lnTo>
                <a:lnTo>
                  <a:pt x="123892" y="357384"/>
                </a:lnTo>
                <a:lnTo>
                  <a:pt x="128658" y="347852"/>
                </a:lnTo>
                <a:lnTo>
                  <a:pt x="128658" y="338320"/>
                </a:lnTo>
                <a:lnTo>
                  <a:pt x="119128" y="309732"/>
                </a:lnTo>
                <a:close/>
                <a:moveTo>
                  <a:pt x="166778" y="295436"/>
                </a:moveTo>
                <a:lnTo>
                  <a:pt x="176308" y="304968"/>
                </a:lnTo>
                <a:lnTo>
                  <a:pt x="185838" y="324028"/>
                </a:lnTo>
                <a:lnTo>
                  <a:pt x="190604" y="328792"/>
                </a:lnTo>
                <a:lnTo>
                  <a:pt x="200134" y="347852"/>
                </a:lnTo>
                <a:lnTo>
                  <a:pt x="181074" y="352620"/>
                </a:lnTo>
                <a:lnTo>
                  <a:pt x="176308" y="343088"/>
                </a:lnTo>
                <a:lnTo>
                  <a:pt x="171544" y="338324"/>
                </a:lnTo>
                <a:lnTo>
                  <a:pt x="157248" y="333556"/>
                </a:lnTo>
                <a:lnTo>
                  <a:pt x="147718" y="324028"/>
                </a:lnTo>
                <a:lnTo>
                  <a:pt x="142952" y="319260"/>
                </a:lnTo>
                <a:lnTo>
                  <a:pt x="157248" y="309732"/>
                </a:lnTo>
                <a:close/>
                <a:moveTo>
                  <a:pt x="433626" y="0"/>
                </a:moveTo>
                <a:lnTo>
                  <a:pt x="438390" y="0"/>
                </a:lnTo>
                <a:lnTo>
                  <a:pt x="452686" y="0"/>
                </a:lnTo>
                <a:lnTo>
                  <a:pt x="466982" y="4764"/>
                </a:lnTo>
                <a:lnTo>
                  <a:pt x="476512" y="9528"/>
                </a:lnTo>
                <a:lnTo>
                  <a:pt x="505102" y="23824"/>
                </a:lnTo>
                <a:lnTo>
                  <a:pt x="524164" y="42884"/>
                </a:lnTo>
                <a:lnTo>
                  <a:pt x="533694" y="61944"/>
                </a:lnTo>
                <a:lnTo>
                  <a:pt x="547988" y="76240"/>
                </a:lnTo>
                <a:lnTo>
                  <a:pt x="567050" y="90536"/>
                </a:lnTo>
                <a:lnTo>
                  <a:pt x="581344" y="104832"/>
                </a:lnTo>
                <a:lnTo>
                  <a:pt x="590876" y="119128"/>
                </a:lnTo>
                <a:lnTo>
                  <a:pt x="609936" y="133420"/>
                </a:lnTo>
                <a:lnTo>
                  <a:pt x="628996" y="133420"/>
                </a:lnTo>
                <a:lnTo>
                  <a:pt x="638526" y="138188"/>
                </a:lnTo>
                <a:lnTo>
                  <a:pt x="643292" y="147716"/>
                </a:lnTo>
                <a:lnTo>
                  <a:pt x="657586" y="157248"/>
                </a:lnTo>
                <a:lnTo>
                  <a:pt x="671882" y="166776"/>
                </a:lnTo>
                <a:lnTo>
                  <a:pt x="695708" y="171544"/>
                </a:lnTo>
                <a:lnTo>
                  <a:pt x="743360" y="171544"/>
                </a:lnTo>
                <a:lnTo>
                  <a:pt x="748124" y="171544"/>
                </a:lnTo>
                <a:lnTo>
                  <a:pt x="757654" y="176308"/>
                </a:lnTo>
                <a:lnTo>
                  <a:pt x="767184" y="171544"/>
                </a:lnTo>
                <a:lnTo>
                  <a:pt x="786246" y="166776"/>
                </a:lnTo>
                <a:lnTo>
                  <a:pt x="791010" y="162012"/>
                </a:lnTo>
                <a:lnTo>
                  <a:pt x="805306" y="142952"/>
                </a:lnTo>
                <a:lnTo>
                  <a:pt x="814836" y="142952"/>
                </a:lnTo>
                <a:lnTo>
                  <a:pt x="829132" y="138188"/>
                </a:lnTo>
                <a:lnTo>
                  <a:pt x="843426" y="133420"/>
                </a:lnTo>
                <a:lnTo>
                  <a:pt x="843426" y="142952"/>
                </a:lnTo>
                <a:lnTo>
                  <a:pt x="838662" y="152484"/>
                </a:lnTo>
                <a:lnTo>
                  <a:pt x="833896" y="157248"/>
                </a:lnTo>
                <a:lnTo>
                  <a:pt x="838662" y="171544"/>
                </a:lnTo>
                <a:lnTo>
                  <a:pt x="848192" y="195368"/>
                </a:lnTo>
                <a:lnTo>
                  <a:pt x="843426" y="209664"/>
                </a:lnTo>
                <a:lnTo>
                  <a:pt x="848192" y="219192"/>
                </a:lnTo>
                <a:lnTo>
                  <a:pt x="867252" y="223960"/>
                </a:lnTo>
                <a:lnTo>
                  <a:pt x="867252" y="228724"/>
                </a:lnTo>
                <a:lnTo>
                  <a:pt x="862488" y="233488"/>
                </a:lnTo>
                <a:lnTo>
                  <a:pt x="857722" y="238256"/>
                </a:lnTo>
                <a:lnTo>
                  <a:pt x="857722" y="252548"/>
                </a:lnTo>
                <a:lnTo>
                  <a:pt x="872018" y="266844"/>
                </a:lnTo>
                <a:lnTo>
                  <a:pt x="900608" y="281140"/>
                </a:lnTo>
                <a:lnTo>
                  <a:pt x="910138" y="285904"/>
                </a:lnTo>
                <a:lnTo>
                  <a:pt x="910138" y="290672"/>
                </a:lnTo>
                <a:lnTo>
                  <a:pt x="914904" y="290672"/>
                </a:lnTo>
                <a:lnTo>
                  <a:pt x="919668" y="295436"/>
                </a:lnTo>
                <a:lnTo>
                  <a:pt x="919668" y="300200"/>
                </a:lnTo>
                <a:lnTo>
                  <a:pt x="919668" y="304968"/>
                </a:lnTo>
                <a:lnTo>
                  <a:pt x="905374" y="304968"/>
                </a:lnTo>
                <a:lnTo>
                  <a:pt x="891078" y="304968"/>
                </a:lnTo>
                <a:lnTo>
                  <a:pt x="876782" y="300200"/>
                </a:lnTo>
                <a:lnTo>
                  <a:pt x="876782" y="304968"/>
                </a:lnTo>
                <a:lnTo>
                  <a:pt x="876782" y="309732"/>
                </a:lnTo>
                <a:lnTo>
                  <a:pt x="867252" y="314496"/>
                </a:lnTo>
                <a:lnTo>
                  <a:pt x="872018" y="347852"/>
                </a:lnTo>
                <a:lnTo>
                  <a:pt x="872018" y="357384"/>
                </a:lnTo>
                <a:lnTo>
                  <a:pt x="867252" y="362148"/>
                </a:lnTo>
                <a:lnTo>
                  <a:pt x="862488" y="362148"/>
                </a:lnTo>
                <a:lnTo>
                  <a:pt x="857722" y="362148"/>
                </a:lnTo>
                <a:lnTo>
                  <a:pt x="857722" y="371676"/>
                </a:lnTo>
                <a:lnTo>
                  <a:pt x="848192" y="371676"/>
                </a:lnTo>
                <a:lnTo>
                  <a:pt x="829132" y="366912"/>
                </a:lnTo>
                <a:lnTo>
                  <a:pt x="824366" y="362148"/>
                </a:lnTo>
                <a:lnTo>
                  <a:pt x="824366" y="352616"/>
                </a:lnTo>
                <a:lnTo>
                  <a:pt x="824366" y="347852"/>
                </a:lnTo>
                <a:lnTo>
                  <a:pt x="819602" y="338320"/>
                </a:lnTo>
                <a:lnTo>
                  <a:pt x="805306" y="324028"/>
                </a:lnTo>
                <a:lnTo>
                  <a:pt x="776716" y="324028"/>
                </a:lnTo>
                <a:lnTo>
                  <a:pt x="767184" y="319260"/>
                </a:lnTo>
                <a:lnTo>
                  <a:pt x="757654" y="314496"/>
                </a:lnTo>
                <a:lnTo>
                  <a:pt x="743360" y="314496"/>
                </a:lnTo>
                <a:lnTo>
                  <a:pt x="733828" y="314496"/>
                </a:lnTo>
                <a:lnTo>
                  <a:pt x="724298" y="314496"/>
                </a:lnTo>
                <a:lnTo>
                  <a:pt x="700474" y="309732"/>
                </a:lnTo>
                <a:lnTo>
                  <a:pt x="690942" y="319260"/>
                </a:lnTo>
                <a:lnTo>
                  <a:pt x="681412" y="324028"/>
                </a:lnTo>
                <a:lnTo>
                  <a:pt x="671882" y="324028"/>
                </a:lnTo>
                <a:lnTo>
                  <a:pt x="652822" y="309732"/>
                </a:lnTo>
                <a:lnTo>
                  <a:pt x="648056" y="304968"/>
                </a:lnTo>
                <a:lnTo>
                  <a:pt x="628996" y="314496"/>
                </a:lnTo>
                <a:lnTo>
                  <a:pt x="624232" y="314496"/>
                </a:lnTo>
                <a:lnTo>
                  <a:pt x="619466" y="314496"/>
                </a:lnTo>
                <a:lnTo>
                  <a:pt x="595640" y="304968"/>
                </a:lnTo>
                <a:lnTo>
                  <a:pt x="586110" y="304968"/>
                </a:lnTo>
                <a:lnTo>
                  <a:pt x="576580" y="309732"/>
                </a:lnTo>
                <a:lnTo>
                  <a:pt x="562284" y="304968"/>
                </a:lnTo>
                <a:lnTo>
                  <a:pt x="533694" y="281140"/>
                </a:lnTo>
                <a:lnTo>
                  <a:pt x="509868" y="300200"/>
                </a:lnTo>
                <a:lnTo>
                  <a:pt x="471746" y="295436"/>
                </a:lnTo>
                <a:lnTo>
                  <a:pt x="457452" y="309732"/>
                </a:lnTo>
                <a:lnTo>
                  <a:pt x="447922" y="328792"/>
                </a:lnTo>
                <a:lnTo>
                  <a:pt x="433626" y="343088"/>
                </a:lnTo>
                <a:lnTo>
                  <a:pt x="424096" y="338320"/>
                </a:lnTo>
                <a:lnTo>
                  <a:pt x="414566" y="328792"/>
                </a:lnTo>
                <a:lnTo>
                  <a:pt x="390740" y="300200"/>
                </a:lnTo>
                <a:lnTo>
                  <a:pt x="381210" y="295436"/>
                </a:lnTo>
                <a:lnTo>
                  <a:pt x="371680" y="295436"/>
                </a:lnTo>
                <a:lnTo>
                  <a:pt x="362148" y="300200"/>
                </a:lnTo>
                <a:lnTo>
                  <a:pt x="357384" y="304968"/>
                </a:lnTo>
                <a:lnTo>
                  <a:pt x="352618" y="343088"/>
                </a:lnTo>
                <a:lnTo>
                  <a:pt x="347854" y="376444"/>
                </a:lnTo>
                <a:lnTo>
                  <a:pt x="347854" y="395504"/>
                </a:lnTo>
                <a:lnTo>
                  <a:pt x="371680" y="414564"/>
                </a:lnTo>
                <a:lnTo>
                  <a:pt x="395504" y="443156"/>
                </a:lnTo>
                <a:lnTo>
                  <a:pt x="405036" y="447920"/>
                </a:lnTo>
                <a:lnTo>
                  <a:pt x="409800" y="457452"/>
                </a:lnTo>
                <a:lnTo>
                  <a:pt x="414566" y="486040"/>
                </a:lnTo>
                <a:lnTo>
                  <a:pt x="424096" y="514632"/>
                </a:lnTo>
                <a:lnTo>
                  <a:pt x="433626" y="533692"/>
                </a:lnTo>
                <a:lnTo>
                  <a:pt x="447922" y="547988"/>
                </a:lnTo>
                <a:lnTo>
                  <a:pt x="462216" y="562284"/>
                </a:lnTo>
                <a:lnTo>
                  <a:pt x="481278" y="581344"/>
                </a:lnTo>
                <a:lnTo>
                  <a:pt x="495572" y="600404"/>
                </a:lnTo>
                <a:lnTo>
                  <a:pt x="500338" y="609936"/>
                </a:lnTo>
                <a:lnTo>
                  <a:pt x="557520" y="667116"/>
                </a:lnTo>
                <a:lnTo>
                  <a:pt x="581344" y="676644"/>
                </a:lnTo>
                <a:lnTo>
                  <a:pt x="586110" y="681412"/>
                </a:lnTo>
                <a:lnTo>
                  <a:pt x="586110" y="705236"/>
                </a:lnTo>
                <a:lnTo>
                  <a:pt x="590876" y="710000"/>
                </a:lnTo>
                <a:lnTo>
                  <a:pt x="605170" y="733828"/>
                </a:lnTo>
                <a:lnTo>
                  <a:pt x="643292" y="767184"/>
                </a:lnTo>
                <a:lnTo>
                  <a:pt x="648056" y="776712"/>
                </a:lnTo>
                <a:lnTo>
                  <a:pt x="648056" y="781480"/>
                </a:lnTo>
                <a:lnTo>
                  <a:pt x="643292" y="786244"/>
                </a:lnTo>
                <a:lnTo>
                  <a:pt x="633762" y="791008"/>
                </a:lnTo>
                <a:lnTo>
                  <a:pt x="628996" y="786244"/>
                </a:lnTo>
                <a:lnTo>
                  <a:pt x="595640" y="752888"/>
                </a:lnTo>
                <a:lnTo>
                  <a:pt x="567050" y="733828"/>
                </a:lnTo>
                <a:lnTo>
                  <a:pt x="528928" y="690940"/>
                </a:lnTo>
                <a:lnTo>
                  <a:pt x="481278" y="676644"/>
                </a:lnTo>
                <a:lnTo>
                  <a:pt x="447922" y="662352"/>
                </a:lnTo>
                <a:lnTo>
                  <a:pt x="428860" y="662352"/>
                </a:lnTo>
                <a:lnTo>
                  <a:pt x="409800" y="667116"/>
                </a:lnTo>
                <a:lnTo>
                  <a:pt x="395504" y="667116"/>
                </a:lnTo>
                <a:lnTo>
                  <a:pt x="385974" y="667116"/>
                </a:lnTo>
                <a:lnTo>
                  <a:pt x="381210" y="652820"/>
                </a:lnTo>
                <a:lnTo>
                  <a:pt x="381210" y="648056"/>
                </a:lnTo>
                <a:lnTo>
                  <a:pt x="381210" y="638524"/>
                </a:lnTo>
                <a:lnTo>
                  <a:pt x="362148" y="619464"/>
                </a:lnTo>
                <a:lnTo>
                  <a:pt x="333558" y="605168"/>
                </a:lnTo>
                <a:lnTo>
                  <a:pt x="309732" y="581344"/>
                </a:lnTo>
                <a:lnTo>
                  <a:pt x="262082" y="524160"/>
                </a:lnTo>
                <a:lnTo>
                  <a:pt x="252550" y="505100"/>
                </a:lnTo>
                <a:lnTo>
                  <a:pt x="262082" y="505100"/>
                </a:lnTo>
                <a:lnTo>
                  <a:pt x="266846" y="505100"/>
                </a:lnTo>
                <a:lnTo>
                  <a:pt x="276376" y="500336"/>
                </a:lnTo>
                <a:lnTo>
                  <a:pt x="290672" y="500336"/>
                </a:lnTo>
                <a:lnTo>
                  <a:pt x="304968" y="505100"/>
                </a:lnTo>
                <a:lnTo>
                  <a:pt x="290672" y="490808"/>
                </a:lnTo>
                <a:lnTo>
                  <a:pt x="276376" y="476512"/>
                </a:lnTo>
                <a:lnTo>
                  <a:pt x="228726" y="428860"/>
                </a:lnTo>
                <a:lnTo>
                  <a:pt x="214430" y="409800"/>
                </a:lnTo>
                <a:lnTo>
                  <a:pt x="214430" y="381208"/>
                </a:lnTo>
                <a:lnTo>
                  <a:pt x="219194" y="347852"/>
                </a:lnTo>
                <a:lnTo>
                  <a:pt x="209664" y="324028"/>
                </a:lnTo>
                <a:lnTo>
                  <a:pt x="176308" y="295436"/>
                </a:lnTo>
                <a:lnTo>
                  <a:pt x="162014" y="276376"/>
                </a:lnTo>
                <a:lnTo>
                  <a:pt x="138188" y="266844"/>
                </a:lnTo>
                <a:lnTo>
                  <a:pt x="123892" y="266844"/>
                </a:lnTo>
                <a:lnTo>
                  <a:pt x="119128" y="281140"/>
                </a:lnTo>
                <a:lnTo>
                  <a:pt x="114362" y="309732"/>
                </a:lnTo>
                <a:lnTo>
                  <a:pt x="90536" y="343088"/>
                </a:lnTo>
                <a:lnTo>
                  <a:pt x="81006" y="357384"/>
                </a:lnTo>
                <a:lnTo>
                  <a:pt x="71476" y="381208"/>
                </a:lnTo>
                <a:lnTo>
                  <a:pt x="61946" y="381208"/>
                </a:lnTo>
                <a:lnTo>
                  <a:pt x="52416" y="376444"/>
                </a:lnTo>
                <a:lnTo>
                  <a:pt x="38120" y="343088"/>
                </a:lnTo>
                <a:lnTo>
                  <a:pt x="19060" y="319260"/>
                </a:lnTo>
                <a:lnTo>
                  <a:pt x="14294" y="304968"/>
                </a:lnTo>
                <a:lnTo>
                  <a:pt x="14294" y="290672"/>
                </a:lnTo>
                <a:lnTo>
                  <a:pt x="0" y="238256"/>
                </a:lnTo>
                <a:lnTo>
                  <a:pt x="9530" y="228724"/>
                </a:lnTo>
                <a:lnTo>
                  <a:pt x="14294" y="238256"/>
                </a:lnTo>
                <a:lnTo>
                  <a:pt x="57180" y="247784"/>
                </a:lnTo>
                <a:lnTo>
                  <a:pt x="66710" y="243020"/>
                </a:lnTo>
                <a:lnTo>
                  <a:pt x="71476" y="238256"/>
                </a:lnTo>
                <a:lnTo>
                  <a:pt x="71476" y="233488"/>
                </a:lnTo>
                <a:lnTo>
                  <a:pt x="76242" y="228724"/>
                </a:lnTo>
                <a:lnTo>
                  <a:pt x="90536" y="238256"/>
                </a:lnTo>
                <a:lnTo>
                  <a:pt x="100066" y="233488"/>
                </a:lnTo>
                <a:lnTo>
                  <a:pt x="119128" y="233488"/>
                </a:lnTo>
                <a:lnTo>
                  <a:pt x="133422" y="238256"/>
                </a:lnTo>
                <a:lnTo>
                  <a:pt x="142952" y="228724"/>
                </a:lnTo>
                <a:lnTo>
                  <a:pt x="157248" y="209664"/>
                </a:lnTo>
                <a:lnTo>
                  <a:pt x="157248" y="200132"/>
                </a:lnTo>
                <a:lnTo>
                  <a:pt x="166778" y="195368"/>
                </a:lnTo>
                <a:lnTo>
                  <a:pt x="166778" y="200132"/>
                </a:lnTo>
                <a:lnTo>
                  <a:pt x="171544" y="209664"/>
                </a:lnTo>
                <a:lnTo>
                  <a:pt x="176308" y="214428"/>
                </a:lnTo>
                <a:lnTo>
                  <a:pt x="190604" y="228724"/>
                </a:lnTo>
                <a:lnTo>
                  <a:pt x="200134" y="238256"/>
                </a:lnTo>
                <a:lnTo>
                  <a:pt x="209664" y="238256"/>
                </a:lnTo>
                <a:lnTo>
                  <a:pt x="214430" y="233488"/>
                </a:lnTo>
                <a:lnTo>
                  <a:pt x="223960" y="233488"/>
                </a:lnTo>
                <a:lnTo>
                  <a:pt x="247786" y="243020"/>
                </a:lnTo>
                <a:lnTo>
                  <a:pt x="271612" y="247784"/>
                </a:lnTo>
                <a:lnTo>
                  <a:pt x="285906" y="238256"/>
                </a:lnTo>
                <a:lnTo>
                  <a:pt x="281142" y="233488"/>
                </a:lnTo>
                <a:lnTo>
                  <a:pt x="276376" y="223960"/>
                </a:lnTo>
                <a:lnTo>
                  <a:pt x="276376" y="214428"/>
                </a:lnTo>
                <a:lnTo>
                  <a:pt x="276376" y="204900"/>
                </a:lnTo>
                <a:lnTo>
                  <a:pt x="285906" y="200132"/>
                </a:lnTo>
                <a:lnTo>
                  <a:pt x="285906" y="195368"/>
                </a:lnTo>
                <a:lnTo>
                  <a:pt x="276376" y="181072"/>
                </a:lnTo>
                <a:lnTo>
                  <a:pt x="304968" y="166776"/>
                </a:lnTo>
                <a:lnTo>
                  <a:pt x="328792" y="157248"/>
                </a:lnTo>
                <a:lnTo>
                  <a:pt x="333558" y="152484"/>
                </a:lnTo>
                <a:lnTo>
                  <a:pt x="338324" y="142952"/>
                </a:lnTo>
                <a:lnTo>
                  <a:pt x="338324" y="123892"/>
                </a:lnTo>
                <a:lnTo>
                  <a:pt x="338324" y="109596"/>
                </a:lnTo>
                <a:lnTo>
                  <a:pt x="324028" y="95300"/>
                </a:lnTo>
                <a:lnTo>
                  <a:pt x="324028" y="90536"/>
                </a:lnTo>
                <a:lnTo>
                  <a:pt x="328792" y="81004"/>
                </a:lnTo>
                <a:lnTo>
                  <a:pt x="333558" y="76240"/>
                </a:lnTo>
                <a:lnTo>
                  <a:pt x="343088" y="71476"/>
                </a:lnTo>
                <a:lnTo>
                  <a:pt x="352618" y="66708"/>
                </a:lnTo>
                <a:lnTo>
                  <a:pt x="362148" y="61944"/>
                </a:lnTo>
                <a:lnTo>
                  <a:pt x="376444" y="57180"/>
                </a:lnTo>
                <a:lnTo>
                  <a:pt x="390740" y="52416"/>
                </a:lnTo>
                <a:lnTo>
                  <a:pt x="400270" y="38120"/>
                </a:lnTo>
                <a:lnTo>
                  <a:pt x="405036" y="33352"/>
                </a:lnTo>
                <a:lnTo>
                  <a:pt x="424096" y="38120"/>
                </a:lnTo>
                <a:lnTo>
                  <a:pt x="428860" y="33352"/>
                </a:lnTo>
                <a:lnTo>
                  <a:pt x="424096" y="9528"/>
                </a:lnTo>
                <a:lnTo>
                  <a:pt x="428860" y="4764"/>
                </a:lnTo>
                <a:close/>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399" name="CustomShape 24"/>
          <p:cNvSpPr/>
          <p:nvPr/>
        </p:nvSpPr>
        <p:spPr>
          <a:xfrm>
            <a:off x="3711240" y="4919040"/>
            <a:ext cx="448560" cy="270720"/>
          </a:xfrm>
          <a:custGeom>
            <a:avLst/>
            <a:gdLst/>
            <a:ahLst/>
            <a:cxnLst/>
            <a:rect l="l" t="t" r="r" b="b"/>
            <a:pathLst>
              <a:path w="446" h="270">
                <a:moveTo>
                  <a:pt x="398" y="14"/>
                </a:moveTo>
                <a:lnTo>
                  <a:pt x="396" y="16"/>
                </a:lnTo>
                <a:lnTo>
                  <a:pt x="374" y="22"/>
                </a:lnTo>
                <a:lnTo>
                  <a:pt x="370" y="20"/>
                </a:lnTo>
                <a:lnTo>
                  <a:pt x="366" y="16"/>
                </a:lnTo>
                <a:lnTo>
                  <a:pt x="366" y="14"/>
                </a:lnTo>
                <a:lnTo>
                  <a:pt x="364" y="14"/>
                </a:lnTo>
                <a:lnTo>
                  <a:pt x="362" y="8"/>
                </a:lnTo>
                <a:lnTo>
                  <a:pt x="360" y="6"/>
                </a:lnTo>
                <a:lnTo>
                  <a:pt x="356" y="2"/>
                </a:lnTo>
                <a:lnTo>
                  <a:pt x="352" y="0"/>
                </a:lnTo>
                <a:lnTo>
                  <a:pt x="348" y="0"/>
                </a:lnTo>
                <a:lnTo>
                  <a:pt x="336" y="4"/>
                </a:lnTo>
                <a:lnTo>
                  <a:pt x="328" y="4"/>
                </a:lnTo>
                <a:lnTo>
                  <a:pt x="322" y="2"/>
                </a:lnTo>
                <a:lnTo>
                  <a:pt x="314" y="0"/>
                </a:lnTo>
                <a:lnTo>
                  <a:pt x="300" y="0"/>
                </a:lnTo>
                <a:lnTo>
                  <a:pt x="290" y="2"/>
                </a:lnTo>
                <a:lnTo>
                  <a:pt x="288" y="6"/>
                </a:lnTo>
                <a:lnTo>
                  <a:pt x="280" y="26"/>
                </a:lnTo>
                <a:lnTo>
                  <a:pt x="266" y="32"/>
                </a:lnTo>
                <a:lnTo>
                  <a:pt x="254" y="40"/>
                </a:lnTo>
                <a:lnTo>
                  <a:pt x="250" y="42"/>
                </a:lnTo>
                <a:lnTo>
                  <a:pt x="244" y="38"/>
                </a:lnTo>
                <a:lnTo>
                  <a:pt x="238" y="34"/>
                </a:lnTo>
                <a:lnTo>
                  <a:pt x="232" y="32"/>
                </a:lnTo>
                <a:lnTo>
                  <a:pt x="228" y="34"/>
                </a:lnTo>
                <a:lnTo>
                  <a:pt x="224" y="38"/>
                </a:lnTo>
                <a:lnTo>
                  <a:pt x="222" y="44"/>
                </a:lnTo>
                <a:lnTo>
                  <a:pt x="210" y="48"/>
                </a:lnTo>
                <a:lnTo>
                  <a:pt x="186" y="50"/>
                </a:lnTo>
                <a:lnTo>
                  <a:pt x="178" y="54"/>
                </a:lnTo>
                <a:lnTo>
                  <a:pt x="176" y="60"/>
                </a:lnTo>
                <a:lnTo>
                  <a:pt x="176" y="64"/>
                </a:lnTo>
                <a:lnTo>
                  <a:pt x="178" y="68"/>
                </a:lnTo>
                <a:lnTo>
                  <a:pt x="174" y="74"/>
                </a:lnTo>
                <a:lnTo>
                  <a:pt x="174" y="74"/>
                </a:lnTo>
                <a:lnTo>
                  <a:pt x="158" y="76"/>
                </a:lnTo>
                <a:lnTo>
                  <a:pt x="136" y="78"/>
                </a:lnTo>
                <a:lnTo>
                  <a:pt x="122" y="76"/>
                </a:lnTo>
                <a:lnTo>
                  <a:pt x="110" y="76"/>
                </a:lnTo>
                <a:lnTo>
                  <a:pt x="102" y="72"/>
                </a:lnTo>
                <a:lnTo>
                  <a:pt x="92" y="66"/>
                </a:lnTo>
                <a:lnTo>
                  <a:pt x="82" y="56"/>
                </a:lnTo>
                <a:lnTo>
                  <a:pt x="80" y="54"/>
                </a:lnTo>
                <a:lnTo>
                  <a:pt x="78" y="54"/>
                </a:lnTo>
                <a:lnTo>
                  <a:pt x="72" y="54"/>
                </a:lnTo>
                <a:lnTo>
                  <a:pt x="70" y="54"/>
                </a:lnTo>
                <a:lnTo>
                  <a:pt x="66" y="58"/>
                </a:lnTo>
                <a:lnTo>
                  <a:pt x="66" y="64"/>
                </a:lnTo>
                <a:lnTo>
                  <a:pt x="64" y="66"/>
                </a:lnTo>
                <a:lnTo>
                  <a:pt x="62" y="70"/>
                </a:lnTo>
                <a:lnTo>
                  <a:pt x="64" y="74"/>
                </a:lnTo>
                <a:lnTo>
                  <a:pt x="64" y="78"/>
                </a:lnTo>
                <a:lnTo>
                  <a:pt x="64" y="82"/>
                </a:lnTo>
                <a:lnTo>
                  <a:pt x="58" y="84"/>
                </a:lnTo>
                <a:lnTo>
                  <a:pt x="52" y="84"/>
                </a:lnTo>
                <a:lnTo>
                  <a:pt x="48" y="84"/>
                </a:lnTo>
                <a:lnTo>
                  <a:pt x="46" y="86"/>
                </a:lnTo>
                <a:lnTo>
                  <a:pt x="44" y="84"/>
                </a:lnTo>
                <a:lnTo>
                  <a:pt x="38" y="80"/>
                </a:lnTo>
                <a:lnTo>
                  <a:pt x="34" y="78"/>
                </a:lnTo>
                <a:lnTo>
                  <a:pt x="32" y="78"/>
                </a:lnTo>
                <a:lnTo>
                  <a:pt x="30" y="82"/>
                </a:lnTo>
                <a:lnTo>
                  <a:pt x="26" y="84"/>
                </a:lnTo>
                <a:lnTo>
                  <a:pt x="22" y="86"/>
                </a:lnTo>
                <a:lnTo>
                  <a:pt x="24" y="88"/>
                </a:lnTo>
                <a:lnTo>
                  <a:pt x="36" y="92"/>
                </a:lnTo>
                <a:lnTo>
                  <a:pt x="40" y="100"/>
                </a:lnTo>
                <a:lnTo>
                  <a:pt x="36" y="106"/>
                </a:lnTo>
                <a:lnTo>
                  <a:pt x="36" y="108"/>
                </a:lnTo>
                <a:lnTo>
                  <a:pt x="32" y="110"/>
                </a:lnTo>
                <a:lnTo>
                  <a:pt x="28" y="112"/>
                </a:lnTo>
                <a:lnTo>
                  <a:pt x="24" y="112"/>
                </a:lnTo>
                <a:lnTo>
                  <a:pt x="24" y="116"/>
                </a:lnTo>
                <a:lnTo>
                  <a:pt x="26" y="124"/>
                </a:lnTo>
                <a:lnTo>
                  <a:pt x="24" y="126"/>
                </a:lnTo>
                <a:lnTo>
                  <a:pt x="22" y="130"/>
                </a:lnTo>
                <a:lnTo>
                  <a:pt x="24" y="138"/>
                </a:lnTo>
                <a:lnTo>
                  <a:pt x="26" y="138"/>
                </a:lnTo>
                <a:lnTo>
                  <a:pt x="28" y="140"/>
                </a:lnTo>
                <a:lnTo>
                  <a:pt x="26" y="142"/>
                </a:lnTo>
                <a:lnTo>
                  <a:pt x="26" y="146"/>
                </a:lnTo>
                <a:lnTo>
                  <a:pt x="26" y="148"/>
                </a:lnTo>
                <a:lnTo>
                  <a:pt x="24" y="150"/>
                </a:lnTo>
                <a:lnTo>
                  <a:pt x="22" y="152"/>
                </a:lnTo>
                <a:lnTo>
                  <a:pt x="16" y="150"/>
                </a:lnTo>
                <a:lnTo>
                  <a:pt x="12" y="154"/>
                </a:lnTo>
                <a:lnTo>
                  <a:pt x="0" y="164"/>
                </a:lnTo>
                <a:lnTo>
                  <a:pt x="14" y="164"/>
                </a:lnTo>
                <a:lnTo>
                  <a:pt x="16" y="168"/>
                </a:lnTo>
                <a:lnTo>
                  <a:pt x="16" y="172"/>
                </a:lnTo>
                <a:lnTo>
                  <a:pt x="16" y="178"/>
                </a:lnTo>
                <a:lnTo>
                  <a:pt x="20" y="180"/>
                </a:lnTo>
                <a:lnTo>
                  <a:pt x="20" y="182"/>
                </a:lnTo>
                <a:lnTo>
                  <a:pt x="20" y="186"/>
                </a:lnTo>
                <a:lnTo>
                  <a:pt x="22" y="188"/>
                </a:lnTo>
                <a:lnTo>
                  <a:pt x="28" y="196"/>
                </a:lnTo>
                <a:lnTo>
                  <a:pt x="28" y="198"/>
                </a:lnTo>
                <a:lnTo>
                  <a:pt x="32" y="200"/>
                </a:lnTo>
                <a:lnTo>
                  <a:pt x="44" y="206"/>
                </a:lnTo>
                <a:lnTo>
                  <a:pt x="52" y="214"/>
                </a:lnTo>
                <a:lnTo>
                  <a:pt x="56" y="222"/>
                </a:lnTo>
                <a:lnTo>
                  <a:pt x="62" y="228"/>
                </a:lnTo>
                <a:lnTo>
                  <a:pt x="70" y="234"/>
                </a:lnTo>
                <a:lnTo>
                  <a:pt x="76" y="240"/>
                </a:lnTo>
                <a:lnTo>
                  <a:pt x="80" y="246"/>
                </a:lnTo>
                <a:lnTo>
                  <a:pt x="88" y="252"/>
                </a:lnTo>
                <a:lnTo>
                  <a:pt x="96" y="252"/>
                </a:lnTo>
                <a:lnTo>
                  <a:pt x="100" y="254"/>
                </a:lnTo>
                <a:lnTo>
                  <a:pt x="102" y="258"/>
                </a:lnTo>
                <a:lnTo>
                  <a:pt x="108" y="262"/>
                </a:lnTo>
                <a:lnTo>
                  <a:pt x="114" y="266"/>
                </a:lnTo>
                <a:lnTo>
                  <a:pt x="124" y="268"/>
                </a:lnTo>
                <a:lnTo>
                  <a:pt x="144" y="268"/>
                </a:lnTo>
                <a:lnTo>
                  <a:pt x="146" y="268"/>
                </a:lnTo>
                <a:lnTo>
                  <a:pt x="150" y="270"/>
                </a:lnTo>
                <a:lnTo>
                  <a:pt x="154" y="268"/>
                </a:lnTo>
                <a:lnTo>
                  <a:pt x="162" y="266"/>
                </a:lnTo>
                <a:lnTo>
                  <a:pt x="164" y="264"/>
                </a:lnTo>
                <a:lnTo>
                  <a:pt x="170" y="256"/>
                </a:lnTo>
                <a:lnTo>
                  <a:pt x="174" y="256"/>
                </a:lnTo>
                <a:lnTo>
                  <a:pt x="180" y="254"/>
                </a:lnTo>
                <a:lnTo>
                  <a:pt x="186" y="252"/>
                </a:lnTo>
                <a:lnTo>
                  <a:pt x="186" y="252"/>
                </a:lnTo>
                <a:lnTo>
                  <a:pt x="192" y="250"/>
                </a:lnTo>
                <a:lnTo>
                  <a:pt x="194" y="248"/>
                </a:lnTo>
                <a:lnTo>
                  <a:pt x="196" y="246"/>
                </a:lnTo>
                <a:lnTo>
                  <a:pt x="198" y="244"/>
                </a:lnTo>
                <a:lnTo>
                  <a:pt x="202" y="248"/>
                </a:lnTo>
                <a:lnTo>
                  <a:pt x="206" y="248"/>
                </a:lnTo>
                <a:lnTo>
                  <a:pt x="210" y="246"/>
                </a:lnTo>
                <a:lnTo>
                  <a:pt x="214" y="244"/>
                </a:lnTo>
                <a:lnTo>
                  <a:pt x="218" y="242"/>
                </a:lnTo>
                <a:lnTo>
                  <a:pt x="220" y="240"/>
                </a:lnTo>
                <a:lnTo>
                  <a:pt x="222" y="238"/>
                </a:lnTo>
                <a:lnTo>
                  <a:pt x="226" y="232"/>
                </a:lnTo>
                <a:lnTo>
                  <a:pt x="232" y="230"/>
                </a:lnTo>
                <a:lnTo>
                  <a:pt x="240" y="232"/>
                </a:lnTo>
                <a:lnTo>
                  <a:pt x="246" y="232"/>
                </a:lnTo>
                <a:lnTo>
                  <a:pt x="252" y="232"/>
                </a:lnTo>
                <a:lnTo>
                  <a:pt x="268" y="234"/>
                </a:lnTo>
                <a:lnTo>
                  <a:pt x="270" y="234"/>
                </a:lnTo>
                <a:lnTo>
                  <a:pt x="274" y="236"/>
                </a:lnTo>
                <a:lnTo>
                  <a:pt x="276" y="234"/>
                </a:lnTo>
                <a:lnTo>
                  <a:pt x="290" y="230"/>
                </a:lnTo>
                <a:lnTo>
                  <a:pt x="298" y="234"/>
                </a:lnTo>
                <a:lnTo>
                  <a:pt x="300" y="232"/>
                </a:lnTo>
                <a:lnTo>
                  <a:pt x="304" y="230"/>
                </a:lnTo>
                <a:lnTo>
                  <a:pt x="306" y="228"/>
                </a:lnTo>
                <a:lnTo>
                  <a:pt x="306" y="226"/>
                </a:lnTo>
                <a:lnTo>
                  <a:pt x="308" y="224"/>
                </a:lnTo>
                <a:lnTo>
                  <a:pt x="312" y="222"/>
                </a:lnTo>
                <a:lnTo>
                  <a:pt x="326" y="224"/>
                </a:lnTo>
                <a:lnTo>
                  <a:pt x="330" y="220"/>
                </a:lnTo>
                <a:lnTo>
                  <a:pt x="332" y="218"/>
                </a:lnTo>
                <a:lnTo>
                  <a:pt x="334" y="214"/>
                </a:lnTo>
                <a:lnTo>
                  <a:pt x="336" y="210"/>
                </a:lnTo>
                <a:lnTo>
                  <a:pt x="340" y="208"/>
                </a:lnTo>
                <a:lnTo>
                  <a:pt x="340" y="204"/>
                </a:lnTo>
                <a:lnTo>
                  <a:pt x="340" y="200"/>
                </a:lnTo>
                <a:lnTo>
                  <a:pt x="342" y="192"/>
                </a:lnTo>
                <a:lnTo>
                  <a:pt x="344" y="188"/>
                </a:lnTo>
                <a:lnTo>
                  <a:pt x="346" y="188"/>
                </a:lnTo>
                <a:lnTo>
                  <a:pt x="350" y="186"/>
                </a:lnTo>
                <a:lnTo>
                  <a:pt x="356" y="180"/>
                </a:lnTo>
                <a:lnTo>
                  <a:pt x="354" y="174"/>
                </a:lnTo>
                <a:lnTo>
                  <a:pt x="356" y="172"/>
                </a:lnTo>
                <a:lnTo>
                  <a:pt x="360" y="162"/>
                </a:lnTo>
                <a:lnTo>
                  <a:pt x="366" y="154"/>
                </a:lnTo>
                <a:lnTo>
                  <a:pt x="366" y="150"/>
                </a:lnTo>
                <a:lnTo>
                  <a:pt x="366" y="146"/>
                </a:lnTo>
                <a:lnTo>
                  <a:pt x="370" y="142"/>
                </a:lnTo>
                <a:lnTo>
                  <a:pt x="374" y="138"/>
                </a:lnTo>
                <a:lnTo>
                  <a:pt x="380" y="122"/>
                </a:lnTo>
                <a:lnTo>
                  <a:pt x="382" y="120"/>
                </a:lnTo>
                <a:lnTo>
                  <a:pt x="386" y="116"/>
                </a:lnTo>
                <a:lnTo>
                  <a:pt x="388" y="114"/>
                </a:lnTo>
                <a:lnTo>
                  <a:pt x="388" y="102"/>
                </a:lnTo>
                <a:lnTo>
                  <a:pt x="390" y="100"/>
                </a:lnTo>
                <a:lnTo>
                  <a:pt x="396" y="96"/>
                </a:lnTo>
                <a:lnTo>
                  <a:pt x="400" y="90"/>
                </a:lnTo>
                <a:lnTo>
                  <a:pt x="404" y="84"/>
                </a:lnTo>
                <a:lnTo>
                  <a:pt x="408" y="80"/>
                </a:lnTo>
                <a:lnTo>
                  <a:pt x="412" y="80"/>
                </a:lnTo>
                <a:lnTo>
                  <a:pt x="416" y="78"/>
                </a:lnTo>
                <a:lnTo>
                  <a:pt x="420" y="76"/>
                </a:lnTo>
                <a:lnTo>
                  <a:pt x="426" y="78"/>
                </a:lnTo>
                <a:lnTo>
                  <a:pt x="428" y="76"/>
                </a:lnTo>
                <a:lnTo>
                  <a:pt x="432" y="74"/>
                </a:lnTo>
                <a:lnTo>
                  <a:pt x="444" y="62"/>
                </a:lnTo>
                <a:lnTo>
                  <a:pt x="446" y="60"/>
                </a:lnTo>
                <a:lnTo>
                  <a:pt x="444" y="58"/>
                </a:lnTo>
                <a:lnTo>
                  <a:pt x="444" y="54"/>
                </a:lnTo>
                <a:lnTo>
                  <a:pt x="444" y="52"/>
                </a:lnTo>
                <a:lnTo>
                  <a:pt x="444" y="48"/>
                </a:lnTo>
                <a:lnTo>
                  <a:pt x="440" y="44"/>
                </a:lnTo>
                <a:lnTo>
                  <a:pt x="438" y="44"/>
                </a:lnTo>
                <a:lnTo>
                  <a:pt x="434" y="44"/>
                </a:lnTo>
                <a:lnTo>
                  <a:pt x="434" y="44"/>
                </a:lnTo>
                <a:lnTo>
                  <a:pt x="426" y="40"/>
                </a:lnTo>
                <a:lnTo>
                  <a:pt x="422" y="34"/>
                </a:lnTo>
                <a:lnTo>
                  <a:pt x="416" y="30"/>
                </a:lnTo>
                <a:lnTo>
                  <a:pt x="412" y="30"/>
                </a:lnTo>
                <a:lnTo>
                  <a:pt x="410" y="26"/>
                </a:lnTo>
                <a:lnTo>
                  <a:pt x="408" y="22"/>
                </a:lnTo>
                <a:lnTo>
                  <a:pt x="406" y="18"/>
                </a:lnTo>
                <a:lnTo>
                  <a:pt x="406" y="18"/>
                </a:lnTo>
                <a:lnTo>
                  <a:pt x="406" y="14"/>
                </a:lnTo>
                <a:lnTo>
                  <a:pt x="404" y="14"/>
                </a:lnTo>
                <a:lnTo>
                  <a:pt x="404" y="14"/>
                </a:lnTo>
                <a:lnTo>
                  <a:pt x="398" y="14"/>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00" name="CustomShape 25"/>
          <p:cNvSpPr/>
          <p:nvPr/>
        </p:nvSpPr>
        <p:spPr>
          <a:xfrm>
            <a:off x="1957680" y="4185720"/>
            <a:ext cx="286920" cy="430200"/>
          </a:xfrm>
          <a:custGeom>
            <a:avLst/>
            <a:gdLst/>
            <a:ahLst/>
            <a:cxnLst/>
            <a:rect l="l" t="t" r="r" b="b"/>
            <a:pathLst>
              <a:path w="454024" h="679450">
                <a:moveTo>
                  <a:pt x="22224" y="241300"/>
                </a:moveTo>
                <a:lnTo>
                  <a:pt x="28576" y="244475"/>
                </a:lnTo>
                <a:lnTo>
                  <a:pt x="41276" y="244475"/>
                </a:lnTo>
                <a:lnTo>
                  <a:pt x="47624" y="247650"/>
                </a:lnTo>
                <a:lnTo>
                  <a:pt x="47624" y="260350"/>
                </a:lnTo>
                <a:lnTo>
                  <a:pt x="47624" y="263525"/>
                </a:lnTo>
                <a:lnTo>
                  <a:pt x="38100" y="257175"/>
                </a:lnTo>
                <a:lnTo>
                  <a:pt x="34924" y="250825"/>
                </a:lnTo>
                <a:lnTo>
                  <a:pt x="15876" y="247650"/>
                </a:lnTo>
                <a:close/>
                <a:moveTo>
                  <a:pt x="317500" y="0"/>
                </a:moveTo>
                <a:lnTo>
                  <a:pt x="323850" y="0"/>
                </a:lnTo>
                <a:lnTo>
                  <a:pt x="327024" y="0"/>
                </a:lnTo>
                <a:lnTo>
                  <a:pt x="339724" y="9525"/>
                </a:lnTo>
                <a:lnTo>
                  <a:pt x="349250" y="15875"/>
                </a:lnTo>
                <a:lnTo>
                  <a:pt x="358776" y="22225"/>
                </a:lnTo>
                <a:lnTo>
                  <a:pt x="349250" y="31750"/>
                </a:lnTo>
                <a:lnTo>
                  <a:pt x="336550" y="41275"/>
                </a:lnTo>
                <a:lnTo>
                  <a:pt x="330200" y="47625"/>
                </a:lnTo>
                <a:lnTo>
                  <a:pt x="314324" y="60325"/>
                </a:lnTo>
                <a:lnTo>
                  <a:pt x="311150" y="63500"/>
                </a:lnTo>
                <a:lnTo>
                  <a:pt x="307976" y="82550"/>
                </a:lnTo>
                <a:lnTo>
                  <a:pt x="307976" y="85725"/>
                </a:lnTo>
                <a:lnTo>
                  <a:pt x="301624" y="95250"/>
                </a:lnTo>
                <a:lnTo>
                  <a:pt x="298450" y="107950"/>
                </a:lnTo>
                <a:lnTo>
                  <a:pt x="292100" y="111125"/>
                </a:lnTo>
                <a:lnTo>
                  <a:pt x="282576" y="114300"/>
                </a:lnTo>
                <a:lnTo>
                  <a:pt x="276224" y="117475"/>
                </a:lnTo>
                <a:lnTo>
                  <a:pt x="269876" y="117475"/>
                </a:lnTo>
                <a:lnTo>
                  <a:pt x="263524" y="117475"/>
                </a:lnTo>
                <a:lnTo>
                  <a:pt x="260350" y="120650"/>
                </a:lnTo>
                <a:lnTo>
                  <a:pt x="260350" y="123825"/>
                </a:lnTo>
                <a:lnTo>
                  <a:pt x="263524" y="123825"/>
                </a:lnTo>
                <a:lnTo>
                  <a:pt x="269876" y="130175"/>
                </a:lnTo>
                <a:lnTo>
                  <a:pt x="276224" y="133350"/>
                </a:lnTo>
                <a:lnTo>
                  <a:pt x="276224" y="139700"/>
                </a:lnTo>
                <a:lnTo>
                  <a:pt x="273050" y="142875"/>
                </a:lnTo>
                <a:lnTo>
                  <a:pt x="244476" y="152400"/>
                </a:lnTo>
                <a:lnTo>
                  <a:pt x="238124" y="158750"/>
                </a:lnTo>
                <a:lnTo>
                  <a:pt x="234950" y="165100"/>
                </a:lnTo>
                <a:lnTo>
                  <a:pt x="238124" y="171450"/>
                </a:lnTo>
                <a:lnTo>
                  <a:pt x="260350" y="190500"/>
                </a:lnTo>
                <a:lnTo>
                  <a:pt x="263524" y="193675"/>
                </a:lnTo>
                <a:lnTo>
                  <a:pt x="266700" y="206375"/>
                </a:lnTo>
                <a:lnTo>
                  <a:pt x="282576" y="212725"/>
                </a:lnTo>
                <a:lnTo>
                  <a:pt x="292100" y="219075"/>
                </a:lnTo>
                <a:lnTo>
                  <a:pt x="298450" y="222250"/>
                </a:lnTo>
                <a:lnTo>
                  <a:pt x="311150" y="219075"/>
                </a:lnTo>
                <a:lnTo>
                  <a:pt x="317500" y="222250"/>
                </a:lnTo>
                <a:lnTo>
                  <a:pt x="320676" y="222250"/>
                </a:lnTo>
                <a:lnTo>
                  <a:pt x="323850" y="215900"/>
                </a:lnTo>
                <a:lnTo>
                  <a:pt x="333376" y="206375"/>
                </a:lnTo>
                <a:lnTo>
                  <a:pt x="339724" y="203200"/>
                </a:lnTo>
                <a:lnTo>
                  <a:pt x="336550" y="196850"/>
                </a:lnTo>
                <a:lnTo>
                  <a:pt x="333376" y="190500"/>
                </a:lnTo>
                <a:lnTo>
                  <a:pt x="339724" y="180975"/>
                </a:lnTo>
                <a:lnTo>
                  <a:pt x="349250" y="171450"/>
                </a:lnTo>
                <a:lnTo>
                  <a:pt x="352424" y="171450"/>
                </a:lnTo>
                <a:lnTo>
                  <a:pt x="361950" y="177800"/>
                </a:lnTo>
                <a:lnTo>
                  <a:pt x="368300" y="187325"/>
                </a:lnTo>
                <a:lnTo>
                  <a:pt x="368300" y="190500"/>
                </a:lnTo>
                <a:lnTo>
                  <a:pt x="368300" y="196850"/>
                </a:lnTo>
                <a:lnTo>
                  <a:pt x="374650" y="206375"/>
                </a:lnTo>
                <a:lnTo>
                  <a:pt x="377824" y="209550"/>
                </a:lnTo>
                <a:lnTo>
                  <a:pt x="387350" y="212725"/>
                </a:lnTo>
                <a:lnTo>
                  <a:pt x="390524" y="215900"/>
                </a:lnTo>
                <a:lnTo>
                  <a:pt x="390524" y="228600"/>
                </a:lnTo>
                <a:lnTo>
                  <a:pt x="390524" y="234950"/>
                </a:lnTo>
                <a:lnTo>
                  <a:pt x="400050" y="234950"/>
                </a:lnTo>
                <a:lnTo>
                  <a:pt x="412750" y="231775"/>
                </a:lnTo>
                <a:lnTo>
                  <a:pt x="415924" y="234950"/>
                </a:lnTo>
                <a:lnTo>
                  <a:pt x="419100" y="231775"/>
                </a:lnTo>
                <a:lnTo>
                  <a:pt x="425450" y="228600"/>
                </a:lnTo>
                <a:lnTo>
                  <a:pt x="434976" y="228600"/>
                </a:lnTo>
                <a:lnTo>
                  <a:pt x="441324" y="234950"/>
                </a:lnTo>
                <a:lnTo>
                  <a:pt x="441324" y="241300"/>
                </a:lnTo>
                <a:lnTo>
                  <a:pt x="434976" y="244475"/>
                </a:lnTo>
                <a:lnTo>
                  <a:pt x="425450" y="241300"/>
                </a:lnTo>
                <a:lnTo>
                  <a:pt x="422276" y="247650"/>
                </a:lnTo>
                <a:lnTo>
                  <a:pt x="422276" y="254000"/>
                </a:lnTo>
                <a:lnTo>
                  <a:pt x="425450" y="266700"/>
                </a:lnTo>
                <a:lnTo>
                  <a:pt x="431800" y="273050"/>
                </a:lnTo>
                <a:lnTo>
                  <a:pt x="434976" y="288925"/>
                </a:lnTo>
                <a:lnTo>
                  <a:pt x="438150" y="307975"/>
                </a:lnTo>
                <a:lnTo>
                  <a:pt x="444500" y="317500"/>
                </a:lnTo>
                <a:lnTo>
                  <a:pt x="444500" y="333375"/>
                </a:lnTo>
                <a:lnTo>
                  <a:pt x="444500" y="339725"/>
                </a:lnTo>
                <a:lnTo>
                  <a:pt x="444500" y="352425"/>
                </a:lnTo>
                <a:lnTo>
                  <a:pt x="441324" y="355600"/>
                </a:lnTo>
                <a:lnTo>
                  <a:pt x="444500" y="368300"/>
                </a:lnTo>
                <a:lnTo>
                  <a:pt x="450850" y="390525"/>
                </a:lnTo>
                <a:lnTo>
                  <a:pt x="454024" y="403225"/>
                </a:lnTo>
                <a:lnTo>
                  <a:pt x="454024" y="431800"/>
                </a:lnTo>
                <a:lnTo>
                  <a:pt x="450850" y="441325"/>
                </a:lnTo>
                <a:lnTo>
                  <a:pt x="444500" y="454025"/>
                </a:lnTo>
                <a:lnTo>
                  <a:pt x="441324" y="463550"/>
                </a:lnTo>
                <a:lnTo>
                  <a:pt x="438150" y="476250"/>
                </a:lnTo>
                <a:lnTo>
                  <a:pt x="434976" y="498475"/>
                </a:lnTo>
                <a:lnTo>
                  <a:pt x="422276" y="520700"/>
                </a:lnTo>
                <a:lnTo>
                  <a:pt x="415924" y="527050"/>
                </a:lnTo>
                <a:lnTo>
                  <a:pt x="409576" y="530225"/>
                </a:lnTo>
                <a:lnTo>
                  <a:pt x="425450" y="549275"/>
                </a:lnTo>
                <a:lnTo>
                  <a:pt x="412750" y="555625"/>
                </a:lnTo>
                <a:lnTo>
                  <a:pt x="400050" y="558800"/>
                </a:lnTo>
                <a:lnTo>
                  <a:pt x="384176" y="555625"/>
                </a:lnTo>
                <a:lnTo>
                  <a:pt x="377824" y="555625"/>
                </a:lnTo>
                <a:lnTo>
                  <a:pt x="368300" y="558800"/>
                </a:lnTo>
                <a:lnTo>
                  <a:pt x="365124" y="561975"/>
                </a:lnTo>
                <a:lnTo>
                  <a:pt x="361950" y="561975"/>
                </a:lnTo>
                <a:lnTo>
                  <a:pt x="358776" y="549275"/>
                </a:lnTo>
                <a:lnTo>
                  <a:pt x="352424" y="561975"/>
                </a:lnTo>
                <a:lnTo>
                  <a:pt x="346076" y="565150"/>
                </a:lnTo>
                <a:lnTo>
                  <a:pt x="330200" y="565150"/>
                </a:lnTo>
                <a:lnTo>
                  <a:pt x="307976" y="568325"/>
                </a:lnTo>
                <a:lnTo>
                  <a:pt x="298450" y="574675"/>
                </a:lnTo>
                <a:lnTo>
                  <a:pt x="295276" y="581025"/>
                </a:lnTo>
                <a:lnTo>
                  <a:pt x="292100" y="587375"/>
                </a:lnTo>
                <a:lnTo>
                  <a:pt x="288924" y="590550"/>
                </a:lnTo>
                <a:lnTo>
                  <a:pt x="285750" y="593725"/>
                </a:lnTo>
                <a:lnTo>
                  <a:pt x="266700" y="600075"/>
                </a:lnTo>
                <a:lnTo>
                  <a:pt x="263524" y="600075"/>
                </a:lnTo>
                <a:lnTo>
                  <a:pt x="254000" y="612775"/>
                </a:lnTo>
                <a:lnTo>
                  <a:pt x="244476" y="619125"/>
                </a:lnTo>
                <a:lnTo>
                  <a:pt x="234950" y="622300"/>
                </a:lnTo>
                <a:lnTo>
                  <a:pt x="225424" y="615950"/>
                </a:lnTo>
                <a:lnTo>
                  <a:pt x="222250" y="609600"/>
                </a:lnTo>
                <a:lnTo>
                  <a:pt x="219076" y="609600"/>
                </a:lnTo>
                <a:lnTo>
                  <a:pt x="212724" y="609600"/>
                </a:lnTo>
                <a:lnTo>
                  <a:pt x="215900" y="615950"/>
                </a:lnTo>
                <a:lnTo>
                  <a:pt x="215900" y="625475"/>
                </a:lnTo>
                <a:lnTo>
                  <a:pt x="212724" y="635000"/>
                </a:lnTo>
                <a:lnTo>
                  <a:pt x="206376" y="638175"/>
                </a:lnTo>
                <a:lnTo>
                  <a:pt x="200024" y="641350"/>
                </a:lnTo>
                <a:lnTo>
                  <a:pt x="190500" y="650875"/>
                </a:lnTo>
                <a:lnTo>
                  <a:pt x="174624" y="650875"/>
                </a:lnTo>
                <a:lnTo>
                  <a:pt x="165100" y="660400"/>
                </a:lnTo>
                <a:lnTo>
                  <a:pt x="114300" y="673100"/>
                </a:lnTo>
                <a:lnTo>
                  <a:pt x="111124" y="673100"/>
                </a:lnTo>
                <a:lnTo>
                  <a:pt x="104776" y="669925"/>
                </a:lnTo>
                <a:lnTo>
                  <a:pt x="98424" y="669925"/>
                </a:lnTo>
                <a:lnTo>
                  <a:pt x="92076" y="669925"/>
                </a:lnTo>
                <a:lnTo>
                  <a:pt x="69850" y="679450"/>
                </a:lnTo>
                <a:lnTo>
                  <a:pt x="60324" y="676275"/>
                </a:lnTo>
                <a:lnTo>
                  <a:pt x="73024" y="657225"/>
                </a:lnTo>
                <a:lnTo>
                  <a:pt x="88900" y="647700"/>
                </a:lnTo>
                <a:lnTo>
                  <a:pt x="92076" y="644525"/>
                </a:lnTo>
                <a:lnTo>
                  <a:pt x="85724" y="641350"/>
                </a:lnTo>
                <a:lnTo>
                  <a:pt x="53976" y="650875"/>
                </a:lnTo>
                <a:lnTo>
                  <a:pt x="41276" y="657225"/>
                </a:lnTo>
                <a:lnTo>
                  <a:pt x="28576" y="657225"/>
                </a:lnTo>
                <a:lnTo>
                  <a:pt x="34924" y="647700"/>
                </a:lnTo>
                <a:lnTo>
                  <a:pt x="50800" y="635000"/>
                </a:lnTo>
                <a:lnTo>
                  <a:pt x="57150" y="628650"/>
                </a:lnTo>
                <a:lnTo>
                  <a:pt x="63500" y="628650"/>
                </a:lnTo>
                <a:lnTo>
                  <a:pt x="66676" y="619125"/>
                </a:lnTo>
                <a:lnTo>
                  <a:pt x="82550" y="612775"/>
                </a:lnTo>
                <a:lnTo>
                  <a:pt x="34924" y="628650"/>
                </a:lnTo>
                <a:lnTo>
                  <a:pt x="19050" y="625475"/>
                </a:lnTo>
                <a:lnTo>
                  <a:pt x="15876" y="622300"/>
                </a:lnTo>
                <a:lnTo>
                  <a:pt x="6350" y="625475"/>
                </a:lnTo>
                <a:lnTo>
                  <a:pt x="3176" y="612775"/>
                </a:lnTo>
                <a:lnTo>
                  <a:pt x="19050" y="593725"/>
                </a:lnTo>
                <a:lnTo>
                  <a:pt x="25400" y="587375"/>
                </a:lnTo>
                <a:lnTo>
                  <a:pt x="38100" y="584200"/>
                </a:lnTo>
                <a:lnTo>
                  <a:pt x="47624" y="577850"/>
                </a:lnTo>
                <a:lnTo>
                  <a:pt x="50800" y="568325"/>
                </a:lnTo>
                <a:lnTo>
                  <a:pt x="47624" y="568325"/>
                </a:lnTo>
                <a:lnTo>
                  <a:pt x="15876" y="568325"/>
                </a:lnTo>
                <a:lnTo>
                  <a:pt x="0" y="568325"/>
                </a:lnTo>
                <a:lnTo>
                  <a:pt x="3176" y="561975"/>
                </a:lnTo>
                <a:lnTo>
                  <a:pt x="6350" y="555625"/>
                </a:lnTo>
                <a:lnTo>
                  <a:pt x="19050" y="546100"/>
                </a:lnTo>
                <a:lnTo>
                  <a:pt x="28576" y="542925"/>
                </a:lnTo>
                <a:lnTo>
                  <a:pt x="34924" y="542925"/>
                </a:lnTo>
                <a:lnTo>
                  <a:pt x="41276" y="546100"/>
                </a:lnTo>
                <a:lnTo>
                  <a:pt x="47624" y="549275"/>
                </a:lnTo>
                <a:lnTo>
                  <a:pt x="66676" y="549275"/>
                </a:lnTo>
                <a:lnTo>
                  <a:pt x="60324" y="539750"/>
                </a:lnTo>
                <a:lnTo>
                  <a:pt x="57150" y="527050"/>
                </a:lnTo>
                <a:lnTo>
                  <a:pt x="50800" y="520700"/>
                </a:lnTo>
                <a:lnTo>
                  <a:pt x="60324" y="514350"/>
                </a:lnTo>
                <a:lnTo>
                  <a:pt x="66676" y="511175"/>
                </a:lnTo>
                <a:lnTo>
                  <a:pt x="79376" y="498475"/>
                </a:lnTo>
                <a:lnTo>
                  <a:pt x="85724" y="495300"/>
                </a:lnTo>
                <a:lnTo>
                  <a:pt x="111124" y="492125"/>
                </a:lnTo>
                <a:lnTo>
                  <a:pt x="139700" y="485775"/>
                </a:lnTo>
                <a:lnTo>
                  <a:pt x="168276" y="473075"/>
                </a:lnTo>
                <a:lnTo>
                  <a:pt x="155576" y="469900"/>
                </a:lnTo>
                <a:lnTo>
                  <a:pt x="146050" y="460375"/>
                </a:lnTo>
                <a:lnTo>
                  <a:pt x="136524" y="476250"/>
                </a:lnTo>
                <a:lnTo>
                  <a:pt x="127000" y="482600"/>
                </a:lnTo>
                <a:lnTo>
                  <a:pt x="104776" y="485775"/>
                </a:lnTo>
                <a:lnTo>
                  <a:pt x="98424" y="482600"/>
                </a:lnTo>
                <a:lnTo>
                  <a:pt x="88900" y="479425"/>
                </a:lnTo>
                <a:lnTo>
                  <a:pt x="85724" y="479425"/>
                </a:lnTo>
                <a:lnTo>
                  <a:pt x="82550" y="485775"/>
                </a:lnTo>
                <a:lnTo>
                  <a:pt x="66676" y="492125"/>
                </a:lnTo>
                <a:lnTo>
                  <a:pt x="50800" y="492125"/>
                </a:lnTo>
                <a:lnTo>
                  <a:pt x="69850" y="479425"/>
                </a:lnTo>
                <a:lnTo>
                  <a:pt x="92076" y="457200"/>
                </a:lnTo>
                <a:lnTo>
                  <a:pt x="98424" y="450850"/>
                </a:lnTo>
                <a:lnTo>
                  <a:pt x="104776" y="438150"/>
                </a:lnTo>
                <a:lnTo>
                  <a:pt x="101600" y="431800"/>
                </a:lnTo>
                <a:lnTo>
                  <a:pt x="98424" y="428625"/>
                </a:lnTo>
                <a:lnTo>
                  <a:pt x="114300" y="403225"/>
                </a:lnTo>
                <a:lnTo>
                  <a:pt x="120650" y="396875"/>
                </a:lnTo>
                <a:lnTo>
                  <a:pt x="133350" y="396875"/>
                </a:lnTo>
                <a:lnTo>
                  <a:pt x="139700" y="393700"/>
                </a:lnTo>
                <a:lnTo>
                  <a:pt x="142876" y="393700"/>
                </a:lnTo>
                <a:lnTo>
                  <a:pt x="146050" y="390525"/>
                </a:lnTo>
                <a:lnTo>
                  <a:pt x="152400" y="384175"/>
                </a:lnTo>
                <a:lnTo>
                  <a:pt x="142876" y="377825"/>
                </a:lnTo>
                <a:lnTo>
                  <a:pt x="130176" y="374650"/>
                </a:lnTo>
                <a:lnTo>
                  <a:pt x="98424" y="377825"/>
                </a:lnTo>
                <a:lnTo>
                  <a:pt x="92076" y="377825"/>
                </a:lnTo>
                <a:lnTo>
                  <a:pt x="88900" y="374650"/>
                </a:lnTo>
                <a:lnTo>
                  <a:pt x="85724" y="371475"/>
                </a:lnTo>
                <a:lnTo>
                  <a:pt x="82550" y="361950"/>
                </a:lnTo>
                <a:lnTo>
                  <a:pt x="79376" y="361950"/>
                </a:lnTo>
                <a:lnTo>
                  <a:pt x="73024" y="361950"/>
                </a:lnTo>
                <a:lnTo>
                  <a:pt x="66676" y="365125"/>
                </a:lnTo>
                <a:lnTo>
                  <a:pt x="60324" y="365125"/>
                </a:lnTo>
                <a:lnTo>
                  <a:pt x="53976" y="358775"/>
                </a:lnTo>
                <a:lnTo>
                  <a:pt x="63500" y="352425"/>
                </a:lnTo>
                <a:lnTo>
                  <a:pt x="53976" y="349250"/>
                </a:lnTo>
                <a:lnTo>
                  <a:pt x="41276" y="349250"/>
                </a:lnTo>
                <a:lnTo>
                  <a:pt x="31750" y="346075"/>
                </a:lnTo>
                <a:lnTo>
                  <a:pt x="31750" y="342900"/>
                </a:lnTo>
                <a:lnTo>
                  <a:pt x="38100" y="336550"/>
                </a:lnTo>
                <a:lnTo>
                  <a:pt x="31750" y="330200"/>
                </a:lnTo>
                <a:lnTo>
                  <a:pt x="28576" y="323850"/>
                </a:lnTo>
                <a:lnTo>
                  <a:pt x="34924" y="320675"/>
                </a:lnTo>
                <a:lnTo>
                  <a:pt x="41276" y="320675"/>
                </a:lnTo>
                <a:lnTo>
                  <a:pt x="53976" y="317500"/>
                </a:lnTo>
                <a:lnTo>
                  <a:pt x="69850" y="314325"/>
                </a:lnTo>
                <a:lnTo>
                  <a:pt x="57150" y="307975"/>
                </a:lnTo>
                <a:lnTo>
                  <a:pt x="50800" y="304800"/>
                </a:lnTo>
                <a:lnTo>
                  <a:pt x="50800" y="298450"/>
                </a:lnTo>
                <a:lnTo>
                  <a:pt x="50800" y="292100"/>
                </a:lnTo>
                <a:lnTo>
                  <a:pt x="69850" y="282575"/>
                </a:lnTo>
                <a:lnTo>
                  <a:pt x="85724" y="279400"/>
                </a:lnTo>
                <a:lnTo>
                  <a:pt x="85724" y="273050"/>
                </a:lnTo>
                <a:lnTo>
                  <a:pt x="85724" y="266700"/>
                </a:lnTo>
                <a:lnTo>
                  <a:pt x="69850" y="263525"/>
                </a:lnTo>
                <a:lnTo>
                  <a:pt x="50800" y="269875"/>
                </a:lnTo>
                <a:lnTo>
                  <a:pt x="53976" y="254000"/>
                </a:lnTo>
                <a:lnTo>
                  <a:pt x="57150" y="244475"/>
                </a:lnTo>
                <a:lnTo>
                  <a:pt x="57150" y="234950"/>
                </a:lnTo>
                <a:lnTo>
                  <a:pt x="57150" y="228600"/>
                </a:lnTo>
                <a:lnTo>
                  <a:pt x="47624" y="231775"/>
                </a:lnTo>
                <a:lnTo>
                  <a:pt x="47624" y="219075"/>
                </a:lnTo>
                <a:lnTo>
                  <a:pt x="44450" y="212725"/>
                </a:lnTo>
                <a:lnTo>
                  <a:pt x="31750" y="215900"/>
                </a:lnTo>
                <a:lnTo>
                  <a:pt x="31750" y="206375"/>
                </a:lnTo>
                <a:lnTo>
                  <a:pt x="34924" y="200025"/>
                </a:lnTo>
                <a:lnTo>
                  <a:pt x="41276" y="196850"/>
                </a:lnTo>
                <a:lnTo>
                  <a:pt x="47624" y="196850"/>
                </a:lnTo>
                <a:lnTo>
                  <a:pt x="60324" y="196850"/>
                </a:lnTo>
                <a:lnTo>
                  <a:pt x="69850" y="190500"/>
                </a:lnTo>
                <a:lnTo>
                  <a:pt x="88900" y="190500"/>
                </a:lnTo>
                <a:lnTo>
                  <a:pt x="114300" y="190500"/>
                </a:lnTo>
                <a:lnTo>
                  <a:pt x="130176" y="206375"/>
                </a:lnTo>
                <a:lnTo>
                  <a:pt x="136524" y="203200"/>
                </a:lnTo>
                <a:lnTo>
                  <a:pt x="142876" y="193675"/>
                </a:lnTo>
                <a:lnTo>
                  <a:pt x="146050" y="193675"/>
                </a:lnTo>
                <a:lnTo>
                  <a:pt x="171450" y="196850"/>
                </a:lnTo>
                <a:lnTo>
                  <a:pt x="190500" y="203200"/>
                </a:lnTo>
                <a:lnTo>
                  <a:pt x="193676" y="200025"/>
                </a:lnTo>
                <a:lnTo>
                  <a:pt x="190500" y="190500"/>
                </a:lnTo>
                <a:lnTo>
                  <a:pt x="184150" y="184150"/>
                </a:lnTo>
                <a:lnTo>
                  <a:pt x="193676" y="171450"/>
                </a:lnTo>
                <a:lnTo>
                  <a:pt x="200024" y="165100"/>
                </a:lnTo>
                <a:lnTo>
                  <a:pt x="206376" y="161925"/>
                </a:lnTo>
                <a:lnTo>
                  <a:pt x="219076" y="158750"/>
                </a:lnTo>
                <a:lnTo>
                  <a:pt x="225424" y="155575"/>
                </a:lnTo>
                <a:lnTo>
                  <a:pt x="231776" y="139700"/>
                </a:lnTo>
                <a:lnTo>
                  <a:pt x="234950" y="130175"/>
                </a:lnTo>
                <a:lnTo>
                  <a:pt x="203200" y="136525"/>
                </a:lnTo>
                <a:lnTo>
                  <a:pt x="171450" y="123825"/>
                </a:lnTo>
                <a:lnTo>
                  <a:pt x="174624" y="114300"/>
                </a:lnTo>
                <a:lnTo>
                  <a:pt x="184150" y="107950"/>
                </a:lnTo>
                <a:lnTo>
                  <a:pt x="193676" y="104775"/>
                </a:lnTo>
                <a:lnTo>
                  <a:pt x="196850" y="98425"/>
                </a:lnTo>
                <a:lnTo>
                  <a:pt x="200024" y="95250"/>
                </a:lnTo>
                <a:lnTo>
                  <a:pt x="209550" y="85725"/>
                </a:lnTo>
                <a:lnTo>
                  <a:pt x="206376" y="73025"/>
                </a:lnTo>
                <a:lnTo>
                  <a:pt x="209550" y="60325"/>
                </a:lnTo>
                <a:lnTo>
                  <a:pt x="215900" y="53975"/>
                </a:lnTo>
                <a:lnTo>
                  <a:pt x="219076" y="44450"/>
                </a:lnTo>
                <a:lnTo>
                  <a:pt x="222250" y="38100"/>
                </a:lnTo>
                <a:lnTo>
                  <a:pt x="234950" y="34925"/>
                </a:lnTo>
                <a:lnTo>
                  <a:pt x="250824" y="28575"/>
                </a:lnTo>
                <a:lnTo>
                  <a:pt x="254000" y="31750"/>
                </a:lnTo>
                <a:lnTo>
                  <a:pt x="269876" y="28575"/>
                </a:lnTo>
                <a:lnTo>
                  <a:pt x="276224" y="31750"/>
                </a:lnTo>
                <a:lnTo>
                  <a:pt x="276224" y="19050"/>
                </a:lnTo>
                <a:lnTo>
                  <a:pt x="285750" y="19050"/>
                </a:lnTo>
                <a:lnTo>
                  <a:pt x="288924" y="22225"/>
                </a:lnTo>
                <a:lnTo>
                  <a:pt x="288924" y="28575"/>
                </a:lnTo>
                <a:lnTo>
                  <a:pt x="295276" y="34925"/>
                </a:lnTo>
                <a:lnTo>
                  <a:pt x="295276" y="44450"/>
                </a:lnTo>
                <a:lnTo>
                  <a:pt x="292100" y="50800"/>
                </a:lnTo>
                <a:lnTo>
                  <a:pt x="288924" y="53975"/>
                </a:lnTo>
                <a:lnTo>
                  <a:pt x="292100" y="60325"/>
                </a:lnTo>
                <a:lnTo>
                  <a:pt x="285750" y="69850"/>
                </a:lnTo>
                <a:lnTo>
                  <a:pt x="295276" y="66675"/>
                </a:lnTo>
                <a:lnTo>
                  <a:pt x="304800" y="57150"/>
                </a:lnTo>
                <a:lnTo>
                  <a:pt x="304800" y="47625"/>
                </a:lnTo>
                <a:lnTo>
                  <a:pt x="301624" y="38100"/>
                </a:lnTo>
                <a:lnTo>
                  <a:pt x="298450" y="28575"/>
                </a:lnTo>
                <a:lnTo>
                  <a:pt x="301624" y="19050"/>
                </a:lnTo>
                <a:lnTo>
                  <a:pt x="307976" y="12700"/>
                </a:lnTo>
                <a:lnTo>
                  <a:pt x="323850" y="9525"/>
                </a:lnTo>
                <a:close/>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01" name="CustomShape 26"/>
          <p:cNvSpPr/>
          <p:nvPr/>
        </p:nvSpPr>
        <p:spPr>
          <a:xfrm>
            <a:off x="3084840" y="5064480"/>
            <a:ext cx="783720" cy="925200"/>
          </a:xfrm>
          <a:custGeom>
            <a:avLst/>
            <a:gdLst/>
            <a:ahLst/>
            <a:cxnLst/>
            <a:rect l="l" t="t" r="r" b="b"/>
            <a:pathLst>
              <a:path w="1853634" h="2187196">
                <a:moveTo>
                  <a:pt x="829132" y="2158604"/>
                </a:moveTo>
                <a:lnTo>
                  <a:pt x="833898" y="2158604"/>
                </a:lnTo>
                <a:lnTo>
                  <a:pt x="843428" y="2158604"/>
                </a:lnTo>
                <a:lnTo>
                  <a:pt x="848192" y="2168132"/>
                </a:lnTo>
                <a:lnTo>
                  <a:pt x="848192" y="2172900"/>
                </a:lnTo>
                <a:lnTo>
                  <a:pt x="843428" y="2177664"/>
                </a:lnTo>
                <a:lnTo>
                  <a:pt x="829132" y="2168132"/>
                </a:lnTo>
                <a:close/>
                <a:moveTo>
                  <a:pt x="1396182" y="1867932"/>
                </a:moveTo>
                <a:lnTo>
                  <a:pt x="1410476" y="1877460"/>
                </a:lnTo>
                <a:lnTo>
                  <a:pt x="1400946" y="1886992"/>
                </a:lnTo>
                <a:lnTo>
                  <a:pt x="1386652" y="1906052"/>
                </a:lnTo>
                <a:lnTo>
                  <a:pt x="1381886" y="1915584"/>
                </a:lnTo>
                <a:lnTo>
                  <a:pt x="1343766" y="1972764"/>
                </a:lnTo>
                <a:lnTo>
                  <a:pt x="1343766" y="1982292"/>
                </a:lnTo>
                <a:lnTo>
                  <a:pt x="1339000" y="1996588"/>
                </a:lnTo>
                <a:lnTo>
                  <a:pt x="1334236" y="2010884"/>
                </a:lnTo>
                <a:lnTo>
                  <a:pt x="1329470" y="2020416"/>
                </a:lnTo>
                <a:lnTo>
                  <a:pt x="1324704" y="2034712"/>
                </a:lnTo>
                <a:lnTo>
                  <a:pt x="1324704" y="2053772"/>
                </a:lnTo>
                <a:lnTo>
                  <a:pt x="1329470" y="2058536"/>
                </a:lnTo>
                <a:lnTo>
                  <a:pt x="1334236" y="2063300"/>
                </a:lnTo>
                <a:lnTo>
                  <a:pt x="1339000" y="2068068"/>
                </a:lnTo>
                <a:lnTo>
                  <a:pt x="1343766" y="2077596"/>
                </a:lnTo>
                <a:lnTo>
                  <a:pt x="1334236" y="2087128"/>
                </a:lnTo>
                <a:lnTo>
                  <a:pt x="1348530" y="2096656"/>
                </a:lnTo>
                <a:lnTo>
                  <a:pt x="1353296" y="2106188"/>
                </a:lnTo>
                <a:lnTo>
                  <a:pt x="1353296" y="2115716"/>
                </a:lnTo>
                <a:lnTo>
                  <a:pt x="1353296" y="2125248"/>
                </a:lnTo>
                <a:lnTo>
                  <a:pt x="1339000" y="2139544"/>
                </a:lnTo>
                <a:lnTo>
                  <a:pt x="1329470" y="2149072"/>
                </a:lnTo>
                <a:lnTo>
                  <a:pt x="1329470" y="2158604"/>
                </a:lnTo>
                <a:lnTo>
                  <a:pt x="1324704" y="2168132"/>
                </a:lnTo>
                <a:lnTo>
                  <a:pt x="1329470" y="2177664"/>
                </a:lnTo>
                <a:lnTo>
                  <a:pt x="1324704" y="2187196"/>
                </a:lnTo>
                <a:lnTo>
                  <a:pt x="1310410" y="2187196"/>
                </a:lnTo>
                <a:lnTo>
                  <a:pt x="1291348" y="2177664"/>
                </a:lnTo>
                <a:lnTo>
                  <a:pt x="1272288" y="2182428"/>
                </a:lnTo>
                <a:lnTo>
                  <a:pt x="1248462" y="2172900"/>
                </a:lnTo>
                <a:lnTo>
                  <a:pt x="1238932" y="2168132"/>
                </a:lnTo>
                <a:lnTo>
                  <a:pt x="1229402" y="2163368"/>
                </a:lnTo>
                <a:lnTo>
                  <a:pt x="1210342" y="2130012"/>
                </a:lnTo>
                <a:lnTo>
                  <a:pt x="1191282" y="2115716"/>
                </a:lnTo>
                <a:lnTo>
                  <a:pt x="1176986" y="2106188"/>
                </a:lnTo>
                <a:lnTo>
                  <a:pt x="1157926" y="2106188"/>
                </a:lnTo>
                <a:lnTo>
                  <a:pt x="1138864" y="2106188"/>
                </a:lnTo>
                <a:lnTo>
                  <a:pt x="1119804" y="2101420"/>
                </a:lnTo>
                <a:lnTo>
                  <a:pt x="1086448" y="2077596"/>
                </a:lnTo>
                <a:lnTo>
                  <a:pt x="1053092" y="2058536"/>
                </a:lnTo>
                <a:lnTo>
                  <a:pt x="1038798" y="2044240"/>
                </a:lnTo>
                <a:lnTo>
                  <a:pt x="1029268" y="2039476"/>
                </a:lnTo>
                <a:lnTo>
                  <a:pt x="1024502" y="2029944"/>
                </a:lnTo>
                <a:lnTo>
                  <a:pt x="1000676" y="2025180"/>
                </a:lnTo>
                <a:lnTo>
                  <a:pt x="986380" y="2015648"/>
                </a:lnTo>
                <a:lnTo>
                  <a:pt x="976850" y="2010884"/>
                </a:lnTo>
                <a:lnTo>
                  <a:pt x="957790" y="2015648"/>
                </a:lnTo>
                <a:lnTo>
                  <a:pt x="948260" y="2015648"/>
                </a:lnTo>
                <a:lnTo>
                  <a:pt x="938730" y="2010884"/>
                </a:lnTo>
                <a:lnTo>
                  <a:pt x="924434" y="1996588"/>
                </a:lnTo>
                <a:lnTo>
                  <a:pt x="910140" y="1972764"/>
                </a:lnTo>
                <a:lnTo>
                  <a:pt x="910140" y="1963232"/>
                </a:lnTo>
                <a:lnTo>
                  <a:pt x="914904" y="1939408"/>
                </a:lnTo>
                <a:lnTo>
                  <a:pt x="924434" y="1920348"/>
                </a:lnTo>
                <a:lnTo>
                  <a:pt x="933964" y="1910816"/>
                </a:lnTo>
                <a:lnTo>
                  <a:pt x="943494" y="1906052"/>
                </a:lnTo>
                <a:lnTo>
                  <a:pt x="948260" y="1901288"/>
                </a:lnTo>
                <a:lnTo>
                  <a:pt x="957790" y="1891756"/>
                </a:lnTo>
                <a:lnTo>
                  <a:pt x="972086" y="1915584"/>
                </a:lnTo>
                <a:lnTo>
                  <a:pt x="981616" y="1920348"/>
                </a:lnTo>
                <a:lnTo>
                  <a:pt x="991146" y="1920348"/>
                </a:lnTo>
                <a:lnTo>
                  <a:pt x="1005442" y="1910816"/>
                </a:lnTo>
                <a:lnTo>
                  <a:pt x="1005442" y="1901288"/>
                </a:lnTo>
                <a:lnTo>
                  <a:pt x="1019736" y="1891756"/>
                </a:lnTo>
                <a:lnTo>
                  <a:pt x="1043562" y="1891756"/>
                </a:lnTo>
                <a:lnTo>
                  <a:pt x="1053092" y="1891756"/>
                </a:lnTo>
                <a:lnTo>
                  <a:pt x="1057858" y="1906052"/>
                </a:lnTo>
                <a:lnTo>
                  <a:pt x="1062622" y="1906052"/>
                </a:lnTo>
                <a:lnTo>
                  <a:pt x="1072154" y="1910816"/>
                </a:lnTo>
                <a:lnTo>
                  <a:pt x="1100744" y="1929876"/>
                </a:lnTo>
                <a:lnTo>
                  <a:pt x="1110274" y="1929876"/>
                </a:lnTo>
                <a:lnTo>
                  <a:pt x="1119804" y="1934644"/>
                </a:lnTo>
                <a:lnTo>
                  <a:pt x="1143630" y="1925112"/>
                </a:lnTo>
                <a:lnTo>
                  <a:pt x="1162690" y="1920348"/>
                </a:lnTo>
                <a:lnTo>
                  <a:pt x="1196046" y="1925112"/>
                </a:lnTo>
                <a:lnTo>
                  <a:pt x="1219872" y="1920348"/>
                </a:lnTo>
                <a:lnTo>
                  <a:pt x="1234168" y="1920348"/>
                </a:lnTo>
                <a:lnTo>
                  <a:pt x="1253228" y="1910816"/>
                </a:lnTo>
                <a:lnTo>
                  <a:pt x="1267524" y="1901288"/>
                </a:lnTo>
                <a:lnTo>
                  <a:pt x="1277054" y="1896520"/>
                </a:lnTo>
                <a:lnTo>
                  <a:pt x="1286584" y="1896520"/>
                </a:lnTo>
                <a:lnTo>
                  <a:pt x="1305644" y="1896520"/>
                </a:lnTo>
                <a:lnTo>
                  <a:pt x="1329470" y="1901288"/>
                </a:lnTo>
                <a:lnTo>
                  <a:pt x="1334236" y="1896520"/>
                </a:lnTo>
                <a:lnTo>
                  <a:pt x="1343766" y="1886992"/>
                </a:lnTo>
                <a:lnTo>
                  <a:pt x="1353296" y="1882228"/>
                </a:lnTo>
                <a:lnTo>
                  <a:pt x="1362826" y="1886992"/>
                </a:lnTo>
                <a:lnTo>
                  <a:pt x="1386652" y="1872696"/>
                </a:lnTo>
                <a:close/>
                <a:moveTo>
                  <a:pt x="271612" y="1705916"/>
                </a:moveTo>
                <a:lnTo>
                  <a:pt x="285908" y="1710680"/>
                </a:lnTo>
                <a:lnTo>
                  <a:pt x="290672" y="1715448"/>
                </a:lnTo>
                <a:lnTo>
                  <a:pt x="281142" y="1734508"/>
                </a:lnTo>
                <a:lnTo>
                  <a:pt x="271612" y="1720212"/>
                </a:lnTo>
                <a:lnTo>
                  <a:pt x="271612" y="1710680"/>
                </a:lnTo>
                <a:close/>
                <a:moveTo>
                  <a:pt x="1134100" y="1372356"/>
                </a:moveTo>
                <a:lnTo>
                  <a:pt x="1148396" y="1377124"/>
                </a:lnTo>
                <a:lnTo>
                  <a:pt x="1148396" y="1381888"/>
                </a:lnTo>
                <a:lnTo>
                  <a:pt x="1143630" y="1381888"/>
                </a:lnTo>
                <a:lnTo>
                  <a:pt x="1134100" y="1381888"/>
                </a:lnTo>
                <a:lnTo>
                  <a:pt x="1129336" y="1377124"/>
                </a:lnTo>
                <a:close/>
                <a:moveTo>
                  <a:pt x="266848" y="1296116"/>
                </a:moveTo>
                <a:lnTo>
                  <a:pt x="271612" y="1300882"/>
                </a:lnTo>
                <a:lnTo>
                  <a:pt x="266848" y="1310412"/>
                </a:lnTo>
                <a:lnTo>
                  <a:pt x="262082" y="1315176"/>
                </a:lnTo>
                <a:lnTo>
                  <a:pt x="257318" y="1324708"/>
                </a:lnTo>
                <a:lnTo>
                  <a:pt x="247788" y="1319942"/>
                </a:lnTo>
                <a:lnTo>
                  <a:pt x="252552" y="1315176"/>
                </a:lnTo>
                <a:lnTo>
                  <a:pt x="257318" y="1300882"/>
                </a:lnTo>
                <a:close/>
                <a:moveTo>
                  <a:pt x="409800" y="1267524"/>
                </a:moveTo>
                <a:lnTo>
                  <a:pt x="414566" y="1281820"/>
                </a:lnTo>
                <a:lnTo>
                  <a:pt x="428862" y="1281820"/>
                </a:lnTo>
                <a:lnTo>
                  <a:pt x="443156" y="1291352"/>
                </a:lnTo>
                <a:lnTo>
                  <a:pt x="447922" y="1300880"/>
                </a:lnTo>
                <a:lnTo>
                  <a:pt x="457452" y="1310412"/>
                </a:lnTo>
                <a:lnTo>
                  <a:pt x="462218" y="1315176"/>
                </a:lnTo>
                <a:lnTo>
                  <a:pt x="466982" y="1319940"/>
                </a:lnTo>
                <a:lnTo>
                  <a:pt x="462218" y="1324708"/>
                </a:lnTo>
                <a:lnTo>
                  <a:pt x="457452" y="1334236"/>
                </a:lnTo>
                <a:lnTo>
                  <a:pt x="462218" y="1339000"/>
                </a:lnTo>
                <a:lnTo>
                  <a:pt x="471748" y="1343768"/>
                </a:lnTo>
                <a:lnTo>
                  <a:pt x="476512" y="1358064"/>
                </a:lnTo>
                <a:lnTo>
                  <a:pt x="495572" y="1415244"/>
                </a:lnTo>
                <a:lnTo>
                  <a:pt x="495572" y="1424776"/>
                </a:lnTo>
                <a:lnTo>
                  <a:pt x="495572" y="1439068"/>
                </a:lnTo>
                <a:lnTo>
                  <a:pt x="490808" y="1443836"/>
                </a:lnTo>
                <a:lnTo>
                  <a:pt x="471748" y="1472424"/>
                </a:lnTo>
                <a:lnTo>
                  <a:pt x="476512" y="1496252"/>
                </a:lnTo>
                <a:lnTo>
                  <a:pt x="481278" y="1510548"/>
                </a:lnTo>
                <a:lnTo>
                  <a:pt x="481278" y="1524840"/>
                </a:lnTo>
                <a:lnTo>
                  <a:pt x="476512" y="1543904"/>
                </a:lnTo>
                <a:lnTo>
                  <a:pt x="466982" y="1658264"/>
                </a:lnTo>
                <a:lnTo>
                  <a:pt x="462218" y="1677328"/>
                </a:lnTo>
                <a:lnTo>
                  <a:pt x="457452" y="1696388"/>
                </a:lnTo>
                <a:lnTo>
                  <a:pt x="447922" y="1701152"/>
                </a:lnTo>
                <a:lnTo>
                  <a:pt x="433626" y="1696388"/>
                </a:lnTo>
                <a:lnTo>
                  <a:pt x="414566" y="1686856"/>
                </a:lnTo>
                <a:lnTo>
                  <a:pt x="405036" y="1686856"/>
                </a:lnTo>
                <a:lnTo>
                  <a:pt x="395506" y="1691620"/>
                </a:lnTo>
                <a:lnTo>
                  <a:pt x="385974" y="1686856"/>
                </a:lnTo>
                <a:lnTo>
                  <a:pt x="381210" y="1682092"/>
                </a:lnTo>
                <a:lnTo>
                  <a:pt x="376444" y="1720212"/>
                </a:lnTo>
                <a:lnTo>
                  <a:pt x="366914" y="1734508"/>
                </a:lnTo>
                <a:lnTo>
                  <a:pt x="352620" y="1748804"/>
                </a:lnTo>
                <a:lnTo>
                  <a:pt x="338324" y="1748804"/>
                </a:lnTo>
                <a:lnTo>
                  <a:pt x="328794" y="1744036"/>
                </a:lnTo>
                <a:lnTo>
                  <a:pt x="319264" y="1744036"/>
                </a:lnTo>
                <a:lnTo>
                  <a:pt x="309732" y="1734508"/>
                </a:lnTo>
                <a:lnTo>
                  <a:pt x="300202" y="1724976"/>
                </a:lnTo>
                <a:lnTo>
                  <a:pt x="290672" y="1705916"/>
                </a:lnTo>
                <a:lnTo>
                  <a:pt x="281142" y="1686856"/>
                </a:lnTo>
                <a:lnTo>
                  <a:pt x="281142" y="1672560"/>
                </a:lnTo>
                <a:lnTo>
                  <a:pt x="276376" y="1634440"/>
                </a:lnTo>
                <a:lnTo>
                  <a:pt x="281142" y="1624908"/>
                </a:lnTo>
                <a:lnTo>
                  <a:pt x="285908" y="1615380"/>
                </a:lnTo>
                <a:lnTo>
                  <a:pt x="285908" y="1596320"/>
                </a:lnTo>
                <a:lnTo>
                  <a:pt x="285908" y="1582024"/>
                </a:lnTo>
                <a:lnTo>
                  <a:pt x="290672" y="1577260"/>
                </a:lnTo>
                <a:lnTo>
                  <a:pt x="295438" y="1582024"/>
                </a:lnTo>
                <a:lnTo>
                  <a:pt x="300202" y="1582024"/>
                </a:lnTo>
                <a:lnTo>
                  <a:pt x="300202" y="1572492"/>
                </a:lnTo>
                <a:lnTo>
                  <a:pt x="300202" y="1558196"/>
                </a:lnTo>
                <a:lnTo>
                  <a:pt x="295438" y="1548668"/>
                </a:lnTo>
                <a:lnTo>
                  <a:pt x="281142" y="1543904"/>
                </a:lnTo>
                <a:lnTo>
                  <a:pt x="276376" y="1529608"/>
                </a:lnTo>
                <a:lnTo>
                  <a:pt x="281142" y="1520076"/>
                </a:lnTo>
                <a:lnTo>
                  <a:pt x="285908" y="1510548"/>
                </a:lnTo>
                <a:lnTo>
                  <a:pt x="290672" y="1501016"/>
                </a:lnTo>
                <a:lnTo>
                  <a:pt x="290672" y="1467660"/>
                </a:lnTo>
                <a:lnTo>
                  <a:pt x="281142" y="1453364"/>
                </a:lnTo>
                <a:lnTo>
                  <a:pt x="276376" y="1434304"/>
                </a:lnTo>
                <a:lnTo>
                  <a:pt x="271612" y="1424776"/>
                </a:lnTo>
                <a:lnTo>
                  <a:pt x="262082" y="1410480"/>
                </a:lnTo>
                <a:lnTo>
                  <a:pt x="252552" y="1400948"/>
                </a:lnTo>
                <a:lnTo>
                  <a:pt x="243020" y="1391420"/>
                </a:lnTo>
                <a:lnTo>
                  <a:pt x="243020" y="1367592"/>
                </a:lnTo>
                <a:lnTo>
                  <a:pt x="247786" y="1348532"/>
                </a:lnTo>
                <a:lnTo>
                  <a:pt x="252552" y="1339000"/>
                </a:lnTo>
                <a:lnTo>
                  <a:pt x="262082" y="1353296"/>
                </a:lnTo>
                <a:lnTo>
                  <a:pt x="271612" y="1353296"/>
                </a:lnTo>
                <a:lnTo>
                  <a:pt x="290672" y="1358064"/>
                </a:lnTo>
                <a:lnTo>
                  <a:pt x="304968" y="1353296"/>
                </a:lnTo>
                <a:lnTo>
                  <a:pt x="324028" y="1343768"/>
                </a:lnTo>
                <a:lnTo>
                  <a:pt x="343088" y="1334236"/>
                </a:lnTo>
                <a:lnTo>
                  <a:pt x="371680" y="1300880"/>
                </a:lnTo>
                <a:lnTo>
                  <a:pt x="390740" y="1291352"/>
                </a:lnTo>
                <a:lnTo>
                  <a:pt x="395506" y="1281820"/>
                </a:lnTo>
                <a:lnTo>
                  <a:pt x="400270" y="1272292"/>
                </a:lnTo>
                <a:close/>
                <a:moveTo>
                  <a:pt x="590874" y="929200"/>
                </a:moveTo>
                <a:lnTo>
                  <a:pt x="595640" y="938732"/>
                </a:lnTo>
                <a:lnTo>
                  <a:pt x="595640" y="943496"/>
                </a:lnTo>
                <a:lnTo>
                  <a:pt x="590874" y="948260"/>
                </a:lnTo>
                <a:lnTo>
                  <a:pt x="595640" y="962556"/>
                </a:lnTo>
                <a:lnTo>
                  <a:pt x="581344" y="953028"/>
                </a:lnTo>
                <a:lnTo>
                  <a:pt x="562284" y="957792"/>
                </a:lnTo>
                <a:lnTo>
                  <a:pt x="547990" y="957792"/>
                </a:lnTo>
                <a:lnTo>
                  <a:pt x="543224" y="948260"/>
                </a:lnTo>
                <a:lnTo>
                  <a:pt x="547990" y="943496"/>
                </a:lnTo>
                <a:lnTo>
                  <a:pt x="567050" y="938732"/>
                </a:lnTo>
                <a:lnTo>
                  <a:pt x="571814" y="938732"/>
                </a:lnTo>
                <a:lnTo>
                  <a:pt x="586110" y="938732"/>
                </a:lnTo>
                <a:close/>
                <a:moveTo>
                  <a:pt x="867252" y="0"/>
                </a:moveTo>
                <a:lnTo>
                  <a:pt x="872018" y="0"/>
                </a:lnTo>
                <a:lnTo>
                  <a:pt x="872018" y="4768"/>
                </a:lnTo>
                <a:lnTo>
                  <a:pt x="867252" y="9532"/>
                </a:lnTo>
                <a:lnTo>
                  <a:pt x="862488" y="19060"/>
                </a:lnTo>
                <a:lnTo>
                  <a:pt x="862488" y="33356"/>
                </a:lnTo>
                <a:lnTo>
                  <a:pt x="881548" y="52416"/>
                </a:lnTo>
                <a:lnTo>
                  <a:pt x="891078" y="71476"/>
                </a:lnTo>
                <a:lnTo>
                  <a:pt x="900608" y="85772"/>
                </a:lnTo>
                <a:lnTo>
                  <a:pt x="914904" y="90540"/>
                </a:lnTo>
                <a:lnTo>
                  <a:pt x="933964" y="95304"/>
                </a:lnTo>
                <a:lnTo>
                  <a:pt x="948260" y="100068"/>
                </a:lnTo>
                <a:lnTo>
                  <a:pt x="967320" y="104832"/>
                </a:lnTo>
                <a:lnTo>
                  <a:pt x="1024502" y="114364"/>
                </a:lnTo>
                <a:lnTo>
                  <a:pt x="1053092" y="119128"/>
                </a:lnTo>
                <a:lnTo>
                  <a:pt x="1072154" y="119128"/>
                </a:lnTo>
                <a:lnTo>
                  <a:pt x="1105510" y="128660"/>
                </a:lnTo>
                <a:lnTo>
                  <a:pt x="1100744" y="138188"/>
                </a:lnTo>
                <a:lnTo>
                  <a:pt x="1095980" y="142956"/>
                </a:lnTo>
                <a:lnTo>
                  <a:pt x="1086448" y="152484"/>
                </a:lnTo>
                <a:lnTo>
                  <a:pt x="1072154" y="162016"/>
                </a:lnTo>
                <a:lnTo>
                  <a:pt x="1057858" y="171544"/>
                </a:lnTo>
                <a:lnTo>
                  <a:pt x="1057858" y="185840"/>
                </a:lnTo>
                <a:lnTo>
                  <a:pt x="1057858" y="195372"/>
                </a:lnTo>
                <a:lnTo>
                  <a:pt x="1062624" y="195372"/>
                </a:lnTo>
                <a:lnTo>
                  <a:pt x="1067388" y="195372"/>
                </a:lnTo>
                <a:lnTo>
                  <a:pt x="1072154" y="195372"/>
                </a:lnTo>
                <a:lnTo>
                  <a:pt x="1081684" y="200136"/>
                </a:lnTo>
                <a:lnTo>
                  <a:pt x="1095980" y="204900"/>
                </a:lnTo>
                <a:lnTo>
                  <a:pt x="1095980" y="209668"/>
                </a:lnTo>
                <a:lnTo>
                  <a:pt x="1091214" y="214432"/>
                </a:lnTo>
                <a:lnTo>
                  <a:pt x="1081684" y="223964"/>
                </a:lnTo>
                <a:lnTo>
                  <a:pt x="1072154" y="233492"/>
                </a:lnTo>
                <a:lnTo>
                  <a:pt x="1072154" y="243024"/>
                </a:lnTo>
                <a:lnTo>
                  <a:pt x="1072154" y="247788"/>
                </a:lnTo>
                <a:lnTo>
                  <a:pt x="1076918" y="247788"/>
                </a:lnTo>
                <a:lnTo>
                  <a:pt x="1091214" y="247788"/>
                </a:lnTo>
                <a:lnTo>
                  <a:pt x="1091214" y="252552"/>
                </a:lnTo>
                <a:lnTo>
                  <a:pt x="1086448" y="281144"/>
                </a:lnTo>
                <a:lnTo>
                  <a:pt x="1086448" y="285908"/>
                </a:lnTo>
                <a:lnTo>
                  <a:pt x="1100744" y="290672"/>
                </a:lnTo>
                <a:lnTo>
                  <a:pt x="1110274" y="295440"/>
                </a:lnTo>
                <a:lnTo>
                  <a:pt x="1124570" y="314500"/>
                </a:lnTo>
                <a:lnTo>
                  <a:pt x="1134100" y="328796"/>
                </a:lnTo>
                <a:lnTo>
                  <a:pt x="1129334" y="333560"/>
                </a:lnTo>
                <a:lnTo>
                  <a:pt x="1119804" y="338324"/>
                </a:lnTo>
                <a:lnTo>
                  <a:pt x="1110274" y="338324"/>
                </a:lnTo>
                <a:lnTo>
                  <a:pt x="1119804" y="328796"/>
                </a:lnTo>
                <a:lnTo>
                  <a:pt x="1095980" y="295440"/>
                </a:lnTo>
                <a:lnTo>
                  <a:pt x="1081684" y="295440"/>
                </a:lnTo>
                <a:lnTo>
                  <a:pt x="1067388" y="309736"/>
                </a:lnTo>
                <a:lnTo>
                  <a:pt x="1029268" y="295440"/>
                </a:lnTo>
                <a:lnTo>
                  <a:pt x="1019736" y="300204"/>
                </a:lnTo>
                <a:lnTo>
                  <a:pt x="1014972" y="309736"/>
                </a:lnTo>
                <a:lnTo>
                  <a:pt x="1000676" y="324028"/>
                </a:lnTo>
                <a:lnTo>
                  <a:pt x="981616" y="333560"/>
                </a:lnTo>
                <a:lnTo>
                  <a:pt x="957790" y="347856"/>
                </a:lnTo>
                <a:lnTo>
                  <a:pt x="933964" y="357384"/>
                </a:lnTo>
                <a:lnTo>
                  <a:pt x="919670" y="362152"/>
                </a:lnTo>
                <a:lnTo>
                  <a:pt x="910140" y="362152"/>
                </a:lnTo>
                <a:lnTo>
                  <a:pt x="924434" y="347856"/>
                </a:lnTo>
                <a:lnTo>
                  <a:pt x="919670" y="343092"/>
                </a:lnTo>
                <a:lnTo>
                  <a:pt x="895844" y="357384"/>
                </a:lnTo>
                <a:lnTo>
                  <a:pt x="881548" y="366916"/>
                </a:lnTo>
                <a:lnTo>
                  <a:pt x="881548" y="385976"/>
                </a:lnTo>
                <a:lnTo>
                  <a:pt x="876784" y="414568"/>
                </a:lnTo>
                <a:lnTo>
                  <a:pt x="886314" y="419332"/>
                </a:lnTo>
                <a:lnTo>
                  <a:pt x="900608" y="457452"/>
                </a:lnTo>
                <a:lnTo>
                  <a:pt x="924434" y="471748"/>
                </a:lnTo>
                <a:lnTo>
                  <a:pt x="919670" y="490808"/>
                </a:lnTo>
                <a:lnTo>
                  <a:pt x="914904" y="500340"/>
                </a:lnTo>
                <a:lnTo>
                  <a:pt x="900608" y="509868"/>
                </a:lnTo>
                <a:lnTo>
                  <a:pt x="891078" y="505104"/>
                </a:lnTo>
                <a:lnTo>
                  <a:pt x="886314" y="505104"/>
                </a:lnTo>
                <a:lnTo>
                  <a:pt x="881548" y="528932"/>
                </a:lnTo>
                <a:lnTo>
                  <a:pt x="886314" y="590876"/>
                </a:lnTo>
                <a:lnTo>
                  <a:pt x="900608" y="638528"/>
                </a:lnTo>
                <a:lnTo>
                  <a:pt x="914904" y="657588"/>
                </a:lnTo>
                <a:lnTo>
                  <a:pt x="948260" y="686180"/>
                </a:lnTo>
                <a:lnTo>
                  <a:pt x="981616" y="700476"/>
                </a:lnTo>
                <a:lnTo>
                  <a:pt x="1043562" y="752892"/>
                </a:lnTo>
                <a:lnTo>
                  <a:pt x="1076918" y="771952"/>
                </a:lnTo>
                <a:lnTo>
                  <a:pt x="1086448" y="776716"/>
                </a:lnTo>
                <a:lnTo>
                  <a:pt x="1105510" y="819604"/>
                </a:lnTo>
                <a:lnTo>
                  <a:pt x="1124570" y="862488"/>
                </a:lnTo>
                <a:lnTo>
                  <a:pt x="1138866" y="933968"/>
                </a:lnTo>
                <a:lnTo>
                  <a:pt x="1153160" y="967320"/>
                </a:lnTo>
                <a:lnTo>
                  <a:pt x="1181752" y="1005444"/>
                </a:lnTo>
                <a:lnTo>
                  <a:pt x="1238932" y="1062624"/>
                </a:lnTo>
                <a:lnTo>
                  <a:pt x="1286584" y="1100744"/>
                </a:lnTo>
                <a:lnTo>
                  <a:pt x="1334236" y="1124572"/>
                </a:lnTo>
                <a:lnTo>
                  <a:pt x="1372356" y="1129336"/>
                </a:lnTo>
                <a:lnTo>
                  <a:pt x="1458128" y="1124572"/>
                </a:lnTo>
                <a:lnTo>
                  <a:pt x="1472424" y="1129336"/>
                </a:lnTo>
                <a:lnTo>
                  <a:pt x="1491484" y="1134100"/>
                </a:lnTo>
                <a:lnTo>
                  <a:pt x="1496250" y="1153160"/>
                </a:lnTo>
                <a:lnTo>
                  <a:pt x="1486720" y="1162692"/>
                </a:lnTo>
                <a:lnTo>
                  <a:pt x="1472424" y="1176988"/>
                </a:lnTo>
                <a:lnTo>
                  <a:pt x="1453364" y="1191284"/>
                </a:lnTo>
                <a:lnTo>
                  <a:pt x="1448598" y="1215108"/>
                </a:lnTo>
                <a:lnTo>
                  <a:pt x="1467658" y="1229404"/>
                </a:lnTo>
                <a:lnTo>
                  <a:pt x="1553432" y="1272292"/>
                </a:lnTo>
                <a:lnTo>
                  <a:pt x="1639204" y="1310412"/>
                </a:lnTo>
                <a:lnTo>
                  <a:pt x="1663028" y="1324708"/>
                </a:lnTo>
                <a:lnTo>
                  <a:pt x="1696384" y="1353296"/>
                </a:lnTo>
                <a:lnTo>
                  <a:pt x="1772626" y="1391420"/>
                </a:lnTo>
                <a:lnTo>
                  <a:pt x="1782158" y="1410480"/>
                </a:lnTo>
                <a:lnTo>
                  <a:pt x="1829808" y="1453364"/>
                </a:lnTo>
                <a:lnTo>
                  <a:pt x="1848868" y="1481956"/>
                </a:lnTo>
                <a:lnTo>
                  <a:pt x="1853634" y="1505780"/>
                </a:lnTo>
                <a:lnTo>
                  <a:pt x="1844104" y="1529608"/>
                </a:lnTo>
                <a:lnTo>
                  <a:pt x="1839338" y="1548668"/>
                </a:lnTo>
                <a:lnTo>
                  <a:pt x="1829808" y="1562964"/>
                </a:lnTo>
                <a:lnTo>
                  <a:pt x="1810748" y="1558196"/>
                </a:lnTo>
                <a:lnTo>
                  <a:pt x="1791688" y="1539136"/>
                </a:lnTo>
                <a:lnTo>
                  <a:pt x="1758332" y="1467660"/>
                </a:lnTo>
                <a:lnTo>
                  <a:pt x="1696384" y="1462896"/>
                </a:lnTo>
                <a:lnTo>
                  <a:pt x="1682090" y="1458132"/>
                </a:lnTo>
                <a:lnTo>
                  <a:pt x="1663028" y="1443836"/>
                </a:lnTo>
                <a:lnTo>
                  <a:pt x="1658264" y="1439068"/>
                </a:lnTo>
                <a:lnTo>
                  <a:pt x="1653498" y="1429540"/>
                </a:lnTo>
                <a:lnTo>
                  <a:pt x="1648734" y="1424776"/>
                </a:lnTo>
                <a:lnTo>
                  <a:pt x="1624908" y="1420008"/>
                </a:lnTo>
                <a:lnTo>
                  <a:pt x="1610612" y="1434304"/>
                </a:lnTo>
                <a:lnTo>
                  <a:pt x="1591552" y="1458132"/>
                </a:lnTo>
                <a:lnTo>
                  <a:pt x="1567726" y="1501016"/>
                </a:lnTo>
                <a:lnTo>
                  <a:pt x="1548666" y="1553432"/>
                </a:lnTo>
                <a:lnTo>
                  <a:pt x="1548666" y="1577260"/>
                </a:lnTo>
                <a:lnTo>
                  <a:pt x="1558196" y="1601084"/>
                </a:lnTo>
                <a:lnTo>
                  <a:pt x="1591552" y="1610616"/>
                </a:lnTo>
                <a:lnTo>
                  <a:pt x="1620142" y="1634440"/>
                </a:lnTo>
                <a:lnTo>
                  <a:pt x="1639204" y="1653500"/>
                </a:lnTo>
                <a:lnTo>
                  <a:pt x="1639204" y="1701152"/>
                </a:lnTo>
                <a:lnTo>
                  <a:pt x="1648734" y="1729744"/>
                </a:lnTo>
                <a:lnTo>
                  <a:pt x="1634438" y="1744036"/>
                </a:lnTo>
                <a:lnTo>
                  <a:pt x="1615378" y="1744036"/>
                </a:lnTo>
                <a:lnTo>
                  <a:pt x="1582022" y="1753568"/>
                </a:lnTo>
                <a:lnTo>
                  <a:pt x="1562962" y="1767864"/>
                </a:lnTo>
                <a:lnTo>
                  <a:pt x="1553432" y="1786924"/>
                </a:lnTo>
                <a:lnTo>
                  <a:pt x="1553432" y="1829812"/>
                </a:lnTo>
                <a:lnTo>
                  <a:pt x="1548666" y="1848872"/>
                </a:lnTo>
                <a:lnTo>
                  <a:pt x="1510544" y="1877460"/>
                </a:lnTo>
                <a:lnTo>
                  <a:pt x="1486720" y="1910816"/>
                </a:lnTo>
                <a:lnTo>
                  <a:pt x="1481954" y="1925112"/>
                </a:lnTo>
                <a:lnTo>
                  <a:pt x="1472424" y="1939408"/>
                </a:lnTo>
                <a:lnTo>
                  <a:pt x="1424772" y="1939408"/>
                </a:lnTo>
                <a:lnTo>
                  <a:pt x="1410478" y="1920348"/>
                </a:lnTo>
                <a:lnTo>
                  <a:pt x="1410478" y="1891756"/>
                </a:lnTo>
                <a:lnTo>
                  <a:pt x="1420008" y="1877460"/>
                </a:lnTo>
                <a:lnTo>
                  <a:pt x="1439068" y="1867932"/>
                </a:lnTo>
                <a:lnTo>
                  <a:pt x="1448598" y="1834576"/>
                </a:lnTo>
                <a:lnTo>
                  <a:pt x="1448598" y="1805984"/>
                </a:lnTo>
                <a:lnTo>
                  <a:pt x="1453364" y="1796456"/>
                </a:lnTo>
                <a:lnTo>
                  <a:pt x="1462894" y="1786924"/>
                </a:lnTo>
                <a:lnTo>
                  <a:pt x="1477188" y="1782160"/>
                </a:lnTo>
                <a:lnTo>
                  <a:pt x="1496250" y="1777392"/>
                </a:lnTo>
                <a:lnTo>
                  <a:pt x="1496250" y="1739272"/>
                </a:lnTo>
                <a:lnTo>
                  <a:pt x="1481954" y="1724976"/>
                </a:lnTo>
                <a:lnTo>
                  <a:pt x="1477188" y="1701152"/>
                </a:lnTo>
                <a:lnTo>
                  <a:pt x="1467658" y="1658264"/>
                </a:lnTo>
                <a:lnTo>
                  <a:pt x="1443834" y="1601084"/>
                </a:lnTo>
                <a:lnTo>
                  <a:pt x="1429538" y="1553432"/>
                </a:lnTo>
                <a:lnTo>
                  <a:pt x="1415242" y="1529608"/>
                </a:lnTo>
                <a:lnTo>
                  <a:pt x="1400948" y="1515312"/>
                </a:lnTo>
                <a:lnTo>
                  <a:pt x="1372356" y="1515312"/>
                </a:lnTo>
                <a:lnTo>
                  <a:pt x="1353296" y="1510548"/>
                </a:lnTo>
                <a:lnTo>
                  <a:pt x="1300880" y="1477192"/>
                </a:lnTo>
                <a:lnTo>
                  <a:pt x="1296114" y="1472424"/>
                </a:lnTo>
                <a:lnTo>
                  <a:pt x="1296114" y="1462896"/>
                </a:lnTo>
                <a:lnTo>
                  <a:pt x="1305644" y="1448600"/>
                </a:lnTo>
                <a:lnTo>
                  <a:pt x="1300880" y="1429540"/>
                </a:lnTo>
                <a:lnTo>
                  <a:pt x="1296114" y="1415244"/>
                </a:lnTo>
                <a:lnTo>
                  <a:pt x="1281818" y="1396184"/>
                </a:lnTo>
                <a:lnTo>
                  <a:pt x="1272288" y="1391420"/>
                </a:lnTo>
                <a:lnTo>
                  <a:pt x="1248464" y="1396184"/>
                </a:lnTo>
                <a:lnTo>
                  <a:pt x="1238932" y="1400948"/>
                </a:lnTo>
                <a:lnTo>
                  <a:pt x="1224638" y="1396184"/>
                </a:lnTo>
                <a:lnTo>
                  <a:pt x="1215108" y="1405712"/>
                </a:lnTo>
                <a:lnTo>
                  <a:pt x="1205576" y="1405712"/>
                </a:lnTo>
                <a:lnTo>
                  <a:pt x="1224638" y="1377124"/>
                </a:lnTo>
                <a:lnTo>
                  <a:pt x="1219872" y="1372356"/>
                </a:lnTo>
                <a:lnTo>
                  <a:pt x="1200812" y="1358064"/>
                </a:lnTo>
                <a:lnTo>
                  <a:pt x="1176986" y="1358064"/>
                </a:lnTo>
                <a:lnTo>
                  <a:pt x="1167456" y="1358064"/>
                </a:lnTo>
                <a:lnTo>
                  <a:pt x="1162690" y="1362828"/>
                </a:lnTo>
                <a:lnTo>
                  <a:pt x="1157926" y="1358064"/>
                </a:lnTo>
                <a:lnTo>
                  <a:pt x="1157926" y="1348532"/>
                </a:lnTo>
                <a:lnTo>
                  <a:pt x="1129334" y="1296116"/>
                </a:lnTo>
                <a:lnTo>
                  <a:pt x="1110274" y="1272292"/>
                </a:lnTo>
                <a:lnTo>
                  <a:pt x="1100744" y="1267524"/>
                </a:lnTo>
                <a:lnTo>
                  <a:pt x="1081684" y="1272292"/>
                </a:lnTo>
                <a:lnTo>
                  <a:pt x="1053092" y="1262760"/>
                </a:lnTo>
                <a:lnTo>
                  <a:pt x="1034032" y="1262760"/>
                </a:lnTo>
                <a:lnTo>
                  <a:pt x="1024502" y="1262760"/>
                </a:lnTo>
                <a:lnTo>
                  <a:pt x="1010206" y="1272292"/>
                </a:lnTo>
                <a:lnTo>
                  <a:pt x="1000676" y="1267524"/>
                </a:lnTo>
                <a:lnTo>
                  <a:pt x="1000676" y="1257996"/>
                </a:lnTo>
                <a:lnTo>
                  <a:pt x="972086" y="1238936"/>
                </a:lnTo>
                <a:lnTo>
                  <a:pt x="938730" y="1224640"/>
                </a:lnTo>
                <a:lnTo>
                  <a:pt x="872018" y="1153160"/>
                </a:lnTo>
                <a:lnTo>
                  <a:pt x="852958" y="1124572"/>
                </a:lnTo>
                <a:lnTo>
                  <a:pt x="810072" y="1095980"/>
                </a:lnTo>
                <a:lnTo>
                  <a:pt x="786246" y="1053096"/>
                </a:lnTo>
                <a:lnTo>
                  <a:pt x="762420" y="1038800"/>
                </a:lnTo>
                <a:lnTo>
                  <a:pt x="729064" y="1024504"/>
                </a:lnTo>
                <a:lnTo>
                  <a:pt x="724300" y="1024504"/>
                </a:lnTo>
                <a:lnTo>
                  <a:pt x="714768" y="1029268"/>
                </a:lnTo>
                <a:lnTo>
                  <a:pt x="705238" y="1029268"/>
                </a:lnTo>
                <a:lnTo>
                  <a:pt x="700474" y="1024504"/>
                </a:lnTo>
                <a:lnTo>
                  <a:pt x="705238" y="1019740"/>
                </a:lnTo>
                <a:lnTo>
                  <a:pt x="714768" y="1014972"/>
                </a:lnTo>
                <a:lnTo>
                  <a:pt x="710004" y="1000676"/>
                </a:lnTo>
                <a:lnTo>
                  <a:pt x="676648" y="957792"/>
                </a:lnTo>
                <a:lnTo>
                  <a:pt x="652822" y="943496"/>
                </a:lnTo>
                <a:lnTo>
                  <a:pt x="648058" y="933968"/>
                </a:lnTo>
                <a:lnTo>
                  <a:pt x="643292" y="924436"/>
                </a:lnTo>
                <a:lnTo>
                  <a:pt x="638526" y="914904"/>
                </a:lnTo>
                <a:lnTo>
                  <a:pt x="628996" y="910140"/>
                </a:lnTo>
                <a:lnTo>
                  <a:pt x="619466" y="910140"/>
                </a:lnTo>
                <a:lnTo>
                  <a:pt x="609936" y="910140"/>
                </a:lnTo>
                <a:lnTo>
                  <a:pt x="609936" y="886316"/>
                </a:lnTo>
                <a:lnTo>
                  <a:pt x="609936" y="872020"/>
                </a:lnTo>
                <a:lnTo>
                  <a:pt x="609936" y="857724"/>
                </a:lnTo>
                <a:lnTo>
                  <a:pt x="595640" y="819604"/>
                </a:lnTo>
                <a:lnTo>
                  <a:pt x="576580" y="791012"/>
                </a:lnTo>
                <a:lnTo>
                  <a:pt x="567050" y="719536"/>
                </a:lnTo>
                <a:lnTo>
                  <a:pt x="557520" y="695708"/>
                </a:lnTo>
                <a:lnTo>
                  <a:pt x="533694" y="681416"/>
                </a:lnTo>
                <a:lnTo>
                  <a:pt x="486042" y="662352"/>
                </a:lnTo>
                <a:lnTo>
                  <a:pt x="419332" y="614704"/>
                </a:lnTo>
                <a:lnTo>
                  <a:pt x="400270" y="614704"/>
                </a:lnTo>
                <a:lnTo>
                  <a:pt x="362150" y="595644"/>
                </a:lnTo>
                <a:lnTo>
                  <a:pt x="333558" y="595644"/>
                </a:lnTo>
                <a:lnTo>
                  <a:pt x="300202" y="609936"/>
                </a:lnTo>
                <a:lnTo>
                  <a:pt x="262082" y="657588"/>
                </a:lnTo>
                <a:lnTo>
                  <a:pt x="228726" y="705240"/>
                </a:lnTo>
                <a:lnTo>
                  <a:pt x="214430" y="714772"/>
                </a:lnTo>
                <a:lnTo>
                  <a:pt x="176310" y="729064"/>
                </a:lnTo>
                <a:lnTo>
                  <a:pt x="138188" y="733832"/>
                </a:lnTo>
                <a:lnTo>
                  <a:pt x="138188" y="724300"/>
                </a:lnTo>
                <a:lnTo>
                  <a:pt x="133424" y="714772"/>
                </a:lnTo>
                <a:lnTo>
                  <a:pt x="142954" y="705240"/>
                </a:lnTo>
                <a:lnTo>
                  <a:pt x="152484" y="695708"/>
                </a:lnTo>
                <a:lnTo>
                  <a:pt x="162014" y="676648"/>
                </a:lnTo>
                <a:lnTo>
                  <a:pt x="166780" y="667120"/>
                </a:lnTo>
                <a:lnTo>
                  <a:pt x="162014" y="662352"/>
                </a:lnTo>
                <a:lnTo>
                  <a:pt x="157250" y="648060"/>
                </a:lnTo>
                <a:lnTo>
                  <a:pt x="152484" y="648060"/>
                </a:lnTo>
                <a:lnTo>
                  <a:pt x="119128" y="657588"/>
                </a:lnTo>
                <a:lnTo>
                  <a:pt x="109598" y="657588"/>
                </a:lnTo>
                <a:lnTo>
                  <a:pt x="81008" y="643292"/>
                </a:lnTo>
                <a:lnTo>
                  <a:pt x="52416" y="624232"/>
                </a:lnTo>
                <a:lnTo>
                  <a:pt x="42886" y="614704"/>
                </a:lnTo>
                <a:lnTo>
                  <a:pt x="38122" y="600408"/>
                </a:lnTo>
                <a:lnTo>
                  <a:pt x="42886" y="590876"/>
                </a:lnTo>
                <a:lnTo>
                  <a:pt x="42886" y="586112"/>
                </a:lnTo>
                <a:lnTo>
                  <a:pt x="33356" y="576580"/>
                </a:lnTo>
                <a:lnTo>
                  <a:pt x="38122" y="562288"/>
                </a:lnTo>
                <a:lnTo>
                  <a:pt x="47652" y="547992"/>
                </a:lnTo>
                <a:lnTo>
                  <a:pt x="52416" y="538460"/>
                </a:lnTo>
                <a:lnTo>
                  <a:pt x="61946" y="533696"/>
                </a:lnTo>
                <a:lnTo>
                  <a:pt x="61946" y="528932"/>
                </a:lnTo>
                <a:lnTo>
                  <a:pt x="57182" y="505104"/>
                </a:lnTo>
                <a:lnTo>
                  <a:pt x="57182" y="500340"/>
                </a:lnTo>
                <a:lnTo>
                  <a:pt x="47652" y="500340"/>
                </a:lnTo>
                <a:lnTo>
                  <a:pt x="42886" y="495576"/>
                </a:lnTo>
                <a:lnTo>
                  <a:pt x="28590" y="490808"/>
                </a:lnTo>
                <a:lnTo>
                  <a:pt x="19060" y="486044"/>
                </a:lnTo>
                <a:lnTo>
                  <a:pt x="19060" y="471748"/>
                </a:lnTo>
                <a:lnTo>
                  <a:pt x="9530" y="462220"/>
                </a:lnTo>
                <a:lnTo>
                  <a:pt x="4766" y="452688"/>
                </a:lnTo>
                <a:lnTo>
                  <a:pt x="0" y="438392"/>
                </a:lnTo>
                <a:lnTo>
                  <a:pt x="9530" y="433628"/>
                </a:lnTo>
                <a:lnTo>
                  <a:pt x="23826" y="433628"/>
                </a:lnTo>
                <a:lnTo>
                  <a:pt x="33356" y="438392"/>
                </a:lnTo>
                <a:lnTo>
                  <a:pt x="57182" y="419332"/>
                </a:lnTo>
                <a:lnTo>
                  <a:pt x="66712" y="419332"/>
                </a:lnTo>
                <a:lnTo>
                  <a:pt x="71476" y="414568"/>
                </a:lnTo>
                <a:lnTo>
                  <a:pt x="76242" y="390740"/>
                </a:lnTo>
                <a:lnTo>
                  <a:pt x="81008" y="381212"/>
                </a:lnTo>
                <a:lnTo>
                  <a:pt x="85772" y="376448"/>
                </a:lnTo>
                <a:lnTo>
                  <a:pt x="61946" y="357384"/>
                </a:lnTo>
                <a:lnTo>
                  <a:pt x="52416" y="338324"/>
                </a:lnTo>
                <a:lnTo>
                  <a:pt x="42886" y="319264"/>
                </a:lnTo>
                <a:lnTo>
                  <a:pt x="28590" y="309736"/>
                </a:lnTo>
                <a:lnTo>
                  <a:pt x="28590" y="300204"/>
                </a:lnTo>
                <a:lnTo>
                  <a:pt x="28590" y="295440"/>
                </a:lnTo>
                <a:lnTo>
                  <a:pt x="28590" y="285908"/>
                </a:lnTo>
                <a:lnTo>
                  <a:pt x="47652" y="271612"/>
                </a:lnTo>
                <a:lnTo>
                  <a:pt x="61946" y="262084"/>
                </a:lnTo>
                <a:lnTo>
                  <a:pt x="66712" y="266848"/>
                </a:lnTo>
                <a:lnTo>
                  <a:pt x="81008" y="271612"/>
                </a:lnTo>
                <a:lnTo>
                  <a:pt x="109598" y="262084"/>
                </a:lnTo>
                <a:lnTo>
                  <a:pt x="128658" y="257316"/>
                </a:lnTo>
                <a:lnTo>
                  <a:pt x="142954" y="247788"/>
                </a:lnTo>
                <a:lnTo>
                  <a:pt x="152484" y="247788"/>
                </a:lnTo>
                <a:lnTo>
                  <a:pt x="181074" y="262084"/>
                </a:lnTo>
                <a:lnTo>
                  <a:pt x="190606" y="257316"/>
                </a:lnTo>
                <a:lnTo>
                  <a:pt x="214430" y="238256"/>
                </a:lnTo>
                <a:lnTo>
                  <a:pt x="219196" y="233492"/>
                </a:lnTo>
                <a:lnTo>
                  <a:pt x="233492" y="209668"/>
                </a:lnTo>
                <a:lnTo>
                  <a:pt x="233492" y="200136"/>
                </a:lnTo>
                <a:lnTo>
                  <a:pt x="228726" y="185840"/>
                </a:lnTo>
                <a:lnTo>
                  <a:pt x="228726" y="181076"/>
                </a:lnTo>
                <a:lnTo>
                  <a:pt x="252552" y="166780"/>
                </a:lnTo>
                <a:lnTo>
                  <a:pt x="262082" y="152484"/>
                </a:lnTo>
                <a:lnTo>
                  <a:pt x="271612" y="142956"/>
                </a:lnTo>
                <a:lnTo>
                  <a:pt x="281142" y="142956"/>
                </a:lnTo>
                <a:lnTo>
                  <a:pt x="285908" y="147720"/>
                </a:lnTo>
                <a:lnTo>
                  <a:pt x="285908" y="152484"/>
                </a:lnTo>
                <a:lnTo>
                  <a:pt x="285908" y="181076"/>
                </a:lnTo>
                <a:lnTo>
                  <a:pt x="285908" y="190608"/>
                </a:lnTo>
                <a:lnTo>
                  <a:pt x="304968" y="209668"/>
                </a:lnTo>
                <a:lnTo>
                  <a:pt x="314498" y="219196"/>
                </a:lnTo>
                <a:lnTo>
                  <a:pt x="343090" y="228728"/>
                </a:lnTo>
                <a:lnTo>
                  <a:pt x="338324" y="243024"/>
                </a:lnTo>
                <a:lnTo>
                  <a:pt x="352620" y="262084"/>
                </a:lnTo>
                <a:lnTo>
                  <a:pt x="357384" y="276380"/>
                </a:lnTo>
                <a:lnTo>
                  <a:pt x="362150" y="281144"/>
                </a:lnTo>
                <a:lnTo>
                  <a:pt x="376444" y="281144"/>
                </a:lnTo>
                <a:lnTo>
                  <a:pt x="381210" y="271612"/>
                </a:lnTo>
                <a:lnTo>
                  <a:pt x="376444" y="262084"/>
                </a:lnTo>
                <a:lnTo>
                  <a:pt x="371680" y="247788"/>
                </a:lnTo>
                <a:lnTo>
                  <a:pt x="371680" y="243024"/>
                </a:lnTo>
                <a:lnTo>
                  <a:pt x="376444" y="233492"/>
                </a:lnTo>
                <a:lnTo>
                  <a:pt x="381210" y="219196"/>
                </a:lnTo>
                <a:lnTo>
                  <a:pt x="405036" y="195372"/>
                </a:lnTo>
                <a:lnTo>
                  <a:pt x="409800" y="181076"/>
                </a:lnTo>
                <a:lnTo>
                  <a:pt x="414566" y="157252"/>
                </a:lnTo>
                <a:lnTo>
                  <a:pt x="414566" y="138188"/>
                </a:lnTo>
                <a:lnTo>
                  <a:pt x="419332" y="133424"/>
                </a:lnTo>
                <a:lnTo>
                  <a:pt x="433626" y="133424"/>
                </a:lnTo>
                <a:lnTo>
                  <a:pt x="438392" y="133424"/>
                </a:lnTo>
                <a:lnTo>
                  <a:pt x="438392" y="147720"/>
                </a:lnTo>
                <a:lnTo>
                  <a:pt x="447922" y="166780"/>
                </a:lnTo>
                <a:lnTo>
                  <a:pt x="452686" y="176312"/>
                </a:lnTo>
                <a:lnTo>
                  <a:pt x="462218" y="176312"/>
                </a:lnTo>
                <a:lnTo>
                  <a:pt x="471748" y="176312"/>
                </a:lnTo>
                <a:lnTo>
                  <a:pt x="495574" y="166780"/>
                </a:lnTo>
                <a:lnTo>
                  <a:pt x="509868" y="162016"/>
                </a:lnTo>
                <a:lnTo>
                  <a:pt x="519398" y="162016"/>
                </a:lnTo>
                <a:lnTo>
                  <a:pt x="524164" y="171544"/>
                </a:lnTo>
                <a:lnTo>
                  <a:pt x="533694" y="190608"/>
                </a:lnTo>
                <a:lnTo>
                  <a:pt x="543224" y="190608"/>
                </a:lnTo>
                <a:lnTo>
                  <a:pt x="547990" y="190608"/>
                </a:lnTo>
                <a:lnTo>
                  <a:pt x="552754" y="185840"/>
                </a:lnTo>
                <a:lnTo>
                  <a:pt x="547990" y="181076"/>
                </a:lnTo>
                <a:lnTo>
                  <a:pt x="543224" y="162016"/>
                </a:lnTo>
                <a:lnTo>
                  <a:pt x="543224" y="147720"/>
                </a:lnTo>
                <a:lnTo>
                  <a:pt x="533694" y="142956"/>
                </a:lnTo>
                <a:lnTo>
                  <a:pt x="533694" y="133424"/>
                </a:lnTo>
                <a:lnTo>
                  <a:pt x="538460" y="119128"/>
                </a:lnTo>
                <a:lnTo>
                  <a:pt x="543224" y="109600"/>
                </a:lnTo>
                <a:lnTo>
                  <a:pt x="547990" y="104832"/>
                </a:lnTo>
                <a:lnTo>
                  <a:pt x="557520" y="104832"/>
                </a:lnTo>
                <a:lnTo>
                  <a:pt x="571816" y="114364"/>
                </a:lnTo>
                <a:lnTo>
                  <a:pt x="586110" y="119128"/>
                </a:lnTo>
                <a:lnTo>
                  <a:pt x="595640" y="119128"/>
                </a:lnTo>
                <a:lnTo>
                  <a:pt x="595640" y="114364"/>
                </a:lnTo>
                <a:lnTo>
                  <a:pt x="595640" y="104832"/>
                </a:lnTo>
                <a:lnTo>
                  <a:pt x="590876" y="95304"/>
                </a:lnTo>
                <a:lnTo>
                  <a:pt x="590876" y="76244"/>
                </a:lnTo>
                <a:lnTo>
                  <a:pt x="600406" y="47652"/>
                </a:lnTo>
                <a:lnTo>
                  <a:pt x="605172" y="52416"/>
                </a:lnTo>
                <a:lnTo>
                  <a:pt x="619466" y="52416"/>
                </a:lnTo>
                <a:lnTo>
                  <a:pt x="633762" y="52416"/>
                </a:lnTo>
                <a:lnTo>
                  <a:pt x="648058" y="66712"/>
                </a:lnTo>
                <a:lnTo>
                  <a:pt x="657588" y="66712"/>
                </a:lnTo>
                <a:lnTo>
                  <a:pt x="671882" y="71476"/>
                </a:lnTo>
                <a:lnTo>
                  <a:pt x="681412" y="66712"/>
                </a:lnTo>
                <a:lnTo>
                  <a:pt x="686178" y="61948"/>
                </a:lnTo>
                <a:lnTo>
                  <a:pt x="695708" y="47652"/>
                </a:lnTo>
                <a:lnTo>
                  <a:pt x="705238" y="33356"/>
                </a:lnTo>
                <a:lnTo>
                  <a:pt x="724300" y="23828"/>
                </a:lnTo>
                <a:lnTo>
                  <a:pt x="752890" y="19060"/>
                </a:lnTo>
                <a:lnTo>
                  <a:pt x="767186" y="19060"/>
                </a:lnTo>
                <a:lnTo>
                  <a:pt x="781480" y="19060"/>
                </a:lnTo>
                <a:lnTo>
                  <a:pt x="791010" y="19060"/>
                </a:lnTo>
                <a:lnTo>
                  <a:pt x="805306" y="19060"/>
                </a:lnTo>
                <a:lnTo>
                  <a:pt x="833898" y="9532"/>
                </a:lnTo>
                <a:close/>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02" name="CustomShape 27"/>
          <p:cNvSpPr/>
          <p:nvPr/>
        </p:nvSpPr>
        <p:spPr>
          <a:xfrm>
            <a:off x="2329200" y="4294800"/>
            <a:ext cx="28080" cy="38160"/>
          </a:xfrm>
          <a:custGeom>
            <a:avLst/>
            <a:gdLst/>
            <a:ahLst/>
            <a:cxnLst/>
            <a:rect l="l" t="t" r="r" b="b"/>
            <a:pathLst>
              <a:path w="71478" h="95304">
                <a:moveTo>
                  <a:pt x="57182" y="0"/>
                </a:moveTo>
                <a:lnTo>
                  <a:pt x="61946" y="0"/>
                </a:lnTo>
                <a:lnTo>
                  <a:pt x="66712" y="4766"/>
                </a:lnTo>
                <a:lnTo>
                  <a:pt x="71478" y="38122"/>
                </a:lnTo>
                <a:lnTo>
                  <a:pt x="61946" y="47652"/>
                </a:lnTo>
                <a:lnTo>
                  <a:pt x="57182" y="61948"/>
                </a:lnTo>
                <a:lnTo>
                  <a:pt x="28590" y="95304"/>
                </a:lnTo>
                <a:lnTo>
                  <a:pt x="14296" y="85774"/>
                </a:lnTo>
                <a:lnTo>
                  <a:pt x="4766" y="90538"/>
                </a:lnTo>
                <a:lnTo>
                  <a:pt x="0" y="90538"/>
                </a:lnTo>
                <a:lnTo>
                  <a:pt x="4766" y="76244"/>
                </a:lnTo>
                <a:lnTo>
                  <a:pt x="14296" y="47652"/>
                </a:lnTo>
                <a:lnTo>
                  <a:pt x="28590" y="38122"/>
                </a:lnTo>
                <a:lnTo>
                  <a:pt x="42886" y="9532"/>
                </a:lnTo>
                <a:close/>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grpSp>
        <p:nvGrpSpPr>
          <p:cNvPr id="403" name="Group 28"/>
          <p:cNvGrpSpPr/>
          <p:nvPr/>
        </p:nvGrpSpPr>
        <p:grpSpPr>
          <a:xfrm>
            <a:off x="2107080" y="3498840"/>
            <a:ext cx="652320" cy="1351800"/>
            <a:chOff x="2107080" y="3498840"/>
            <a:chExt cx="652320" cy="1351800"/>
          </a:xfrm>
        </p:grpSpPr>
        <p:sp>
          <p:nvSpPr>
            <p:cNvPr id="404" name="CustomShape 29"/>
            <p:cNvSpPr/>
            <p:nvPr/>
          </p:nvSpPr>
          <p:spPr>
            <a:xfrm>
              <a:off x="2543400" y="4690800"/>
              <a:ext cx="30240" cy="18000"/>
            </a:xfrm>
            <a:custGeom>
              <a:avLst/>
              <a:gdLst/>
              <a:ahLst/>
              <a:cxnLst/>
              <a:rect l="l" t="t" r="r" b="b"/>
              <a:pathLst>
                <a:path w="32" h="20">
                  <a:moveTo>
                    <a:pt x="32" y="10"/>
                  </a:moveTo>
                  <a:lnTo>
                    <a:pt x="28" y="4"/>
                  </a:lnTo>
                  <a:lnTo>
                    <a:pt x="16" y="0"/>
                  </a:lnTo>
                  <a:lnTo>
                    <a:pt x="12" y="4"/>
                  </a:lnTo>
                  <a:lnTo>
                    <a:pt x="2" y="8"/>
                  </a:lnTo>
                  <a:lnTo>
                    <a:pt x="0" y="12"/>
                  </a:lnTo>
                  <a:lnTo>
                    <a:pt x="2" y="12"/>
                  </a:lnTo>
                  <a:lnTo>
                    <a:pt x="16" y="20"/>
                  </a:lnTo>
                  <a:lnTo>
                    <a:pt x="20" y="20"/>
                  </a:lnTo>
                  <a:lnTo>
                    <a:pt x="24" y="18"/>
                  </a:lnTo>
                  <a:lnTo>
                    <a:pt x="26" y="16"/>
                  </a:lnTo>
                  <a:lnTo>
                    <a:pt x="26" y="12"/>
                  </a:lnTo>
                  <a:lnTo>
                    <a:pt x="32" y="10"/>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05" name="CustomShape 30"/>
            <p:cNvSpPr/>
            <p:nvPr/>
          </p:nvSpPr>
          <p:spPr>
            <a:xfrm>
              <a:off x="2343600" y="4406040"/>
              <a:ext cx="32040" cy="30240"/>
            </a:xfrm>
            <a:custGeom>
              <a:avLst/>
              <a:gdLst/>
              <a:ahLst/>
              <a:cxnLst/>
              <a:rect l="l" t="t" r="r" b="b"/>
              <a:pathLst>
                <a:path w="34" h="32">
                  <a:moveTo>
                    <a:pt x="24" y="12"/>
                  </a:moveTo>
                  <a:lnTo>
                    <a:pt x="18" y="0"/>
                  </a:lnTo>
                  <a:lnTo>
                    <a:pt x="8" y="0"/>
                  </a:lnTo>
                  <a:lnTo>
                    <a:pt x="0" y="4"/>
                  </a:lnTo>
                  <a:lnTo>
                    <a:pt x="2" y="18"/>
                  </a:lnTo>
                  <a:lnTo>
                    <a:pt x="6" y="28"/>
                  </a:lnTo>
                  <a:lnTo>
                    <a:pt x="10" y="26"/>
                  </a:lnTo>
                  <a:lnTo>
                    <a:pt x="14" y="32"/>
                  </a:lnTo>
                  <a:lnTo>
                    <a:pt x="20" y="28"/>
                  </a:lnTo>
                  <a:lnTo>
                    <a:pt x="24" y="22"/>
                  </a:lnTo>
                  <a:lnTo>
                    <a:pt x="32" y="18"/>
                  </a:lnTo>
                  <a:lnTo>
                    <a:pt x="34" y="12"/>
                  </a:lnTo>
                  <a:lnTo>
                    <a:pt x="28" y="14"/>
                  </a:lnTo>
                  <a:lnTo>
                    <a:pt x="24" y="12"/>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06" name="CustomShape 31"/>
            <p:cNvSpPr/>
            <p:nvPr/>
          </p:nvSpPr>
          <p:spPr>
            <a:xfrm>
              <a:off x="2107080" y="4199760"/>
              <a:ext cx="175680" cy="133200"/>
            </a:xfrm>
            <a:custGeom>
              <a:avLst/>
              <a:gdLst/>
              <a:ahLst/>
              <a:cxnLst/>
              <a:rect l="l" t="t" r="r" b="b"/>
              <a:pathLst>
                <a:path w="176" h="134">
                  <a:moveTo>
                    <a:pt x="116" y="0"/>
                  </a:moveTo>
                  <a:lnTo>
                    <a:pt x="110" y="0"/>
                  </a:lnTo>
                  <a:lnTo>
                    <a:pt x="94" y="4"/>
                  </a:lnTo>
                  <a:lnTo>
                    <a:pt x="86" y="6"/>
                  </a:lnTo>
                  <a:lnTo>
                    <a:pt x="82" y="6"/>
                  </a:lnTo>
                  <a:lnTo>
                    <a:pt x="78" y="6"/>
                  </a:lnTo>
                  <a:lnTo>
                    <a:pt x="74" y="18"/>
                  </a:lnTo>
                  <a:lnTo>
                    <a:pt x="68" y="22"/>
                  </a:lnTo>
                  <a:lnTo>
                    <a:pt x="64" y="20"/>
                  </a:lnTo>
                  <a:lnTo>
                    <a:pt x="60" y="16"/>
                  </a:lnTo>
                  <a:lnTo>
                    <a:pt x="50" y="24"/>
                  </a:lnTo>
                  <a:lnTo>
                    <a:pt x="48" y="26"/>
                  </a:lnTo>
                  <a:lnTo>
                    <a:pt x="46" y="38"/>
                  </a:lnTo>
                  <a:lnTo>
                    <a:pt x="46" y="40"/>
                  </a:lnTo>
                  <a:lnTo>
                    <a:pt x="42" y="46"/>
                  </a:lnTo>
                  <a:lnTo>
                    <a:pt x="40" y="54"/>
                  </a:lnTo>
                  <a:lnTo>
                    <a:pt x="36" y="56"/>
                  </a:lnTo>
                  <a:lnTo>
                    <a:pt x="30" y="58"/>
                  </a:lnTo>
                  <a:lnTo>
                    <a:pt x="26" y="60"/>
                  </a:lnTo>
                  <a:lnTo>
                    <a:pt x="22" y="60"/>
                  </a:lnTo>
                  <a:lnTo>
                    <a:pt x="18" y="60"/>
                  </a:lnTo>
                  <a:lnTo>
                    <a:pt x="16" y="62"/>
                  </a:lnTo>
                  <a:lnTo>
                    <a:pt x="16" y="64"/>
                  </a:lnTo>
                  <a:lnTo>
                    <a:pt x="18" y="64"/>
                  </a:lnTo>
                  <a:lnTo>
                    <a:pt x="22" y="68"/>
                  </a:lnTo>
                  <a:lnTo>
                    <a:pt x="26" y="70"/>
                  </a:lnTo>
                  <a:lnTo>
                    <a:pt x="26" y="74"/>
                  </a:lnTo>
                  <a:lnTo>
                    <a:pt x="24" y="76"/>
                  </a:lnTo>
                  <a:lnTo>
                    <a:pt x="6" y="82"/>
                  </a:lnTo>
                  <a:lnTo>
                    <a:pt x="2" y="86"/>
                  </a:lnTo>
                  <a:lnTo>
                    <a:pt x="0" y="90"/>
                  </a:lnTo>
                  <a:lnTo>
                    <a:pt x="2" y="94"/>
                  </a:lnTo>
                  <a:lnTo>
                    <a:pt x="16" y="106"/>
                  </a:lnTo>
                  <a:lnTo>
                    <a:pt x="18" y="108"/>
                  </a:lnTo>
                  <a:lnTo>
                    <a:pt x="20" y="116"/>
                  </a:lnTo>
                  <a:lnTo>
                    <a:pt x="30" y="120"/>
                  </a:lnTo>
                  <a:lnTo>
                    <a:pt x="36" y="124"/>
                  </a:lnTo>
                  <a:lnTo>
                    <a:pt x="40" y="126"/>
                  </a:lnTo>
                  <a:lnTo>
                    <a:pt x="48" y="124"/>
                  </a:lnTo>
                  <a:lnTo>
                    <a:pt x="52" y="126"/>
                  </a:lnTo>
                  <a:lnTo>
                    <a:pt x="54" y="126"/>
                  </a:lnTo>
                  <a:lnTo>
                    <a:pt x="56" y="122"/>
                  </a:lnTo>
                  <a:lnTo>
                    <a:pt x="62" y="116"/>
                  </a:lnTo>
                  <a:lnTo>
                    <a:pt x="66" y="114"/>
                  </a:lnTo>
                  <a:lnTo>
                    <a:pt x="64" y="110"/>
                  </a:lnTo>
                  <a:lnTo>
                    <a:pt x="62" y="106"/>
                  </a:lnTo>
                  <a:lnTo>
                    <a:pt x="66" y="100"/>
                  </a:lnTo>
                  <a:lnTo>
                    <a:pt x="72" y="94"/>
                  </a:lnTo>
                  <a:lnTo>
                    <a:pt x="74" y="94"/>
                  </a:lnTo>
                  <a:lnTo>
                    <a:pt x="80" y="98"/>
                  </a:lnTo>
                  <a:lnTo>
                    <a:pt x="84" y="104"/>
                  </a:lnTo>
                  <a:lnTo>
                    <a:pt x="84" y="106"/>
                  </a:lnTo>
                  <a:lnTo>
                    <a:pt x="84" y="110"/>
                  </a:lnTo>
                  <a:lnTo>
                    <a:pt x="88" y="116"/>
                  </a:lnTo>
                  <a:lnTo>
                    <a:pt x="90" y="118"/>
                  </a:lnTo>
                  <a:lnTo>
                    <a:pt x="96" y="120"/>
                  </a:lnTo>
                  <a:lnTo>
                    <a:pt x="98" y="122"/>
                  </a:lnTo>
                  <a:lnTo>
                    <a:pt x="98" y="130"/>
                  </a:lnTo>
                  <a:lnTo>
                    <a:pt x="98" y="134"/>
                  </a:lnTo>
                  <a:lnTo>
                    <a:pt x="104" y="134"/>
                  </a:lnTo>
                  <a:lnTo>
                    <a:pt x="112" y="132"/>
                  </a:lnTo>
                  <a:lnTo>
                    <a:pt x="114" y="134"/>
                  </a:lnTo>
                  <a:lnTo>
                    <a:pt x="116" y="132"/>
                  </a:lnTo>
                  <a:lnTo>
                    <a:pt x="120" y="130"/>
                  </a:lnTo>
                  <a:lnTo>
                    <a:pt x="126" y="130"/>
                  </a:lnTo>
                  <a:lnTo>
                    <a:pt x="132" y="134"/>
                  </a:lnTo>
                  <a:lnTo>
                    <a:pt x="140" y="134"/>
                  </a:lnTo>
                  <a:lnTo>
                    <a:pt x="144" y="130"/>
                  </a:lnTo>
                  <a:lnTo>
                    <a:pt x="148" y="122"/>
                  </a:lnTo>
                  <a:lnTo>
                    <a:pt x="150" y="118"/>
                  </a:lnTo>
                  <a:lnTo>
                    <a:pt x="152" y="114"/>
                  </a:lnTo>
                  <a:lnTo>
                    <a:pt x="160" y="112"/>
                  </a:lnTo>
                  <a:lnTo>
                    <a:pt x="166" y="110"/>
                  </a:lnTo>
                  <a:lnTo>
                    <a:pt x="170" y="98"/>
                  </a:lnTo>
                  <a:lnTo>
                    <a:pt x="164" y="98"/>
                  </a:lnTo>
                  <a:lnTo>
                    <a:pt x="164" y="98"/>
                  </a:lnTo>
                  <a:lnTo>
                    <a:pt x="164" y="86"/>
                  </a:lnTo>
                  <a:lnTo>
                    <a:pt x="162" y="78"/>
                  </a:lnTo>
                  <a:lnTo>
                    <a:pt x="166" y="80"/>
                  </a:lnTo>
                  <a:lnTo>
                    <a:pt x="170" y="82"/>
                  </a:lnTo>
                  <a:lnTo>
                    <a:pt x="172" y="88"/>
                  </a:lnTo>
                  <a:lnTo>
                    <a:pt x="174" y="90"/>
                  </a:lnTo>
                  <a:lnTo>
                    <a:pt x="176" y="84"/>
                  </a:lnTo>
                  <a:lnTo>
                    <a:pt x="174" y="78"/>
                  </a:lnTo>
                  <a:lnTo>
                    <a:pt x="172" y="70"/>
                  </a:lnTo>
                  <a:lnTo>
                    <a:pt x="168" y="66"/>
                  </a:lnTo>
                  <a:lnTo>
                    <a:pt x="158" y="64"/>
                  </a:lnTo>
                  <a:lnTo>
                    <a:pt x="154" y="66"/>
                  </a:lnTo>
                  <a:lnTo>
                    <a:pt x="148" y="68"/>
                  </a:lnTo>
                  <a:lnTo>
                    <a:pt x="148" y="62"/>
                  </a:lnTo>
                  <a:lnTo>
                    <a:pt x="156" y="58"/>
                  </a:lnTo>
                  <a:lnTo>
                    <a:pt x="160" y="54"/>
                  </a:lnTo>
                  <a:lnTo>
                    <a:pt x="160" y="48"/>
                  </a:lnTo>
                  <a:lnTo>
                    <a:pt x="150" y="36"/>
                  </a:lnTo>
                  <a:lnTo>
                    <a:pt x="142" y="24"/>
                  </a:lnTo>
                  <a:lnTo>
                    <a:pt x="138" y="10"/>
                  </a:lnTo>
                  <a:lnTo>
                    <a:pt x="132" y="2"/>
                  </a:lnTo>
                  <a:lnTo>
                    <a:pt x="126" y="2"/>
                  </a:lnTo>
                  <a:lnTo>
                    <a:pt x="116" y="0"/>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07" name="CustomShape 32"/>
            <p:cNvSpPr/>
            <p:nvPr/>
          </p:nvSpPr>
          <p:spPr>
            <a:xfrm>
              <a:off x="2288880" y="4143240"/>
              <a:ext cx="18000" cy="30240"/>
            </a:xfrm>
            <a:custGeom>
              <a:avLst/>
              <a:gdLst/>
              <a:ahLst/>
              <a:cxnLst/>
              <a:rect l="l" t="t" r="r" b="b"/>
              <a:pathLst>
                <a:path w="20" h="32">
                  <a:moveTo>
                    <a:pt x="20" y="32"/>
                  </a:moveTo>
                  <a:lnTo>
                    <a:pt x="20" y="26"/>
                  </a:lnTo>
                  <a:lnTo>
                    <a:pt x="20" y="18"/>
                  </a:lnTo>
                  <a:lnTo>
                    <a:pt x="16" y="6"/>
                  </a:lnTo>
                  <a:lnTo>
                    <a:pt x="14" y="4"/>
                  </a:lnTo>
                  <a:lnTo>
                    <a:pt x="10" y="0"/>
                  </a:lnTo>
                  <a:lnTo>
                    <a:pt x="6" y="2"/>
                  </a:lnTo>
                  <a:lnTo>
                    <a:pt x="4" y="4"/>
                  </a:lnTo>
                  <a:lnTo>
                    <a:pt x="2" y="6"/>
                  </a:lnTo>
                  <a:lnTo>
                    <a:pt x="0" y="12"/>
                  </a:lnTo>
                  <a:lnTo>
                    <a:pt x="4" y="28"/>
                  </a:lnTo>
                  <a:lnTo>
                    <a:pt x="8" y="30"/>
                  </a:lnTo>
                  <a:lnTo>
                    <a:pt x="12" y="32"/>
                  </a:lnTo>
                  <a:lnTo>
                    <a:pt x="20" y="32"/>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08" name="CustomShape 33"/>
            <p:cNvSpPr/>
            <p:nvPr/>
          </p:nvSpPr>
          <p:spPr>
            <a:xfrm>
              <a:off x="2216160" y="4119120"/>
              <a:ext cx="28080" cy="36360"/>
            </a:xfrm>
            <a:custGeom>
              <a:avLst/>
              <a:gdLst/>
              <a:ahLst/>
              <a:cxnLst/>
              <a:rect l="l" t="t" r="r" b="b"/>
              <a:pathLst>
                <a:path w="30" h="38">
                  <a:moveTo>
                    <a:pt x="24" y="0"/>
                  </a:moveTo>
                  <a:lnTo>
                    <a:pt x="18" y="2"/>
                  </a:lnTo>
                  <a:lnTo>
                    <a:pt x="12" y="8"/>
                  </a:lnTo>
                  <a:lnTo>
                    <a:pt x="10" y="6"/>
                  </a:lnTo>
                  <a:lnTo>
                    <a:pt x="8" y="6"/>
                  </a:lnTo>
                  <a:lnTo>
                    <a:pt x="6" y="8"/>
                  </a:lnTo>
                  <a:lnTo>
                    <a:pt x="4" y="10"/>
                  </a:lnTo>
                  <a:lnTo>
                    <a:pt x="2" y="14"/>
                  </a:lnTo>
                  <a:lnTo>
                    <a:pt x="2" y="18"/>
                  </a:lnTo>
                  <a:lnTo>
                    <a:pt x="0" y="26"/>
                  </a:lnTo>
                  <a:lnTo>
                    <a:pt x="0" y="26"/>
                  </a:lnTo>
                  <a:lnTo>
                    <a:pt x="2" y="26"/>
                  </a:lnTo>
                  <a:lnTo>
                    <a:pt x="12" y="18"/>
                  </a:lnTo>
                  <a:lnTo>
                    <a:pt x="14" y="18"/>
                  </a:lnTo>
                  <a:lnTo>
                    <a:pt x="14" y="18"/>
                  </a:lnTo>
                  <a:lnTo>
                    <a:pt x="14" y="22"/>
                  </a:lnTo>
                  <a:lnTo>
                    <a:pt x="16" y="30"/>
                  </a:lnTo>
                  <a:lnTo>
                    <a:pt x="12" y="36"/>
                  </a:lnTo>
                  <a:lnTo>
                    <a:pt x="12" y="38"/>
                  </a:lnTo>
                  <a:lnTo>
                    <a:pt x="16" y="38"/>
                  </a:lnTo>
                  <a:lnTo>
                    <a:pt x="28" y="32"/>
                  </a:lnTo>
                  <a:lnTo>
                    <a:pt x="30" y="26"/>
                  </a:lnTo>
                  <a:lnTo>
                    <a:pt x="30" y="24"/>
                  </a:lnTo>
                  <a:lnTo>
                    <a:pt x="26" y="14"/>
                  </a:lnTo>
                  <a:lnTo>
                    <a:pt x="24" y="0"/>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09" name="CustomShape 34"/>
            <p:cNvSpPr/>
            <p:nvPr/>
          </p:nvSpPr>
          <p:spPr>
            <a:xfrm>
              <a:off x="2244600" y="4096800"/>
              <a:ext cx="20160" cy="34200"/>
            </a:xfrm>
            <a:custGeom>
              <a:avLst/>
              <a:gdLst/>
              <a:ahLst/>
              <a:cxnLst/>
              <a:rect l="l" t="t" r="r" b="b"/>
              <a:pathLst>
                <a:path w="22" h="36">
                  <a:moveTo>
                    <a:pt x="6" y="34"/>
                  </a:moveTo>
                  <a:lnTo>
                    <a:pt x="18" y="12"/>
                  </a:lnTo>
                  <a:lnTo>
                    <a:pt x="22" y="0"/>
                  </a:lnTo>
                  <a:lnTo>
                    <a:pt x="20" y="0"/>
                  </a:lnTo>
                  <a:lnTo>
                    <a:pt x="18" y="0"/>
                  </a:lnTo>
                  <a:lnTo>
                    <a:pt x="8" y="8"/>
                  </a:lnTo>
                  <a:lnTo>
                    <a:pt x="6" y="12"/>
                  </a:lnTo>
                  <a:lnTo>
                    <a:pt x="6" y="14"/>
                  </a:lnTo>
                  <a:lnTo>
                    <a:pt x="10" y="16"/>
                  </a:lnTo>
                  <a:lnTo>
                    <a:pt x="2" y="22"/>
                  </a:lnTo>
                  <a:lnTo>
                    <a:pt x="0" y="26"/>
                  </a:lnTo>
                  <a:lnTo>
                    <a:pt x="0" y="32"/>
                  </a:lnTo>
                  <a:lnTo>
                    <a:pt x="0" y="34"/>
                  </a:lnTo>
                  <a:lnTo>
                    <a:pt x="2" y="36"/>
                  </a:lnTo>
                  <a:lnTo>
                    <a:pt x="6" y="36"/>
                  </a:lnTo>
                  <a:lnTo>
                    <a:pt x="6" y="34"/>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10" name="CustomShape 35"/>
            <p:cNvSpPr/>
            <p:nvPr/>
          </p:nvSpPr>
          <p:spPr>
            <a:xfrm>
              <a:off x="2228400" y="4032000"/>
              <a:ext cx="34200" cy="42120"/>
            </a:xfrm>
            <a:custGeom>
              <a:avLst/>
              <a:gdLst/>
              <a:ahLst/>
              <a:cxnLst/>
              <a:rect l="l" t="t" r="r" b="b"/>
              <a:pathLst>
                <a:path w="36" h="44">
                  <a:moveTo>
                    <a:pt x="36" y="36"/>
                  </a:moveTo>
                  <a:lnTo>
                    <a:pt x="36" y="20"/>
                  </a:lnTo>
                  <a:lnTo>
                    <a:pt x="32" y="16"/>
                  </a:lnTo>
                  <a:lnTo>
                    <a:pt x="24" y="14"/>
                  </a:lnTo>
                  <a:lnTo>
                    <a:pt x="18" y="6"/>
                  </a:lnTo>
                  <a:lnTo>
                    <a:pt x="14" y="0"/>
                  </a:lnTo>
                  <a:lnTo>
                    <a:pt x="12" y="0"/>
                  </a:lnTo>
                  <a:lnTo>
                    <a:pt x="8" y="2"/>
                  </a:lnTo>
                  <a:lnTo>
                    <a:pt x="2" y="6"/>
                  </a:lnTo>
                  <a:lnTo>
                    <a:pt x="0" y="6"/>
                  </a:lnTo>
                  <a:lnTo>
                    <a:pt x="0" y="10"/>
                  </a:lnTo>
                  <a:lnTo>
                    <a:pt x="0" y="12"/>
                  </a:lnTo>
                  <a:lnTo>
                    <a:pt x="12" y="20"/>
                  </a:lnTo>
                  <a:lnTo>
                    <a:pt x="8" y="36"/>
                  </a:lnTo>
                  <a:lnTo>
                    <a:pt x="2" y="38"/>
                  </a:lnTo>
                  <a:lnTo>
                    <a:pt x="0" y="40"/>
                  </a:lnTo>
                  <a:lnTo>
                    <a:pt x="0" y="42"/>
                  </a:lnTo>
                  <a:lnTo>
                    <a:pt x="10" y="44"/>
                  </a:lnTo>
                  <a:lnTo>
                    <a:pt x="36" y="36"/>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11" name="CustomShape 36"/>
            <p:cNvSpPr/>
            <p:nvPr/>
          </p:nvSpPr>
          <p:spPr>
            <a:xfrm>
              <a:off x="2203920" y="4030200"/>
              <a:ext cx="10080" cy="7920"/>
            </a:xfrm>
            <a:custGeom>
              <a:avLst/>
              <a:gdLst/>
              <a:ahLst/>
              <a:cxnLst/>
              <a:rect l="l" t="t" r="r" b="b"/>
              <a:pathLst>
                <a:path w="12" h="10">
                  <a:moveTo>
                    <a:pt x="4" y="10"/>
                  </a:moveTo>
                  <a:lnTo>
                    <a:pt x="10" y="6"/>
                  </a:lnTo>
                  <a:lnTo>
                    <a:pt x="12" y="0"/>
                  </a:lnTo>
                  <a:lnTo>
                    <a:pt x="12" y="0"/>
                  </a:lnTo>
                  <a:lnTo>
                    <a:pt x="8" y="2"/>
                  </a:lnTo>
                  <a:lnTo>
                    <a:pt x="0" y="10"/>
                  </a:lnTo>
                  <a:lnTo>
                    <a:pt x="2" y="10"/>
                  </a:lnTo>
                  <a:lnTo>
                    <a:pt x="4" y="10"/>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12" name="CustomShape 37"/>
            <p:cNvSpPr/>
            <p:nvPr/>
          </p:nvSpPr>
          <p:spPr>
            <a:xfrm>
              <a:off x="2147400" y="3987720"/>
              <a:ext cx="7920" cy="5760"/>
            </a:xfrm>
            <a:custGeom>
              <a:avLst/>
              <a:gdLst/>
              <a:ahLst/>
              <a:cxnLst/>
              <a:rect l="l" t="t" r="r" b="b"/>
              <a:pathLst>
                <a:path w="10" h="8">
                  <a:moveTo>
                    <a:pt x="8" y="6"/>
                  </a:moveTo>
                  <a:lnTo>
                    <a:pt x="10" y="4"/>
                  </a:lnTo>
                  <a:lnTo>
                    <a:pt x="8" y="2"/>
                  </a:lnTo>
                  <a:lnTo>
                    <a:pt x="6" y="0"/>
                  </a:lnTo>
                  <a:lnTo>
                    <a:pt x="0" y="2"/>
                  </a:lnTo>
                  <a:lnTo>
                    <a:pt x="0" y="6"/>
                  </a:lnTo>
                  <a:lnTo>
                    <a:pt x="0" y="8"/>
                  </a:lnTo>
                  <a:lnTo>
                    <a:pt x="2" y="8"/>
                  </a:lnTo>
                  <a:lnTo>
                    <a:pt x="8" y="6"/>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13" name="CustomShape 38"/>
            <p:cNvSpPr/>
            <p:nvPr/>
          </p:nvSpPr>
          <p:spPr>
            <a:xfrm>
              <a:off x="2220120" y="3983760"/>
              <a:ext cx="10080" cy="10080"/>
            </a:xfrm>
            <a:custGeom>
              <a:avLst/>
              <a:gdLst/>
              <a:ahLst/>
              <a:cxnLst/>
              <a:rect l="l" t="t" r="r" b="b"/>
              <a:pathLst>
                <a:path w="12" h="12">
                  <a:moveTo>
                    <a:pt x="10" y="10"/>
                  </a:moveTo>
                  <a:lnTo>
                    <a:pt x="12" y="8"/>
                  </a:lnTo>
                  <a:lnTo>
                    <a:pt x="12" y="6"/>
                  </a:lnTo>
                  <a:lnTo>
                    <a:pt x="10" y="2"/>
                  </a:lnTo>
                  <a:lnTo>
                    <a:pt x="8" y="0"/>
                  </a:lnTo>
                  <a:lnTo>
                    <a:pt x="0" y="4"/>
                  </a:lnTo>
                  <a:lnTo>
                    <a:pt x="4" y="10"/>
                  </a:lnTo>
                  <a:lnTo>
                    <a:pt x="6" y="12"/>
                  </a:lnTo>
                  <a:lnTo>
                    <a:pt x="8" y="12"/>
                  </a:lnTo>
                  <a:lnTo>
                    <a:pt x="10" y="10"/>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14" name="CustomShape 39"/>
            <p:cNvSpPr/>
            <p:nvPr/>
          </p:nvSpPr>
          <p:spPr>
            <a:xfrm>
              <a:off x="2155680" y="3943080"/>
              <a:ext cx="7920" cy="32040"/>
            </a:xfrm>
            <a:custGeom>
              <a:avLst/>
              <a:gdLst/>
              <a:ahLst/>
              <a:cxnLst/>
              <a:rect l="l" t="t" r="r" b="b"/>
              <a:pathLst>
                <a:path w="10" h="34">
                  <a:moveTo>
                    <a:pt x="10" y="32"/>
                  </a:moveTo>
                  <a:lnTo>
                    <a:pt x="10" y="32"/>
                  </a:lnTo>
                  <a:lnTo>
                    <a:pt x="10" y="2"/>
                  </a:lnTo>
                  <a:lnTo>
                    <a:pt x="8" y="0"/>
                  </a:lnTo>
                  <a:lnTo>
                    <a:pt x="0" y="0"/>
                  </a:lnTo>
                  <a:lnTo>
                    <a:pt x="0" y="10"/>
                  </a:lnTo>
                  <a:lnTo>
                    <a:pt x="0" y="18"/>
                  </a:lnTo>
                  <a:lnTo>
                    <a:pt x="0" y="24"/>
                  </a:lnTo>
                  <a:lnTo>
                    <a:pt x="2" y="30"/>
                  </a:lnTo>
                  <a:lnTo>
                    <a:pt x="4" y="32"/>
                  </a:lnTo>
                  <a:lnTo>
                    <a:pt x="8" y="34"/>
                  </a:lnTo>
                  <a:lnTo>
                    <a:pt x="10" y="32"/>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15" name="CustomShape 40"/>
            <p:cNvSpPr/>
            <p:nvPr/>
          </p:nvSpPr>
          <p:spPr>
            <a:xfrm>
              <a:off x="2198160" y="3906720"/>
              <a:ext cx="70560" cy="76680"/>
            </a:xfrm>
            <a:custGeom>
              <a:avLst/>
              <a:gdLst/>
              <a:ahLst/>
              <a:cxnLst/>
              <a:rect l="l" t="t" r="r" b="b"/>
              <a:pathLst>
                <a:path w="72" h="78">
                  <a:moveTo>
                    <a:pt x="42" y="22"/>
                  </a:moveTo>
                  <a:lnTo>
                    <a:pt x="40" y="12"/>
                  </a:lnTo>
                  <a:lnTo>
                    <a:pt x="34" y="4"/>
                  </a:lnTo>
                  <a:lnTo>
                    <a:pt x="30" y="0"/>
                  </a:lnTo>
                  <a:lnTo>
                    <a:pt x="28" y="2"/>
                  </a:lnTo>
                  <a:lnTo>
                    <a:pt x="26" y="10"/>
                  </a:lnTo>
                  <a:lnTo>
                    <a:pt x="10" y="14"/>
                  </a:lnTo>
                  <a:lnTo>
                    <a:pt x="10" y="16"/>
                  </a:lnTo>
                  <a:lnTo>
                    <a:pt x="12" y="20"/>
                  </a:lnTo>
                  <a:lnTo>
                    <a:pt x="12" y="22"/>
                  </a:lnTo>
                  <a:lnTo>
                    <a:pt x="10" y="24"/>
                  </a:lnTo>
                  <a:lnTo>
                    <a:pt x="8" y="24"/>
                  </a:lnTo>
                  <a:lnTo>
                    <a:pt x="4" y="22"/>
                  </a:lnTo>
                  <a:lnTo>
                    <a:pt x="2" y="26"/>
                  </a:lnTo>
                  <a:lnTo>
                    <a:pt x="0" y="28"/>
                  </a:lnTo>
                  <a:lnTo>
                    <a:pt x="2" y="32"/>
                  </a:lnTo>
                  <a:lnTo>
                    <a:pt x="6" y="38"/>
                  </a:lnTo>
                  <a:lnTo>
                    <a:pt x="22" y="42"/>
                  </a:lnTo>
                  <a:lnTo>
                    <a:pt x="26" y="54"/>
                  </a:lnTo>
                  <a:lnTo>
                    <a:pt x="30" y="58"/>
                  </a:lnTo>
                  <a:lnTo>
                    <a:pt x="34" y="60"/>
                  </a:lnTo>
                  <a:lnTo>
                    <a:pt x="40" y="60"/>
                  </a:lnTo>
                  <a:lnTo>
                    <a:pt x="48" y="58"/>
                  </a:lnTo>
                  <a:lnTo>
                    <a:pt x="50" y="76"/>
                  </a:lnTo>
                  <a:lnTo>
                    <a:pt x="52" y="78"/>
                  </a:lnTo>
                  <a:lnTo>
                    <a:pt x="54" y="76"/>
                  </a:lnTo>
                  <a:lnTo>
                    <a:pt x="56" y="74"/>
                  </a:lnTo>
                  <a:lnTo>
                    <a:pt x="64" y="64"/>
                  </a:lnTo>
                  <a:lnTo>
                    <a:pt x="70" y="58"/>
                  </a:lnTo>
                  <a:lnTo>
                    <a:pt x="72" y="56"/>
                  </a:lnTo>
                  <a:lnTo>
                    <a:pt x="72" y="52"/>
                  </a:lnTo>
                  <a:lnTo>
                    <a:pt x="70" y="50"/>
                  </a:lnTo>
                  <a:lnTo>
                    <a:pt x="58" y="50"/>
                  </a:lnTo>
                  <a:lnTo>
                    <a:pt x="46" y="48"/>
                  </a:lnTo>
                  <a:lnTo>
                    <a:pt x="44" y="46"/>
                  </a:lnTo>
                  <a:lnTo>
                    <a:pt x="42" y="44"/>
                  </a:lnTo>
                  <a:lnTo>
                    <a:pt x="42" y="40"/>
                  </a:lnTo>
                  <a:lnTo>
                    <a:pt x="40" y="34"/>
                  </a:lnTo>
                  <a:lnTo>
                    <a:pt x="42" y="26"/>
                  </a:lnTo>
                  <a:lnTo>
                    <a:pt x="42" y="22"/>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16" name="CustomShape 41"/>
            <p:cNvSpPr/>
            <p:nvPr/>
          </p:nvSpPr>
          <p:spPr>
            <a:xfrm>
              <a:off x="2149560" y="3906720"/>
              <a:ext cx="24120" cy="16200"/>
            </a:xfrm>
            <a:custGeom>
              <a:avLst/>
              <a:gdLst/>
              <a:ahLst/>
              <a:cxnLst/>
              <a:rect l="l" t="t" r="r" b="b"/>
              <a:pathLst>
                <a:path w="26" h="18">
                  <a:moveTo>
                    <a:pt x="20" y="0"/>
                  </a:moveTo>
                  <a:lnTo>
                    <a:pt x="16" y="2"/>
                  </a:lnTo>
                  <a:lnTo>
                    <a:pt x="12" y="2"/>
                  </a:lnTo>
                  <a:lnTo>
                    <a:pt x="8" y="4"/>
                  </a:lnTo>
                  <a:lnTo>
                    <a:pt x="4" y="2"/>
                  </a:lnTo>
                  <a:lnTo>
                    <a:pt x="2" y="4"/>
                  </a:lnTo>
                  <a:lnTo>
                    <a:pt x="0" y="6"/>
                  </a:lnTo>
                  <a:lnTo>
                    <a:pt x="0" y="8"/>
                  </a:lnTo>
                  <a:lnTo>
                    <a:pt x="0" y="10"/>
                  </a:lnTo>
                  <a:lnTo>
                    <a:pt x="12" y="18"/>
                  </a:lnTo>
                  <a:lnTo>
                    <a:pt x="22" y="18"/>
                  </a:lnTo>
                  <a:lnTo>
                    <a:pt x="26" y="6"/>
                  </a:lnTo>
                  <a:lnTo>
                    <a:pt x="20" y="0"/>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17" name="CustomShape 42"/>
            <p:cNvSpPr/>
            <p:nvPr/>
          </p:nvSpPr>
          <p:spPr>
            <a:xfrm>
              <a:off x="2175840" y="3803760"/>
              <a:ext cx="58320" cy="92880"/>
            </a:xfrm>
            <a:custGeom>
              <a:avLst/>
              <a:gdLst/>
              <a:ahLst/>
              <a:cxnLst/>
              <a:rect l="l" t="t" r="r" b="b"/>
              <a:pathLst>
                <a:path w="60" h="94">
                  <a:moveTo>
                    <a:pt x="60" y="18"/>
                  </a:moveTo>
                  <a:lnTo>
                    <a:pt x="60" y="8"/>
                  </a:lnTo>
                  <a:lnTo>
                    <a:pt x="58" y="2"/>
                  </a:lnTo>
                  <a:lnTo>
                    <a:pt x="58" y="0"/>
                  </a:lnTo>
                  <a:lnTo>
                    <a:pt x="54" y="2"/>
                  </a:lnTo>
                  <a:lnTo>
                    <a:pt x="38" y="14"/>
                  </a:lnTo>
                  <a:lnTo>
                    <a:pt x="24" y="22"/>
                  </a:lnTo>
                  <a:lnTo>
                    <a:pt x="22" y="26"/>
                  </a:lnTo>
                  <a:lnTo>
                    <a:pt x="22" y="28"/>
                  </a:lnTo>
                  <a:lnTo>
                    <a:pt x="26" y="38"/>
                  </a:lnTo>
                  <a:lnTo>
                    <a:pt x="26" y="38"/>
                  </a:lnTo>
                  <a:lnTo>
                    <a:pt x="20" y="38"/>
                  </a:lnTo>
                  <a:lnTo>
                    <a:pt x="14" y="40"/>
                  </a:lnTo>
                  <a:lnTo>
                    <a:pt x="10" y="36"/>
                  </a:lnTo>
                  <a:lnTo>
                    <a:pt x="6" y="34"/>
                  </a:lnTo>
                  <a:lnTo>
                    <a:pt x="6" y="34"/>
                  </a:lnTo>
                  <a:lnTo>
                    <a:pt x="4" y="38"/>
                  </a:lnTo>
                  <a:lnTo>
                    <a:pt x="2" y="40"/>
                  </a:lnTo>
                  <a:lnTo>
                    <a:pt x="0" y="46"/>
                  </a:lnTo>
                  <a:lnTo>
                    <a:pt x="2" y="50"/>
                  </a:lnTo>
                  <a:lnTo>
                    <a:pt x="2" y="52"/>
                  </a:lnTo>
                  <a:lnTo>
                    <a:pt x="4" y="54"/>
                  </a:lnTo>
                  <a:lnTo>
                    <a:pt x="6" y="56"/>
                  </a:lnTo>
                  <a:lnTo>
                    <a:pt x="8" y="56"/>
                  </a:lnTo>
                  <a:lnTo>
                    <a:pt x="4" y="60"/>
                  </a:lnTo>
                  <a:lnTo>
                    <a:pt x="4" y="62"/>
                  </a:lnTo>
                  <a:lnTo>
                    <a:pt x="6" y="66"/>
                  </a:lnTo>
                  <a:lnTo>
                    <a:pt x="16" y="70"/>
                  </a:lnTo>
                  <a:lnTo>
                    <a:pt x="16" y="72"/>
                  </a:lnTo>
                  <a:lnTo>
                    <a:pt x="10" y="76"/>
                  </a:lnTo>
                  <a:lnTo>
                    <a:pt x="10" y="80"/>
                  </a:lnTo>
                  <a:lnTo>
                    <a:pt x="2" y="86"/>
                  </a:lnTo>
                  <a:lnTo>
                    <a:pt x="6" y="92"/>
                  </a:lnTo>
                  <a:lnTo>
                    <a:pt x="8" y="94"/>
                  </a:lnTo>
                  <a:lnTo>
                    <a:pt x="10" y="94"/>
                  </a:lnTo>
                  <a:lnTo>
                    <a:pt x="14" y="90"/>
                  </a:lnTo>
                  <a:lnTo>
                    <a:pt x="16" y="84"/>
                  </a:lnTo>
                  <a:lnTo>
                    <a:pt x="20" y="84"/>
                  </a:lnTo>
                  <a:lnTo>
                    <a:pt x="28" y="74"/>
                  </a:lnTo>
                  <a:lnTo>
                    <a:pt x="34" y="70"/>
                  </a:lnTo>
                  <a:lnTo>
                    <a:pt x="44" y="60"/>
                  </a:lnTo>
                  <a:lnTo>
                    <a:pt x="46" y="58"/>
                  </a:lnTo>
                  <a:lnTo>
                    <a:pt x="46" y="54"/>
                  </a:lnTo>
                  <a:lnTo>
                    <a:pt x="44" y="52"/>
                  </a:lnTo>
                  <a:lnTo>
                    <a:pt x="36" y="52"/>
                  </a:lnTo>
                  <a:lnTo>
                    <a:pt x="46" y="44"/>
                  </a:lnTo>
                  <a:lnTo>
                    <a:pt x="48" y="40"/>
                  </a:lnTo>
                  <a:lnTo>
                    <a:pt x="52" y="38"/>
                  </a:lnTo>
                  <a:lnTo>
                    <a:pt x="60" y="18"/>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18" name="CustomShape 43"/>
            <p:cNvSpPr/>
            <p:nvPr/>
          </p:nvSpPr>
          <p:spPr>
            <a:xfrm>
              <a:off x="2240280" y="3785760"/>
              <a:ext cx="519120" cy="981720"/>
            </a:xfrm>
            <a:custGeom>
              <a:avLst/>
              <a:gdLst/>
              <a:ahLst/>
              <a:cxnLst/>
              <a:rect l="l" t="t" r="r" b="b"/>
              <a:pathLst>
                <a:path w="516" h="974">
                  <a:moveTo>
                    <a:pt x="198" y="16"/>
                  </a:moveTo>
                  <a:lnTo>
                    <a:pt x="202" y="6"/>
                  </a:lnTo>
                  <a:lnTo>
                    <a:pt x="202" y="4"/>
                  </a:lnTo>
                  <a:lnTo>
                    <a:pt x="202" y="2"/>
                  </a:lnTo>
                  <a:lnTo>
                    <a:pt x="188" y="0"/>
                  </a:lnTo>
                  <a:lnTo>
                    <a:pt x="176" y="4"/>
                  </a:lnTo>
                  <a:lnTo>
                    <a:pt x="162" y="4"/>
                  </a:lnTo>
                  <a:lnTo>
                    <a:pt x="150" y="8"/>
                  </a:lnTo>
                  <a:lnTo>
                    <a:pt x="128" y="12"/>
                  </a:lnTo>
                  <a:lnTo>
                    <a:pt x="112" y="16"/>
                  </a:lnTo>
                  <a:lnTo>
                    <a:pt x="108" y="10"/>
                  </a:lnTo>
                  <a:lnTo>
                    <a:pt x="104" y="10"/>
                  </a:lnTo>
                  <a:lnTo>
                    <a:pt x="96" y="16"/>
                  </a:lnTo>
                  <a:lnTo>
                    <a:pt x="92" y="16"/>
                  </a:lnTo>
                  <a:lnTo>
                    <a:pt x="90" y="12"/>
                  </a:lnTo>
                  <a:lnTo>
                    <a:pt x="86" y="10"/>
                  </a:lnTo>
                  <a:lnTo>
                    <a:pt x="80" y="8"/>
                  </a:lnTo>
                  <a:lnTo>
                    <a:pt x="76" y="8"/>
                  </a:lnTo>
                  <a:lnTo>
                    <a:pt x="74" y="10"/>
                  </a:lnTo>
                  <a:lnTo>
                    <a:pt x="70" y="16"/>
                  </a:lnTo>
                  <a:lnTo>
                    <a:pt x="70" y="20"/>
                  </a:lnTo>
                  <a:lnTo>
                    <a:pt x="70" y="28"/>
                  </a:lnTo>
                  <a:lnTo>
                    <a:pt x="68" y="32"/>
                  </a:lnTo>
                  <a:lnTo>
                    <a:pt x="70" y="38"/>
                  </a:lnTo>
                  <a:lnTo>
                    <a:pt x="72" y="44"/>
                  </a:lnTo>
                  <a:lnTo>
                    <a:pt x="74" y="48"/>
                  </a:lnTo>
                  <a:lnTo>
                    <a:pt x="70" y="50"/>
                  </a:lnTo>
                  <a:lnTo>
                    <a:pt x="56" y="50"/>
                  </a:lnTo>
                  <a:lnTo>
                    <a:pt x="52" y="50"/>
                  </a:lnTo>
                  <a:lnTo>
                    <a:pt x="50" y="54"/>
                  </a:lnTo>
                  <a:lnTo>
                    <a:pt x="52" y="58"/>
                  </a:lnTo>
                  <a:lnTo>
                    <a:pt x="52" y="62"/>
                  </a:lnTo>
                  <a:lnTo>
                    <a:pt x="48" y="72"/>
                  </a:lnTo>
                  <a:lnTo>
                    <a:pt x="48" y="76"/>
                  </a:lnTo>
                  <a:lnTo>
                    <a:pt x="62" y="92"/>
                  </a:lnTo>
                  <a:lnTo>
                    <a:pt x="64" y="96"/>
                  </a:lnTo>
                  <a:lnTo>
                    <a:pt x="56" y="92"/>
                  </a:lnTo>
                  <a:lnTo>
                    <a:pt x="54" y="92"/>
                  </a:lnTo>
                  <a:lnTo>
                    <a:pt x="52" y="96"/>
                  </a:lnTo>
                  <a:lnTo>
                    <a:pt x="34" y="96"/>
                  </a:lnTo>
                  <a:lnTo>
                    <a:pt x="30" y="102"/>
                  </a:lnTo>
                  <a:lnTo>
                    <a:pt x="28" y="108"/>
                  </a:lnTo>
                  <a:lnTo>
                    <a:pt x="26" y="122"/>
                  </a:lnTo>
                  <a:lnTo>
                    <a:pt x="26" y="124"/>
                  </a:lnTo>
                  <a:lnTo>
                    <a:pt x="28" y="130"/>
                  </a:lnTo>
                  <a:lnTo>
                    <a:pt x="30" y="134"/>
                  </a:lnTo>
                  <a:lnTo>
                    <a:pt x="36" y="136"/>
                  </a:lnTo>
                  <a:lnTo>
                    <a:pt x="28" y="138"/>
                  </a:lnTo>
                  <a:lnTo>
                    <a:pt x="24" y="142"/>
                  </a:lnTo>
                  <a:lnTo>
                    <a:pt x="22" y="146"/>
                  </a:lnTo>
                  <a:lnTo>
                    <a:pt x="20" y="150"/>
                  </a:lnTo>
                  <a:lnTo>
                    <a:pt x="22" y="156"/>
                  </a:lnTo>
                  <a:lnTo>
                    <a:pt x="32" y="162"/>
                  </a:lnTo>
                  <a:lnTo>
                    <a:pt x="32" y="168"/>
                  </a:lnTo>
                  <a:lnTo>
                    <a:pt x="38" y="174"/>
                  </a:lnTo>
                  <a:lnTo>
                    <a:pt x="36" y="190"/>
                  </a:lnTo>
                  <a:lnTo>
                    <a:pt x="26" y="208"/>
                  </a:lnTo>
                  <a:lnTo>
                    <a:pt x="18" y="212"/>
                  </a:lnTo>
                  <a:lnTo>
                    <a:pt x="18" y="214"/>
                  </a:lnTo>
                  <a:lnTo>
                    <a:pt x="26" y="220"/>
                  </a:lnTo>
                  <a:lnTo>
                    <a:pt x="16" y="228"/>
                  </a:lnTo>
                  <a:lnTo>
                    <a:pt x="6" y="230"/>
                  </a:lnTo>
                  <a:lnTo>
                    <a:pt x="0" y="236"/>
                  </a:lnTo>
                  <a:lnTo>
                    <a:pt x="0" y="238"/>
                  </a:lnTo>
                  <a:lnTo>
                    <a:pt x="6" y="240"/>
                  </a:lnTo>
                  <a:lnTo>
                    <a:pt x="10" y="240"/>
                  </a:lnTo>
                  <a:lnTo>
                    <a:pt x="14" y="250"/>
                  </a:lnTo>
                  <a:lnTo>
                    <a:pt x="18" y="256"/>
                  </a:lnTo>
                  <a:lnTo>
                    <a:pt x="24" y="258"/>
                  </a:lnTo>
                  <a:lnTo>
                    <a:pt x="32" y="258"/>
                  </a:lnTo>
                  <a:lnTo>
                    <a:pt x="38" y="254"/>
                  </a:lnTo>
                  <a:lnTo>
                    <a:pt x="60" y="232"/>
                  </a:lnTo>
                  <a:lnTo>
                    <a:pt x="62" y="232"/>
                  </a:lnTo>
                  <a:lnTo>
                    <a:pt x="58" y="240"/>
                  </a:lnTo>
                  <a:lnTo>
                    <a:pt x="54" y="248"/>
                  </a:lnTo>
                  <a:lnTo>
                    <a:pt x="52" y="256"/>
                  </a:lnTo>
                  <a:lnTo>
                    <a:pt x="48" y="260"/>
                  </a:lnTo>
                  <a:lnTo>
                    <a:pt x="46" y="272"/>
                  </a:lnTo>
                  <a:lnTo>
                    <a:pt x="42" y="280"/>
                  </a:lnTo>
                  <a:lnTo>
                    <a:pt x="40" y="292"/>
                  </a:lnTo>
                  <a:lnTo>
                    <a:pt x="38" y="306"/>
                  </a:lnTo>
                  <a:lnTo>
                    <a:pt x="34" y="314"/>
                  </a:lnTo>
                  <a:lnTo>
                    <a:pt x="34" y="344"/>
                  </a:lnTo>
                  <a:lnTo>
                    <a:pt x="34" y="344"/>
                  </a:lnTo>
                  <a:lnTo>
                    <a:pt x="36" y="346"/>
                  </a:lnTo>
                  <a:lnTo>
                    <a:pt x="42" y="344"/>
                  </a:lnTo>
                  <a:lnTo>
                    <a:pt x="42" y="344"/>
                  </a:lnTo>
                  <a:lnTo>
                    <a:pt x="34" y="354"/>
                  </a:lnTo>
                  <a:lnTo>
                    <a:pt x="32" y="360"/>
                  </a:lnTo>
                  <a:lnTo>
                    <a:pt x="30" y="366"/>
                  </a:lnTo>
                  <a:lnTo>
                    <a:pt x="24" y="386"/>
                  </a:lnTo>
                  <a:lnTo>
                    <a:pt x="24" y="392"/>
                  </a:lnTo>
                  <a:lnTo>
                    <a:pt x="24" y="396"/>
                  </a:lnTo>
                  <a:lnTo>
                    <a:pt x="26" y="398"/>
                  </a:lnTo>
                  <a:lnTo>
                    <a:pt x="32" y="400"/>
                  </a:lnTo>
                  <a:lnTo>
                    <a:pt x="34" y="400"/>
                  </a:lnTo>
                  <a:lnTo>
                    <a:pt x="36" y="396"/>
                  </a:lnTo>
                  <a:lnTo>
                    <a:pt x="38" y="392"/>
                  </a:lnTo>
                  <a:lnTo>
                    <a:pt x="50" y="348"/>
                  </a:lnTo>
                  <a:lnTo>
                    <a:pt x="50" y="342"/>
                  </a:lnTo>
                  <a:lnTo>
                    <a:pt x="46" y="326"/>
                  </a:lnTo>
                  <a:lnTo>
                    <a:pt x="46" y="324"/>
                  </a:lnTo>
                  <a:lnTo>
                    <a:pt x="48" y="322"/>
                  </a:lnTo>
                  <a:lnTo>
                    <a:pt x="50" y="318"/>
                  </a:lnTo>
                  <a:lnTo>
                    <a:pt x="56" y="310"/>
                  </a:lnTo>
                  <a:lnTo>
                    <a:pt x="68" y="298"/>
                  </a:lnTo>
                  <a:lnTo>
                    <a:pt x="74" y="294"/>
                  </a:lnTo>
                  <a:lnTo>
                    <a:pt x="62" y="308"/>
                  </a:lnTo>
                  <a:lnTo>
                    <a:pt x="60" y="314"/>
                  </a:lnTo>
                  <a:lnTo>
                    <a:pt x="58" y="322"/>
                  </a:lnTo>
                  <a:lnTo>
                    <a:pt x="58" y="330"/>
                  </a:lnTo>
                  <a:lnTo>
                    <a:pt x="60" y="334"/>
                  </a:lnTo>
                  <a:lnTo>
                    <a:pt x="60" y="334"/>
                  </a:lnTo>
                  <a:lnTo>
                    <a:pt x="62" y="330"/>
                  </a:lnTo>
                  <a:lnTo>
                    <a:pt x="66" y="328"/>
                  </a:lnTo>
                  <a:lnTo>
                    <a:pt x="66" y="328"/>
                  </a:lnTo>
                  <a:lnTo>
                    <a:pt x="68" y="322"/>
                  </a:lnTo>
                  <a:lnTo>
                    <a:pt x="76" y="320"/>
                  </a:lnTo>
                  <a:lnTo>
                    <a:pt x="80" y="318"/>
                  </a:lnTo>
                  <a:lnTo>
                    <a:pt x="84" y="308"/>
                  </a:lnTo>
                  <a:lnTo>
                    <a:pt x="86" y="304"/>
                  </a:lnTo>
                  <a:lnTo>
                    <a:pt x="88" y="302"/>
                  </a:lnTo>
                  <a:lnTo>
                    <a:pt x="84" y="312"/>
                  </a:lnTo>
                  <a:lnTo>
                    <a:pt x="84" y="316"/>
                  </a:lnTo>
                  <a:lnTo>
                    <a:pt x="96" y="326"/>
                  </a:lnTo>
                  <a:lnTo>
                    <a:pt x="102" y="328"/>
                  </a:lnTo>
                  <a:lnTo>
                    <a:pt x="88" y="328"/>
                  </a:lnTo>
                  <a:lnTo>
                    <a:pt x="86" y="330"/>
                  </a:lnTo>
                  <a:lnTo>
                    <a:pt x="82" y="336"/>
                  </a:lnTo>
                  <a:lnTo>
                    <a:pt x="82" y="346"/>
                  </a:lnTo>
                  <a:lnTo>
                    <a:pt x="82" y="356"/>
                  </a:lnTo>
                  <a:lnTo>
                    <a:pt x="92" y="368"/>
                  </a:lnTo>
                  <a:lnTo>
                    <a:pt x="96" y="374"/>
                  </a:lnTo>
                  <a:lnTo>
                    <a:pt x="96" y="380"/>
                  </a:lnTo>
                  <a:lnTo>
                    <a:pt x="92" y="388"/>
                  </a:lnTo>
                  <a:lnTo>
                    <a:pt x="88" y="396"/>
                  </a:lnTo>
                  <a:lnTo>
                    <a:pt x="76" y="420"/>
                  </a:lnTo>
                  <a:lnTo>
                    <a:pt x="70" y="438"/>
                  </a:lnTo>
                  <a:lnTo>
                    <a:pt x="66" y="436"/>
                  </a:lnTo>
                  <a:lnTo>
                    <a:pt x="64" y="438"/>
                  </a:lnTo>
                  <a:lnTo>
                    <a:pt x="64" y="446"/>
                  </a:lnTo>
                  <a:lnTo>
                    <a:pt x="66" y="454"/>
                  </a:lnTo>
                  <a:lnTo>
                    <a:pt x="72" y="464"/>
                  </a:lnTo>
                  <a:lnTo>
                    <a:pt x="80" y="472"/>
                  </a:lnTo>
                  <a:lnTo>
                    <a:pt x="82" y="464"/>
                  </a:lnTo>
                  <a:lnTo>
                    <a:pt x="84" y="456"/>
                  </a:lnTo>
                  <a:lnTo>
                    <a:pt x="86" y="454"/>
                  </a:lnTo>
                  <a:lnTo>
                    <a:pt x="98" y="462"/>
                  </a:lnTo>
                  <a:lnTo>
                    <a:pt x="106" y="464"/>
                  </a:lnTo>
                  <a:lnTo>
                    <a:pt x="114" y="462"/>
                  </a:lnTo>
                  <a:lnTo>
                    <a:pt x="120" y="456"/>
                  </a:lnTo>
                  <a:lnTo>
                    <a:pt x="124" y="454"/>
                  </a:lnTo>
                  <a:lnTo>
                    <a:pt x="126" y="456"/>
                  </a:lnTo>
                  <a:lnTo>
                    <a:pt x="128" y="460"/>
                  </a:lnTo>
                  <a:lnTo>
                    <a:pt x="132" y="462"/>
                  </a:lnTo>
                  <a:lnTo>
                    <a:pt x="136" y="462"/>
                  </a:lnTo>
                  <a:lnTo>
                    <a:pt x="142" y="462"/>
                  </a:lnTo>
                  <a:lnTo>
                    <a:pt x="146" y="460"/>
                  </a:lnTo>
                  <a:lnTo>
                    <a:pt x="150" y="456"/>
                  </a:lnTo>
                  <a:lnTo>
                    <a:pt x="154" y="452"/>
                  </a:lnTo>
                  <a:lnTo>
                    <a:pt x="158" y="452"/>
                  </a:lnTo>
                  <a:lnTo>
                    <a:pt x="162" y="450"/>
                  </a:lnTo>
                  <a:lnTo>
                    <a:pt x="170" y="442"/>
                  </a:lnTo>
                  <a:lnTo>
                    <a:pt x="178" y="442"/>
                  </a:lnTo>
                  <a:lnTo>
                    <a:pt x="200" y="442"/>
                  </a:lnTo>
                  <a:lnTo>
                    <a:pt x="204" y="442"/>
                  </a:lnTo>
                  <a:lnTo>
                    <a:pt x="188" y="448"/>
                  </a:lnTo>
                  <a:lnTo>
                    <a:pt x="174" y="462"/>
                  </a:lnTo>
                  <a:lnTo>
                    <a:pt x="166" y="486"/>
                  </a:lnTo>
                  <a:lnTo>
                    <a:pt x="168" y="498"/>
                  </a:lnTo>
                  <a:lnTo>
                    <a:pt x="178" y="516"/>
                  </a:lnTo>
                  <a:lnTo>
                    <a:pt x="184" y="524"/>
                  </a:lnTo>
                  <a:lnTo>
                    <a:pt x="194" y="536"/>
                  </a:lnTo>
                  <a:lnTo>
                    <a:pt x="198" y="536"/>
                  </a:lnTo>
                  <a:lnTo>
                    <a:pt x="202" y="532"/>
                  </a:lnTo>
                  <a:lnTo>
                    <a:pt x="206" y="530"/>
                  </a:lnTo>
                  <a:lnTo>
                    <a:pt x="214" y="530"/>
                  </a:lnTo>
                  <a:lnTo>
                    <a:pt x="216" y="534"/>
                  </a:lnTo>
                  <a:lnTo>
                    <a:pt x="214" y="546"/>
                  </a:lnTo>
                  <a:lnTo>
                    <a:pt x="212" y="554"/>
                  </a:lnTo>
                  <a:lnTo>
                    <a:pt x="204" y="560"/>
                  </a:lnTo>
                  <a:lnTo>
                    <a:pt x="202" y="568"/>
                  </a:lnTo>
                  <a:lnTo>
                    <a:pt x="204" y="576"/>
                  </a:lnTo>
                  <a:lnTo>
                    <a:pt x="206" y="578"/>
                  </a:lnTo>
                  <a:lnTo>
                    <a:pt x="210" y="580"/>
                  </a:lnTo>
                  <a:lnTo>
                    <a:pt x="206" y="588"/>
                  </a:lnTo>
                  <a:lnTo>
                    <a:pt x="202" y="596"/>
                  </a:lnTo>
                  <a:lnTo>
                    <a:pt x="202" y="604"/>
                  </a:lnTo>
                  <a:lnTo>
                    <a:pt x="208" y="618"/>
                  </a:lnTo>
                  <a:lnTo>
                    <a:pt x="212" y="622"/>
                  </a:lnTo>
                  <a:lnTo>
                    <a:pt x="216" y="624"/>
                  </a:lnTo>
                  <a:lnTo>
                    <a:pt x="220" y="624"/>
                  </a:lnTo>
                  <a:lnTo>
                    <a:pt x="222" y="626"/>
                  </a:lnTo>
                  <a:lnTo>
                    <a:pt x="214" y="628"/>
                  </a:lnTo>
                  <a:lnTo>
                    <a:pt x="210" y="626"/>
                  </a:lnTo>
                  <a:lnTo>
                    <a:pt x="202" y="614"/>
                  </a:lnTo>
                  <a:lnTo>
                    <a:pt x="194" y="618"/>
                  </a:lnTo>
                  <a:lnTo>
                    <a:pt x="198" y="632"/>
                  </a:lnTo>
                  <a:lnTo>
                    <a:pt x="184" y="622"/>
                  </a:lnTo>
                  <a:lnTo>
                    <a:pt x="178" y="622"/>
                  </a:lnTo>
                  <a:lnTo>
                    <a:pt x="170" y="626"/>
                  </a:lnTo>
                  <a:lnTo>
                    <a:pt x="164" y="628"/>
                  </a:lnTo>
                  <a:lnTo>
                    <a:pt x="156" y="626"/>
                  </a:lnTo>
                  <a:lnTo>
                    <a:pt x="152" y="628"/>
                  </a:lnTo>
                  <a:lnTo>
                    <a:pt x="132" y="636"/>
                  </a:lnTo>
                  <a:lnTo>
                    <a:pt x="122" y="644"/>
                  </a:lnTo>
                  <a:lnTo>
                    <a:pt x="118" y="648"/>
                  </a:lnTo>
                  <a:lnTo>
                    <a:pt x="116" y="654"/>
                  </a:lnTo>
                  <a:lnTo>
                    <a:pt x="114" y="658"/>
                  </a:lnTo>
                  <a:lnTo>
                    <a:pt x="106" y="664"/>
                  </a:lnTo>
                  <a:lnTo>
                    <a:pt x="98" y="672"/>
                  </a:lnTo>
                  <a:lnTo>
                    <a:pt x="96" y="678"/>
                  </a:lnTo>
                  <a:lnTo>
                    <a:pt x="96" y="682"/>
                  </a:lnTo>
                  <a:lnTo>
                    <a:pt x="102" y="680"/>
                  </a:lnTo>
                  <a:lnTo>
                    <a:pt x="108" y="676"/>
                  </a:lnTo>
                  <a:lnTo>
                    <a:pt x="116" y="672"/>
                  </a:lnTo>
                  <a:lnTo>
                    <a:pt x="124" y="670"/>
                  </a:lnTo>
                  <a:lnTo>
                    <a:pt x="134" y="670"/>
                  </a:lnTo>
                  <a:lnTo>
                    <a:pt x="132" y="674"/>
                  </a:lnTo>
                  <a:lnTo>
                    <a:pt x="132" y="680"/>
                  </a:lnTo>
                  <a:lnTo>
                    <a:pt x="136" y="686"/>
                  </a:lnTo>
                  <a:lnTo>
                    <a:pt x="138" y="692"/>
                  </a:lnTo>
                  <a:lnTo>
                    <a:pt x="136" y="698"/>
                  </a:lnTo>
                  <a:lnTo>
                    <a:pt x="134" y="702"/>
                  </a:lnTo>
                  <a:lnTo>
                    <a:pt x="136" y="708"/>
                  </a:lnTo>
                  <a:lnTo>
                    <a:pt x="142" y="710"/>
                  </a:lnTo>
                  <a:lnTo>
                    <a:pt x="136" y="718"/>
                  </a:lnTo>
                  <a:lnTo>
                    <a:pt x="134" y="726"/>
                  </a:lnTo>
                  <a:lnTo>
                    <a:pt x="130" y="734"/>
                  </a:lnTo>
                  <a:lnTo>
                    <a:pt x="126" y="738"/>
                  </a:lnTo>
                  <a:lnTo>
                    <a:pt x="114" y="746"/>
                  </a:lnTo>
                  <a:lnTo>
                    <a:pt x="104" y="752"/>
                  </a:lnTo>
                  <a:lnTo>
                    <a:pt x="82" y="764"/>
                  </a:lnTo>
                  <a:lnTo>
                    <a:pt x="68" y="768"/>
                  </a:lnTo>
                  <a:lnTo>
                    <a:pt x="62" y="774"/>
                  </a:lnTo>
                  <a:lnTo>
                    <a:pt x="58" y="780"/>
                  </a:lnTo>
                  <a:lnTo>
                    <a:pt x="62" y="782"/>
                  </a:lnTo>
                  <a:lnTo>
                    <a:pt x="64" y="788"/>
                  </a:lnTo>
                  <a:lnTo>
                    <a:pt x="64" y="796"/>
                  </a:lnTo>
                  <a:lnTo>
                    <a:pt x="66" y="800"/>
                  </a:lnTo>
                  <a:lnTo>
                    <a:pt x="80" y="808"/>
                  </a:lnTo>
                  <a:lnTo>
                    <a:pt x="92" y="802"/>
                  </a:lnTo>
                  <a:lnTo>
                    <a:pt x="100" y="796"/>
                  </a:lnTo>
                  <a:lnTo>
                    <a:pt x="106" y="794"/>
                  </a:lnTo>
                  <a:lnTo>
                    <a:pt x="114" y="796"/>
                  </a:lnTo>
                  <a:lnTo>
                    <a:pt x="118" y="800"/>
                  </a:lnTo>
                  <a:lnTo>
                    <a:pt x="122" y="802"/>
                  </a:lnTo>
                  <a:lnTo>
                    <a:pt x="134" y="804"/>
                  </a:lnTo>
                  <a:lnTo>
                    <a:pt x="128" y="808"/>
                  </a:lnTo>
                  <a:lnTo>
                    <a:pt x="124" y="814"/>
                  </a:lnTo>
                  <a:lnTo>
                    <a:pt x="132" y="814"/>
                  </a:lnTo>
                  <a:lnTo>
                    <a:pt x="140" y="812"/>
                  </a:lnTo>
                  <a:lnTo>
                    <a:pt x="144" y="810"/>
                  </a:lnTo>
                  <a:lnTo>
                    <a:pt x="148" y="812"/>
                  </a:lnTo>
                  <a:lnTo>
                    <a:pt x="156" y="816"/>
                  </a:lnTo>
                  <a:lnTo>
                    <a:pt x="168" y="830"/>
                  </a:lnTo>
                  <a:lnTo>
                    <a:pt x="186" y="832"/>
                  </a:lnTo>
                  <a:lnTo>
                    <a:pt x="188" y="832"/>
                  </a:lnTo>
                  <a:lnTo>
                    <a:pt x="200" y="822"/>
                  </a:lnTo>
                  <a:lnTo>
                    <a:pt x="206" y="816"/>
                  </a:lnTo>
                  <a:lnTo>
                    <a:pt x="222" y="812"/>
                  </a:lnTo>
                  <a:lnTo>
                    <a:pt x="228" y="808"/>
                  </a:lnTo>
                  <a:lnTo>
                    <a:pt x="236" y="800"/>
                  </a:lnTo>
                  <a:lnTo>
                    <a:pt x="242" y="796"/>
                  </a:lnTo>
                  <a:lnTo>
                    <a:pt x="232" y="810"/>
                  </a:lnTo>
                  <a:lnTo>
                    <a:pt x="226" y="816"/>
                  </a:lnTo>
                  <a:lnTo>
                    <a:pt x="220" y="824"/>
                  </a:lnTo>
                  <a:lnTo>
                    <a:pt x="214" y="830"/>
                  </a:lnTo>
                  <a:lnTo>
                    <a:pt x="202" y="848"/>
                  </a:lnTo>
                  <a:lnTo>
                    <a:pt x="196" y="852"/>
                  </a:lnTo>
                  <a:lnTo>
                    <a:pt x="188" y="852"/>
                  </a:lnTo>
                  <a:lnTo>
                    <a:pt x="180" y="852"/>
                  </a:lnTo>
                  <a:lnTo>
                    <a:pt x="166" y="850"/>
                  </a:lnTo>
                  <a:lnTo>
                    <a:pt x="150" y="850"/>
                  </a:lnTo>
                  <a:lnTo>
                    <a:pt x="130" y="852"/>
                  </a:lnTo>
                  <a:lnTo>
                    <a:pt x="128" y="854"/>
                  </a:lnTo>
                  <a:lnTo>
                    <a:pt x="120" y="870"/>
                  </a:lnTo>
                  <a:lnTo>
                    <a:pt x="106" y="876"/>
                  </a:lnTo>
                  <a:lnTo>
                    <a:pt x="104" y="884"/>
                  </a:lnTo>
                  <a:lnTo>
                    <a:pt x="104" y="892"/>
                  </a:lnTo>
                  <a:lnTo>
                    <a:pt x="102" y="896"/>
                  </a:lnTo>
                  <a:lnTo>
                    <a:pt x="84" y="916"/>
                  </a:lnTo>
                  <a:lnTo>
                    <a:pt x="82" y="922"/>
                  </a:lnTo>
                  <a:lnTo>
                    <a:pt x="78" y="922"/>
                  </a:lnTo>
                  <a:lnTo>
                    <a:pt x="74" y="926"/>
                  </a:lnTo>
                  <a:lnTo>
                    <a:pt x="72" y="930"/>
                  </a:lnTo>
                  <a:lnTo>
                    <a:pt x="66" y="938"/>
                  </a:lnTo>
                  <a:lnTo>
                    <a:pt x="52" y="952"/>
                  </a:lnTo>
                  <a:lnTo>
                    <a:pt x="38" y="956"/>
                  </a:lnTo>
                  <a:lnTo>
                    <a:pt x="32" y="962"/>
                  </a:lnTo>
                  <a:lnTo>
                    <a:pt x="32" y="968"/>
                  </a:lnTo>
                  <a:lnTo>
                    <a:pt x="34" y="972"/>
                  </a:lnTo>
                  <a:lnTo>
                    <a:pt x="38" y="968"/>
                  </a:lnTo>
                  <a:lnTo>
                    <a:pt x="46" y="966"/>
                  </a:lnTo>
                  <a:lnTo>
                    <a:pt x="54" y="968"/>
                  </a:lnTo>
                  <a:lnTo>
                    <a:pt x="60" y="974"/>
                  </a:lnTo>
                  <a:lnTo>
                    <a:pt x="66" y="972"/>
                  </a:lnTo>
                  <a:lnTo>
                    <a:pt x="72" y="962"/>
                  </a:lnTo>
                  <a:lnTo>
                    <a:pt x="74" y="960"/>
                  </a:lnTo>
                  <a:lnTo>
                    <a:pt x="86" y="950"/>
                  </a:lnTo>
                  <a:lnTo>
                    <a:pt x="92" y="946"/>
                  </a:lnTo>
                  <a:lnTo>
                    <a:pt x="106" y="942"/>
                  </a:lnTo>
                  <a:lnTo>
                    <a:pt x="114" y="940"/>
                  </a:lnTo>
                  <a:lnTo>
                    <a:pt x="120" y="940"/>
                  </a:lnTo>
                  <a:lnTo>
                    <a:pt x="126" y="938"/>
                  </a:lnTo>
                  <a:lnTo>
                    <a:pt x="126" y="936"/>
                  </a:lnTo>
                  <a:lnTo>
                    <a:pt x="128" y="936"/>
                  </a:lnTo>
                  <a:lnTo>
                    <a:pt x="134" y="940"/>
                  </a:lnTo>
                  <a:lnTo>
                    <a:pt x="146" y="948"/>
                  </a:lnTo>
                  <a:lnTo>
                    <a:pt x="154" y="952"/>
                  </a:lnTo>
                  <a:lnTo>
                    <a:pt x="160" y="952"/>
                  </a:lnTo>
                  <a:lnTo>
                    <a:pt x="166" y="944"/>
                  </a:lnTo>
                  <a:lnTo>
                    <a:pt x="170" y="932"/>
                  </a:lnTo>
                  <a:lnTo>
                    <a:pt x="174" y="920"/>
                  </a:lnTo>
                  <a:lnTo>
                    <a:pt x="178" y="912"/>
                  </a:lnTo>
                  <a:lnTo>
                    <a:pt x="206" y="902"/>
                  </a:lnTo>
                  <a:lnTo>
                    <a:pt x="212" y="902"/>
                  </a:lnTo>
                  <a:lnTo>
                    <a:pt x="220" y="904"/>
                  </a:lnTo>
                  <a:lnTo>
                    <a:pt x="228" y="908"/>
                  </a:lnTo>
                  <a:lnTo>
                    <a:pt x="236" y="912"/>
                  </a:lnTo>
                  <a:lnTo>
                    <a:pt x="242" y="914"/>
                  </a:lnTo>
                  <a:lnTo>
                    <a:pt x="246" y="912"/>
                  </a:lnTo>
                  <a:lnTo>
                    <a:pt x="248" y="910"/>
                  </a:lnTo>
                  <a:lnTo>
                    <a:pt x="268" y="914"/>
                  </a:lnTo>
                  <a:lnTo>
                    <a:pt x="272" y="914"/>
                  </a:lnTo>
                  <a:lnTo>
                    <a:pt x="274" y="912"/>
                  </a:lnTo>
                  <a:lnTo>
                    <a:pt x="270" y="908"/>
                  </a:lnTo>
                  <a:lnTo>
                    <a:pt x="268" y="902"/>
                  </a:lnTo>
                  <a:lnTo>
                    <a:pt x="280" y="902"/>
                  </a:lnTo>
                  <a:lnTo>
                    <a:pt x="292" y="900"/>
                  </a:lnTo>
                  <a:lnTo>
                    <a:pt x="298" y="900"/>
                  </a:lnTo>
                  <a:lnTo>
                    <a:pt x="302" y="900"/>
                  </a:lnTo>
                  <a:lnTo>
                    <a:pt x="314" y="892"/>
                  </a:lnTo>
                  <a:lnTo>
                    <a:pt x="310" y="884"/>
                  </a:lnTo>
                  <a:lnTo>
                    <a:pt x="318" y="888"/>
                  </a:lnTo>
                  <a:lnTo>
                    <a:pt x="328" y="890"/>
                  </a:lnTo>
                  <a:lnTo>
                    <a:pt x="336" y="892"/>
                  </a:lnTo>
                  <a:lnTo>
                    <a:pt x="344" y="896"/>
                  </a:lnTo>
                  <a:lnTo>
                    <a:pt x="350" y="898"/>
                  </a:lnTo>
                  <a:lnTo>
                    <a:pt x="372" y="892"/>
                  </a:lnTo>
                  <a:lnTo>
                    <a:pt x="388" y="892"/>
                  </a:lnTo>
                  <a:lnTo>
                    <a:pt x="416" y="898"/>
                  </a:lnTo>
                  <a:lnTo>
                    <a:pt x="422" y="896"/>
                  </a:lnTo>
                  <a:lnTo>
                    <a:pt x="430" y="892"/>
                  </a:lnTo>
                  <a:lnTo>
                    <a:pt x="436" y="888"/>
                  </a:lnTo>
                  <a:lnTo>
                    <a:pt x="446" y="886"/>
                  </a:lnTo>
                  <a:lnTo>
                    <a:pt x="452" y="880"/>
                  </a:lnTo>
                  <a:lnTo>
                    <a:pt x="466" y="880"/>
                  </a:lnTo>
                  <a:lnTo>
                    <a:pt x="466" y="876"/>
                  </a:lnTo>
                  <a:lnTo>
                    <a:pt x="470" y="868"/>
                  </a:lnTo>
                  <a:lnTo>
                    <a:pt x="492" y="858"/>
                  </a:lnTo>
                  <a:lnTo>
                    <a:pt x="494" y="854"/>
                  </a:lnTo>
                  <a:lnTo>
                    <a:pt x="494" y="840"/>
                  </a:lnTo>
                  <a:lnTo>
                    <a:pt x="494" y="836"/>
                  </a:lnTo>
                  <a:lnTo>
                    <a:pt x="492" y="834"/>
                  </a:lnTo>
                  <a:lnTo>
                    <a:pt x="484" y="834"/>
                  </a:lnTo>
                  <a:lnTo>
                    <a:pt x="468" y="836"/>
                  </a:lnTo>
                  <a:lnTo>
                    <a:pt x="460" y="836"/>
                  </a:lnTo>
                  <a:lnTo>
                    <a:pt x="446" y="832"/>
                  </a:lnTo>
                  <a:lnTo>
                    <a:pt x="444" y="830"/>
                  </a:lnTo>
                  <a:lnTo>
                    <a:pt x="442" y="824"/>
                  </a:lnTo>
                  <a:lnTo>
                    <a:pt x="436" y="822"/>
                  </a:lnTo>
                  <a:lnTo>
                    <a:pt x="430" y="824"/>
                  </a:lnTo>
                  <a:lnTo>
                    <a:pt x="436" y="820"/>
                  </a:lnTo>
                  <a:lnTo>
                    <a:pt x="442" y="818"/>
                  </a:lnTo>
                  <a:lnTo>
                    <a:pt x="448" y="818"/>
                  </a:lnTo>
                  <a:lnTo>
                    <a:pt x="454" y="816"/>
                  </a:lnTo>
                  <a:lnTo>
                    <a:pt x="460" y="814"/>
                  </a:lnTo>
                  <a:lnTo>
                    <a:pt x="462" y="806"/>
                  </a:lnTo>
                  <a:lnTo>
                    <a:pt x="460" y="800"/>
                  </a:lnTo>
                  <a:lnTo>
                    <a:pt x="452" y="796"/>
                  </a:lnTo>
                  <a:lnTo>
                    <a:pt x="464" y="788"/>
                  </a:lnTo>
                  <a:lnTo>
                    <a:pt x="474" y="790"/>
                  </a:lnTo>
                  <a:lnTo>
                    <a:pt x="480" y="788"/>
                  </a:lnTo>
                  <a:lnTo>
                    <a:pt x="486" y="784"/>
                  </a:lnTo>
                  <a:lnTo>
                    <a:pt x="486" y="778"/>
                  </a:lnTo>
                  <a:lnTo>
                    <a:pt x="482" y="774"/>
                  </a:lnTo>
                  <a:lnTo>
                    <a:pt x="482" y="770"/>
                  </a:lnTo>
                  <a:lnTo>
                    <a:pt x="486" y="770"/>
                  </a:lnTo>
                  <a:lnTo>
                    <a:pt x="488" y="772"/>
                  </a:lnTo>
                  <a:lnTo>
                    <a:pt x="494" y="768"/>
                  </a:lnTo>
                  <a:lnTo>
                    <a:pt x="504" y="758"/>
                  </a:lnTo>
                  <a:lnTo>
                    <a:pt x="506" y="754"/>
                  </a:lnTo>
                  <a:lnTo>
                    <a:pt x="508" y="750"/>
                  </a:lnTo>
                  <a:lnTo>
                    <a:pt x="510" y="738"/>
                  </a:lnTo>
                  <a:lnTo>
                    <a:pt x="514" y="728"/>
                  </a:lnTo>
                  <a:lnTo>
                    <a:pt x="516" y="718"/>
                  </a:lnTo>
                  <a:lnTo>
                    <a:pt x="516" y="706"/>
                  </a:lnTo>
                  <a:lnTo>
                    <a:pt x="514" y="696"/>
                  </a:lnTo>
                  <a:lnTo>
                    <a:pt x="510" y="686"/>
                  </a:lnTo>
                  <a:lnTo>
                    <a:pt x="492" y="672"/>
                  </a:lnTo>
                  <a:lnTo>
                    <a:pt x="486" y="668"/>
                  </a:lnTo>
                  <a:lnTo>
                    <a:pt x="472" y="664"/>
                  </a:lnTo>
                  <a:lnTo>
                    <a:pt x="464" y="666"/>
                  </a:lnTo>
                  <a:lnTo>
                    <a:pt x="456" y="664"/>
                  </a:lnTo>
                  <a:lnTo>
                    <a:pt x="448" y="662"/>
                  </a:lnTo>
                  <a:lnTo>
                    <a:pt x="438" y="664"/>
                  </a:lnTo>
                  <a:lnTo>
                    <a:pt x="436" y="666"/>
                  </a:lnTo>
                  <a:lnTo>
                    <a:pt x="430" y="676"/>
                  </a:lnTo>
                  <a:lnTo>
                    <a:pt x="428" y="680"/>
                  </a:lnTo>
                  <a:lnTo>
                    <a:pt x="424" y="680"/>
                  </a:lnTo>
                  <a:lnTo>
                    <a:pt x="420" y="680"/>
                  </a:lnTo>
                  <a:lnTo>
                    <a:pt x="404" y="670"/>
                  </a:lnTo>
                  <a:lnTo>
                    <a:pt x="410" y="664"/>
                  </a:lnTo>
                  <a:lnTo>
                    <a:pt x="416" y="658"/>
                  </a:lnTo>
                  <a:lnTo>
                    <a:pt x="422" y="652"/>
                  </a:lnTo>
                  <a:lnTo>
                    <a:pt x="426" y="642"/>
                  </a:lnTo>
                  <a:lnTo>
                    <a:pt x="420" y="624"/>
                  </a:lnTo>
                  <a:lnTo>
                    <a:pt x="410" y="610"/>
                  </a:lnTo>
                  <a:lnTo>
                    <a:pt x="382" y="584"/>
                  </a:lnTo>
                  <a:lnTo>
                    <a:pt x="370" y="584"/>
                  </a:lnTo>
                  <a:lnTo>
                    <a:pt x="358" y="580"/>
                  </a:lnTo>
                  <a:lnTo>
                    <a:pt x="366" y="580"/>
                  </a:lnTo>
                  <a:lnTo>
                    <a:pt x="372" y="582"/>
                  </a:lnTo>
                  <a:lnTo>
                    <a:pt x="384" y="580"/>
                  </a:lnTo>
                  <a:lnTo>
                    <a:pt x="390" y="586"/>
                  </a:lnTo>
                  <a:lnTo>
                    <a:pt x="398" y="590"/>
                  </a:lnTo>
                  <a:lnTo>
                    <a:pt x="400" y="590"/>
                  </a:lnTo>
                  <a:lnTo>
                    <a:pt x="404" y="590"/>
                  </a:lnTo>
                  <a:lnTo>
                    <a:pt x="408" y="590"/>
                  </a:lnTo>
                  <a:lnTo>
                    <a:pt x="410" y="594"/>
                  </a:lnTo>
                  <a:lnTo>
                    <a:pt x="402" y="578"/>
                  </a:lnTo>
                  <a:lnTo>
                    <a:pt x="394" y="564"/>
                  </a:lnTo>
                  <a:lnTo>
                    <a:pt x="392" y="556"/>
                  </a:lnTo>
                  <a:lnTo>
                    <a:pt x="388" y="548"/>
                  </a:lnTo>
                  <a:lnTo>
                    <a:pt x="392" y="540"/>
                  </a:lnTo>
                  <a:lnTo>
                    <a:pt x="396" y="536"/>
                  </a:lnTo>
                  <a:lnTo>
                    <a:pt x="386" y="528"/>
                  </a:lnTo>
                  <a:lnTo>
                    <a:pt x="378" y="518"/>
                  </a:lnTo>
                  <a:lnTo>
                    <a:pt x="368" y="506"/>
                  </a:lnTo>
                  <a:lnTo>
                    <a:pt x="358" y="494"/>
                  </a:lnTo>
                  <a:lnTo>
                    <a:pt x="352" y="490"/>
                  </a:lnTo>
                  <a:lnTo>
                    <a:pt x="326" y="476"/>
                  </a:lnTo>
                  <a:lnTo>
                    <a:pt x="322" y="470"/>
                  </a:lnTo>
                  <a:lnTo>
                    <a:pt x="318" y="462"/>
                  </a:lnTo>
                  <a:lnTo>
                    <a:pt x="308" y="434"/>
                  </a:lnTo>
                  <a:lnTo>
                    <a:pt x="302" y="408"/>
                  </a:lnTo>
                  <a:lnTo>
                    <a:pt x="296" y="380"/>
                  </a:lnTo>
                  <a:lnTo>
                    <a:pt x="294" y="372"/>
                  </a:lnTo>
                  <a:lnTo>
                    <a:pt x="288" y="366"/>
                  </a:lnTo>
                  <a:lnTo>
                    <a:pt x="282" y="360"/>
                  </a:lnTo>
                  <a:lnTo>
                    <a:pt x="270" y="344"/>
                  </a:lnTo>
                  <a:lnTo>
                    <a:pt x="262" y="332"/>
                  </a:lnTo>
                  <a:lnTo>
                    <a:pt x="232" y="318"/>
                  </a:lnTo>
                  <a:lnTo>
                    <a:pt x="216" y="318"/>
                  </a:lnTo>
                  <a:lnTo>
                    <a:pt x="204" y="326"/>
                  </a:lnTo>
                  <a:lnTo>
                    <a:pt x="202" y="326"/>
                  </a:lnTo>
                  <a:lnTo>
                    <a:pt x="166" y="320"/>
                  </a:lnTo>
                  <a:lnTo>
                    <a:pt x="160" y="316"/>
                  </a:lnTo>
                  <a:lnTo>
                    <a:pt x="154" y="310"/>
                  </a:lnTo>
                  <a:lnTo>
                    <a:pt x="160" y="314"/>
                  </a:lnTo>
                  <a:lnTo>
                    <a:pt x="174" y="318"/>
                  </a:lnTo>
                  <a:lnTo>
                    <a:pt x="182" y="318"/>
                  </a:lnTo>
                  <a:lnTo>
                    <a:pt x="188" y="316"/>
                  </a:lnTo>
                  <a:lnTo>
                    <a:pt x="194" y="312"/>
                  </a:lnTo>
                  <a:lnTo>
                    <a:pt x="206" y="298"/>
                  </a:lnTo>
                  <a:lnTo>
                    <a:pt x="220" y="298"/>
                  </a:lnTo>
                  <a:lnTo>
                    <a:pt x="226" y="292"/>
                  </a:lnTo>
                  <a:lnTo>
                    <a:pt x="228" y="284"/>
                  </a:lnTo>
                  <a:lnTo>
                    <a:pt x="212" y="274"/>
                  </a:lnTo>
                  <a:lnTo>
                    <a:pt x="200" y="276"/>
                  </a:lnTo>
                  <a:lnTo>
                    <a:pt x="192" y="278"/>
                  </a:lnTo>
                  <a:lnTo>
                    <a:pt x="186" y="278"/>
                  </a:lnTo>
                  <a:lnTo>
                    <a:pt x="192" y="276"/>
                  </a:lnTo>
                  <a:lnTo>
                    <a:pt x="198" y="272"/>
                  </a:lnTo>
                  <a:lnTo>
                    <a:pt x="202" y="268"/>
                  </a:lnTo>
                  <a:lnTo>
                    <a:pt x="220" y="264"/>
                  </a:lnTo>
                  <a:lnTo>
                    <a:pt x="226" y="260"/>
                  </a:lnTo>
                  <a:lnTo>
                    <a:pt x="232" y="256"/>
                  </a:lnTo>
                  <a:lnTo>
                    <a:pt x="238" y="246"/>
                  </a:lnTo>
                  <a:lnTo>
                    <a:pt x="244" y="234"/>
                  </a:lnTo>
                  <a:lnTo>
                    <a:pt x="254" y="218"/>
                  </a:lnTo>
                  <a:lnTo>
                    <a:pt x="266" y="190"/>
                  </a:lnTo>
                  <a:lnTo>
                    <a:pt x="268" y="184"/>
                  </a:lnTo>
                  <a:lnTo>
                    <a:pt x="268" y="178"/>
                  </a:lnTo>
                  <a:lnTo>
                    <a:pt x="270" y="172"/>
                  </a:lnTo>
                  <a:lnTo>
                    <a:pt x="276" y="160"/>
                  </a:lnTo>
                  <a:lnTo>
                    <a:pt x="282" y="152"/>
                  </a:lnTo>
                  <a:lnTo>
                    <a:pt x="286" y="146"/>
                  </a:lnTo>
                  <a:lnTo>
                    <a:pt x="286" y="142"/>
                  </a:lnTo>
                  <a:lnTo>
                    <a:pt x="280" y="128"/>
                  </a:lnTo>
                  <a:lnTo>
                    <a:pt x="274" y="120"/>
                  </a:lnTo>
                  <a:lnTo>
                    <a:pt x="266" y="118"/>
                  </a:lnTo>
                  <a:lnTo>
                    <a:pt x="254" y="120"/>
                  </a:lnTo>
                  <a:lnTo>
                    <a:pt x="214" y="118"/>
                  </a:lnTo>
                  <a:lnTo>
                    <a:pt x="208" y="118"/>
                  </a:lnTo>
                  <a:lnTo>
                    <a:pt x="204" y="120"/>
                  </a:lnTo>
                  <a:lnTo>
                    <a:pt x="200" y="120"/>
                  </a:lnTo>
                  <a:lnTo>
                    <a:pt x="186" y="116"/>
                  </a:lnTo>
                  <a:lnTo>
                    <a:pt x="180" y="116"/>
                  </a:lnTo>
                  <a:lnTo>
                    <a:pt x="164" y="122"/>
                  </a:lnTo>
                  <a:lnTo>
                    <a:pt x="148" y="130"/>
                  </a:lnTo>
                  <a:lnTo>
                    <a:pt x="140" y="132"/>
                  </a:lnTo>
                  <a:lnTo>
                    <a:pt x="132" y="132"/>
                  </a:lnTo>
                  <a:lnTo>
                    <a:pt x="134" y="120"/>
                  </a:lnTo>
                  <a:lnTo>
                    <a:pt x="148" y="106"/>
                  </a:lnTo>
                  <a:lnTo>
                    <a:pt x="150" y="102"/>
                  </a:lnTo>
                  <a:lnTo>
                    <a:pt x="146" y="100"/>
                  </a:lnTo>
                  <a:lnTo>
                    <a:pt x="138" y="98"/>
                  </a:lnTo>
                  <a:lnTo>
                    <a:pt x="138" y="92"/>
                  </a:lnTo>
                  <a:lnTo>
                    <a:pt x="140" y="86"/>
                  </a:lnTo>
                  <a:lnTo>
                    <a:pt x="154" y="74"/>
                  </a:lnTo>
                  <a:lnTo>
                    <a:pt x="178" y="50"/>
                  </a:lnTo>
                  <a:lnTo>
                    <a:pt x="192" y="40"/>
                  </a:lnTo>
                  <a:lnTo>
                    <a:pt x="196" y="34"/>
                  </a:lnTo>
                  <a:lnTo>
                    <a:pt x="198" y="30"/>
                  </a:lnTo>
                  <a:lnTo>
                    <a:pt x="198" y="26"/>
                  </a:lnTo>
                  <a:lnTo>
                    <a:pt x="198" y="16"/>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19" name="CustomShape 44"/>
            <p:cNvSpPr/>
            <p:nvPr/>
          </p:nvSpPr>
          <p:spPr>
            <a:xfrm>
              <a:off x="2446560" y="3761280"/>
              <a:ext cx="5760" cy="10080"/>
            </a:xfrm>
            <a:custGeom>
              <a:avLst/>
              <a:gdLst/>
              <a:ahLst/>
              <a:cxnLst/>
              <a:rect l="l" t="t" r="r" b="b"/>
              <a:pathLst>
                <a:path w="8" h="12">
                  <a:moveTo>
                    <a:pt x="6" y="12"/>
                  </a:moveTo>
                  <a:lnTo>
                    <a:pt x="8" y="4"/>
                  </a:lnTo>
                  <a:lnTo>
                    <a:pt x="8" y="2"/>
                  </a:lnTo>
                  <a:lnTo>
                    <a:pt x="6" y="0"/>
                  </a:lnTo>
                  <a:lnTo>
                    <a:pt x="0" y="2"/>
                  </a:lnTo>
                  <a:lnTo>
                    <a:pt x="2" y="10"/>
                  </a:lnTo>
                  <a:lnTo>
                    <a:pt x="6" y="12"/>
                  </a:lnTo>
                  <a:lnTo>
                    <a:pt x="6" y="12"/>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20" name="CustomShape 45"/>
            <p:cNvSpPr/>
            <p:nvPr/>
          </p:nvSpPr>
          <p:spPr>
            <a:xfrm>
              <a:off x="2422080" y="3751200"/>
              <a:ext cx="14040" cy="14040"/>
            </a:xfrm>
            <a:custGeom>
              <a:avLst/>
              <a:gdLst/>
              <a:ahLst/>
              <a:cxnLst/>
              <a:rect l="l" t="t" r="r" b="b"/>
              <a:pathLst>
                <a:path w="16" h="16">
                  <a:moveTo>
                    <a:pt x="14" y="16"/>
                  </a:moveTo>
                  <a:lnTo>
                    <a:pt x="16" y="14"/>
                  </a:lnTo>
                  <a:lnTo>
                    <a:pt x="12" y="12"/>
                  </a:lnTo>
                  <a:lnTo>
                    <a:pt x="10" y="12"/>
                  </a:lnTo>
                  <a:lnTo>
                    <a:pt x="10" y="8"/>
                  </a:lnTo>
                  <a:lnTo>
                    <a:pt x="8" y="0"/>
                  </a:lnTo>
                  <a:lnTo>
                    <a:pt x="2" y="0"/>
                  </a:lnTo>
                  <a:lnTo>
                    <a:pt x="0" y="0"/>
                  </a:lnTo>
                  <a:lnTo>
                    <a:pt x="0" y="4"/>
                  </a:lnTo>
                  <a:lnTo>
                    <a:pt x="2" y="10"/>
                  </a:lnTo>
                  <a:lnTo>
                    <a:pt x="8" y="16"/>
                  </a:lnTo>
                  <a:lnTo>
                    <a:pt x="10" y="16"/>
                  </a:lnTo>
                  <a:lnTo>
                    <a:pt x="14" y="16"/>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21" name="CustomShape 46"/>
            <p:cNvSpPr/>
            <p:nvPr/>
          </p:nvSpPr>
          <p:spPr>
            <a:xfrm>
              <a:off x="2424240" y="3720960"/>
              <a:ext cx="38160" cy="32040"/>
            </a:xfrm>
            <a:custGeom>
              <a:avLst/>
              <a:gdLst/>
              <a:ahLst/>
              <a:cxnLst/>
              <a:rect l="l" t="t" r="r" b="b"/>
              <a:pathLst>
                <a:path w="40" h="34">
                  <a:moveTo>
                    <a:pt x="20" y="16"/>
                  </a:moveTo>
                  <a:lnTo>
                    <a:pt x="22" y="12"/>
                  </a:lnTo>
                  <a:lnTo>
                    <a:pt x="22" y="10"/>
                  </a:lnTo>
                  <a:lnTo>
                    <a:pt x="20" y="6"/>
                  </a:lnTo>
                  <a:lnTo>
                    <a:pt x="14" y="2"/>
                  </a:lnTo>
                  <a:lnTo>
                    <a:pt x="8" y="0"/>
                  </a:lnTo>
                  <a:lnTo>
                    <a:pt x="4" y="2"/>
                  </a:lnTo>
                  <a:lnTo>
                    <a:pt x="0" y="10"/>
                  </a:lnTo>
                  <a:lnTo>
                    <a:pt x="0" y="16"/>
                  </a:lnTo>
                  <a:lnTo>
                    <a:pt x="0" y="20"/>
                  </a:lnTo>
                  <a:lnTo>
                    <a:pt x="2" y="22"/>
                  </a:lnTo>
                  <a:lnTo>
                    <a:pt x="4" y="24"/>
                  </a:lnTo>
                  <a:lnTo>
                    <a:pt x="8" y="20"/>
                  </a:lnTo>
                  <a:lnTo>
                    <a:pt x="8" y="20"/>
                  </a:lnTo>
                  <a:lnTo>
                    <a:pt x="8" y="24"/>
                  </a:lnTo>
                  <a:lnTo>
                    <a:pt x="8" y="26"/>
                  </a:lnTo>
                  <a:lnTo>
                    <a:pt x="10" y="28"/>
                  </a:lnTo>
                  <a:lnTo>
                    <a:pt x="12" y="30"/>
                  </a:lnTo>
                  <a:lnTo>
                    <a:pt x="24" y="26"/>
                  </a:lnTo>
                  <a:lnTo>
                    <a:pt x="32" y="34"/>
                  </a:lnTo>
                  <a:lnTo>
                    <a:pt x="34" y="32"/>
                  </a:lnTo>
                  <a:lnTo>
                    <a:pt x="38" y="30"/>
                  </a:lnTo>
                  <a:lnTo>
                    <a:pt x="40" y="24"/>
                  </a:lnTo>
                  <a:lnTo>
                    <a:pt x="36" y="22"/>
                  </a:lnTo>
                  <a:lnTo>
                    <a:pt x="30" y="20"/>
                  </a:lnTo>
                  <a:lnTo>
                    <a:pt x="24" y="18"/>
                  </a:lnTo>
                  <a:lnTo>
                    <a:pt x="18" y="18"/>
                  </a:lnTo>
                  <a:lnTo>
                    <a:pt x="20" y="16"/>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22" name="CustomShape 47"/>
            <p:cNvSpPr/>
            <p:nvPr/>
          </p:nvSpPr>
          <p:spPr>
            <a:xfrm>
              <a:off x="2470680" y="3700800"/>
              <a:ext cx="14040" cy="7920"/>
            </a:xfrm>
            <a:custGeom>
              <a:avLst/>
              <a:gdLst/>
              <a:ahLst/>
              <a:cxnLst/>
              <a:rect l="l" t="t" r="r" b="b"/>
              <a:pathLst>
                <a:path w="16" h="10">
                  <a:moveTo>
                    <a:pt x="8" y="10"/>
                  </a:moveTo>
                  <a:lnTo>
                    <a:pt x="14" y="4"/>
                  </a:lnTo>
                  <a:lnTo>
                    <a:pt x="16" y="0"/>
                  </a:lnTo>
                  <a:lnTo>
                    <a:pt x="8" y="0"/>
                  </a:lnTo>
                  <a:lnTo>
                    <a:pt x="4" y="2"/>
                  </a:lnTo>
                  <a:lnTo>
                    <a:pt x="0" y="10"/>
                  </a:lnTo>
                  <a:lnTo>
                    <a:pt x="8" y="10"/>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23" name="CustomShape 48"/>
            <p:cNvSpPr/>
            <p:nvPr/>
          </p:nvSpPr>
          <p:spPr>
            <a:xfrm>
              <a:off x="2444400" y="3694680"/>
              <a:ext cx="20160" cy="21960"/>
            </a:xfrm>
            <a:custGeom>
              <a:avLst/>
              <a:gdLst/>
              <a:ahLst/>
              <a:cxnLst/>
              <a:rect l="l" t="t" r="r" b="b"/>
              <a:pathLst>
                <a:path w="22" h="24">
                  <a:moveTo>
                    <a:pt x="22" y="22"/>
                  </a:moveTo>
                  <a:lnTo>
                    <a:pt x="22" y="18"/>
                  </a:lnTo>
                  <a:lnTo>
                    <a:pt x="22" y="16"/>
                  </a:lnTo>
                  <a:lnTo>
                    <a:pt x="16" y="14"/>
                  </a:lnTo>
                  <a:lnTo>
                    <a:pt x="12" y="8"/>
                  </a:lnTo>
                  <a:lnTo>
                    <a:pt x="4" y="0"/>
                  </a:lnTo>
                  <a:lnTo>
                    <a:pt x="0" y="2"/>
                  </a:lnTo>
                  <a:lnTo>
                    <a:pt x="0" y="4"/>
                  </a:lnTo>
                  <a:lnTo>
                    <a:pt x="2" y="8"/>
                  </a:lnTo>
                  <a:lnTo>
                    <a:pt x="6" y="10"/>
                  </a:lnTo>
                  <a:lnTo>
                    <a:pt x="12" y="14"/>
                  </a:lnTo>
                  <a:lnTo>
                    <a:pt x="14" y="22"/>
                  </a:lnTo>
                  <a:lnTo>
                    <a:pt x="16" y="24"/>
                  </a:lnTo>
                  <a:lnTo>
                    <a:pt x="22" y="22"/>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24" name="CustomShape 49"/>
            <p:cNvSpPr/>
            <p:nvPr/>
          </p:nvSpPr>
          <p:spPr>
            <a:xfrm>
              <a:off x="2537280" y="3529080"/>
              <a:ext cx="38160" cy="94680"/>
            </a:xfrm>
            <a:custGeom>
              <a:avLst/>
              <a:gdLst/>
              <a:ahLst/>
              <a:cxnLst/>
              <a:rect l="l" t="t" r="r" b="b"/>
              <a:pathLst>
                <a:path w="40" h="96">
                  <a:moveTo>
                    <a:pt x="22" y="8"/>
                  </a:moveTo>
                  <a:lnTo>
                    <a:pt x="22" y="0"/>
                  </a:lnTo>
                  <a:lnTo>
                    <a:pt x="18" y="0"/>
                  </a:lnTo>
                  <a:lnTo>
                    <a:pt x="16" y="0"/>
                  </a:lnTo>
                  <a:lnTo>
                    <a:pt x="10" y="10"/>
                  </a:lnTo>
                  <a:lnTo>
                    <a:pt x="6" y="12"/>
                  </a:lnTo>
                  <a:lnTo>
                    <a:pt x="4" y="14"/>
                  </a:lnTo>
                  <a:lnTo>
                    <a:pt x="6" y="16"/>
                  </a:lnTo>
                  <a:lnTo>
                    <a:pt x="12" y="18"/>
                  </a:lnTo>
                  <a:lnTo>
                    <a:pt x="18" y="36"/>
                  </a:lnTo>
                  <a:lnTo>
                    <a:pt x="10" y="42"/>
                  </a:lnTo>
                  <a:lnTo>
                    <a:pt x="4" y="40"/>
                  </a:lnTo>
                  <a:lnTo>
                    <a:pt x="0" y="42"/>
                  </a:lnTo>
                  <a:lnTo>
                    <a:pt x="0" y="46"/>
                  </a:lnTo>
                  <a:lnTo>
                    <a:pt x="0" y="48"/>
                  </a:lnTo>
                  <a:lnTo>
                    <a:pt x="2" y="50"/>
                  </a:lnTo>
                  <a:lnTo>
                    <a:pt x="8" y="50"/>
                  </a:lnTo>
                  <a:lnTo>
                    <a:pt x="10" y="50"/>
                  </a:lnTo>
                  <a:lnTo>
                    <a:pt x="10" y="54"/>
                  </a:lnTo>
                  <a:lnTo>
                    <a:pt x="10" y="56"/>
                  </a:lnTo>
                  <a:lnTo>
                    <a:pt x="16" y="54"/>
                  </a:lnTo>
                  <a:lnTo>
                    <a:pt x="22" y="56"/>
                  </a:lnTo>
                  <a:lnTo>
                    <a:pt x="24" y="60"/>
                  </a:lnTo>
                  <a:lnTo>
                    <a:pt x="24" y="64"/>
                  </a:lnTo>
                  <a:lnTo>
                    <a:pt x="22" y="74"/>
                  </a:lnTo>
                  <a:lnTo>
                    <a:pt x="20" y="92"/>
                  </a:lnTo>
                  <a:lnTo>
                    <a:pt x="24" y="96"/>
                  </a:lnTo>
                  <a:lnTo>
                    <a:pt x="24" y="94"/>
                  </a:lnTo>
                  <a:lnTo>
                    <a:pt x="26" y="84"/>
                  </a:lnTo>
                  <a:lnTo>
                    <a:pt x="30" y="78"/>
                  </a:lnTo>
                  <a:lnTo>
                    <a:pt x="30" y="66"/>
                  </a:lnTo>
                  <a:lnTo>
                    <a:pt x="32" y="64"/>
                  </a:lnTo>
                  <a:lnTo>
                    <a:pt x="32" y="56"/>
                  </a:lnTo>
                  <a:lnTo>
                    <a:pt x="34" y="52"/>
                  </a:lnTo>
                  <a:lnTo>
                    <a:pt x="38" y="30"/>
                  </a:lnTo>
                  <a:lnTo>
                    <a:pt x="40" y="22"/>
                  </a:lnTo>
                  <a:lnTo>
                    <a:pt x="34" y="24"/>
                  </a:lnTo>
                  <a:lnTo>
                    <a:pt x="32" y="24"/>
                  </a:lnTo>
                  <a:lnTo>
                    <a:pt x="28" y="16"/>
                  </a:lnTo>
                  <a:lnTo>
                    <a:pt x="24" y="18"/>
                  </a:lnTo>
                  <a:lnTo>
                    <a:pt x="22" y="8"/>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25" name="CustomShape 50"/>
            <p:cNvSpPr/>
            <p:nvPr/>
          </p:nvSpPr>
          <p:spPr>
            <a:xfrm>
              <a:off x="2569680" y="3512880"/>
              <a:ext cx="10080" cy="28080"/>
            </a:xfrm>
            <a:custGeom>
              <a:avLst/>
              <a:gdLst/>
              <a:ahLst/>
              <a:cxnLst/>
              <a:rect l="l" t="t" r="r" b="b"/>
              <a:pathLst>
                <a:path w="12" h="30">
                  <a:moveTo>
                    <a:pt x="8" y="28"/>
                  </a:moveTo>
                  <a:lnTo>
                    <a:pt x="8" y="26"/>
                  </a:lnTo>
                  <a:lnTo>
                    <a:pt x="8" y="18"/>
                  </a:lnTo>
                  <a:lnTo>
                    <a:pt x="8" y="10"/>
                  </a:lnTo>
                  <a:lnTo>
                    <a:pt x="8" y="10"/>
                  </a:lnTo>
                  <a:lnTo>
                    <a:pt x="10" y="8"/>
                  </a:lnTo>
                  <a:lnTo>
                    <a:pt x="12" y="4"/>
                  </a:lnTo>
                  <a:lnTo>
                    <a:pt x="10" y="0"/>
                  </a:lnTo>
                  <a:lnTo>
                    <a:pt x="4" y="0"/>
                  </a:lnTo>
                  <a:lnTo>
                    <a:pt x="0" y="16"/>
                  </a:lnTo>
                  <a:lnTo>
                    <a:pt x="6" y="30"/>
                  </a:lnTo>
                  <a:lnTo>
                    <a:pt x="8" y="28"/>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26" name="CustomShape 51"/>
            <p:cNvSpPr/>
            <p:nvPr/>
          </p:nvSpPr>
          <p:spPr>
            <a:xfrm>
              <a:off x="2583720" y="3498840"/>
              <a:ext cx="10080" cy="18000"/>
            </a:xfrm>
            <a:custGeom>
              <a:avLst/>
              <a:gdLst/>
              <a:ahLst/>
              <a:cxnLst/>
              <a:rect l="l" t="t" r="r" b="b"/>
              <a:pathLst>
                <a:path w="12" h="20">
                  <a:moveTo>
                    <a:pt x="12" y="2"/>
                  </a:moveTo>
                  <a:lnTo>
                    <a:pt x="10" y="0"/>
                  </a:lnTo>
                  <a:lnTo>
                    <a:pt x="8" y="0"/>
                  </a:lnTo>
                  <a:lnTo>
                    <a:pt x="6" y="2"/>
                  </a:lnTo>
                  <a:lnTo>
                    <a:pt x="4" y="2"/>
                  </a:lnTo>
                  <a:lnTo>
                    <a:pt x="2" y="2"/>
                  </a:lnTo>
                  <a:lnTo>
                    <a:pt x="2" y="4"/>
                  </a:lnTo>
                  <a:lnTo>
                    <a:pt x="0" y="10"/>
                  </a:lnTo>
                  <a:lnTo>
                    <a:pt x="2" y="18"/>
                  </a:lnTo>
                  <a:lnTo>
                    <a:pt x="2" y="18"/>
                  </a:lnTo>
                  <a:lnTo>
                    <a:pt x="8" y="20"/>
                  </a:lnTo>
                  <a:lnTo>
                    <a:pt x="8" y="16"/>
                  </a:lnTo>
                  <a:lnTo>
                    <a:pt x="12" y="4"/>
                  </a:lnTo>
                  <a:lnTo>
                    <a:pt x="12" y="2"/>
                  </a:lnTo>
                </a:path>
              </a:pathLst>
            </a:custGeom>
            <a:solidFill>
              <a:srgbClr val="0070C0"/>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27" name="CustomShape 52"/>
            <p:cNvSpPr/>
            <p:nvPr/>
          </p:nvSpPr>
          <p:spPr>
            <a:xfrm>
              <a:off x="2595960" y="3500640"/>
              <a:ext cx="360" cy="360"/>
            </a:xfrm>
            <a:custGeom>
              <a:avLst/>
              <a:gdLst/>
              <a:ahLst/>
              <a:cxnLst/>
              <a:rect l="l" t="t" r="r" b="b"/>
              <a:pathLst>
                <a:path w="21600" h="21600">
                  <a:moveTo>
                    <a:pt x="0" y="0"/>
                  </a:moveTo>
                  <a:lnTo>
                    <a:pt x="21600" y="21600"/>
                  </a:lnTo>
                </a:path>
              </a:pathLst>
            </a:custGeom>
            <a:no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28" name="CustomShape 53"/>
            <p:cNvSpPr/>
            <p:nvPr/>
          </p:nvSpPr>
          <p:spPr>
            <a:xfrm>
              <a:off x="2595960" y="3500640"/>
              <a:ext cx="360" cy="360"/>
            </a:xfrm>
            <a:custGeom>
              <a:avLst/>
              <a:gdLst/>
              <a:ahLst/>
              <a:cxnLst/>
              <a:rect l="l" t="t" r="r" b="b"/>
              <a:pathLst>
                <a:path w="21600" h="21600">
                  <a:moveTo>
                    <a:pt x="0" y="0"/>
                  </a:moveTo>
                  <a:lnTo>
                    <a:pt x="21600" y="21600"/>
                  </a:lnTo>
                </a:path>
              </a:pathLst>
            </a:custGeom>
            <a:no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29" name="CustomShape 54"/>
            <p:cNvSpPr/>
            <p:nvPr/>
          </p:nvSpPr>
          <p:spPr>
            <a:xfrm>
              <a:off x="2480760" y="4824000"/>
              <a:ext cx="360" cy="360"/>
            </a:xfrm>
            <a:custGeom>
              <a:avLst/>
              <a:gdLst/>
              <a:ahLst/>
              <a:cxnLst/>
              <a:rect l="l" t="t" r="r" b="b"/>
              <a:pathLst>
                <a:path w="21600" h="21600">
                  <a:moveTo>
                    <a:pt x="0" y="0"/>
                  </a:moveTo>
                  <a:lnTo>
                    <a:pt x="21600" y="21600"/>
                  </a:lnTo>
                </a:path>
              </a:pathLst>
            </a:custGeom>
            <a:no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30" name="CustomShape 55"/>
            <p:cNvSpPr/>
            <p:nvPr/>
          </p:nvSpPr>
          <p:spPr>
            <a:xfrm>
              <a:off x="2480760" y="4824000"/>
              <a:ext cx="360" cy="360"/>
            </a:xfrm>
            <a:custGeom>
              <a:avLst/>
              <a:gdLst/>
              <a:ahLst/>
              <a:cxnLst/>
              <a:rect l="l" t="t" r="r" b="b"/>
              <a:pathLst>
                <a:path w="21600" h="21600">
                  <a:moveTo>
                    <a:pt x="0" y="0"/>
                  </a:moveTo>
                  <a:lnTo>
                    <a:pt x="21600" y="21600"/>
                  </a:lnTo>
                </a:path>
              </a:pathLst>
            </a:custGeom>
            <a:no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31" name="CustomShape 56"/>
            <p:cNvSpPr/>
            <p:nvPr/>
          </p:nvSpPr>
          <p:spPr>
            <a:xfrm>
              <a:off x="2155680" y="4226040"/>
              <a:ext cx="360" cy="360"/>
            </a:xfrm>
            <a:custGeom>
              <a:avLst/>
              <a:gdLst/>
              <a:ahLst/>
              <a:cxnLst/>
              <a:rect l="l" t="t" r="r" b="b"/>
              <a:pathLst>
                <a:path w="21600" h="21600">
                  <a:moveTo>
                    <a:pt x="0" y="0"/>
                  </a:moveTo>
                  <a:lnTo>
                    <a:pt x="21600" y="21600"/>
                  </a:lnTo>
                </a:path>
              </a:pathLst>
            </a:custGeom>
            <a:no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32" name="CustomShape 57"/>
            <p:cNvSpPr/>
            <p:nvPr/>
          </p:nvSpPr>
          <p:spPr>
            <a:xfrm>
              <a:off x="2155680" y="4226040"/>
              <a:ext cx="360" cy="360"/>
            </a:xfrm>
            <a:custGeom>
              <a:avLst/>
              <a:gdLst/>
              <a:ahLst/>
              <a:cxnLst/>
              <a:rect l="l" t="t" r="r" b="b"/>
              <a:pathLst>
                <a:path w="21600" h="21600">
                  <a:moveTo>
                    <a:pt x="0" y="0"/>
                  </a:moveTo>
                  <a:lnTo>
                    <a:pt x="21600" y="21600"/>
                  </a:lnTo>
                </a:path>
              </a:pathLst>
            </a:custGeom>
            <a:no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33" name="CustomShape 58"/>
            <p:cNvSpPr/>
            <p:nvPr/>
          </p:nvSpPr>
          <p:spPr>
            <a:xfrm>
              <a:off x="2513160" y="4850280"/>
              <a:ext cx="360" cy="360"/>
            </a:xfrm>
            <a:custGeom>
              <a:avLst/>
              <a:gdLst/>
              <a:ahLst/>
              <a:cxnLst/>
              <a:rect l="l" t="t" r="r" b="b"/>
              <a:pathLst>
                <a:path w="21600" h="21600">
                  <a:moveTo>
                    <a:pt x="0" y="0"/>
                  </a:moveTo>
                  <a:lnTo>
                    <a:pt x="21600" y="21600"/>
                  </a:lnTo>
                </a:path>
              </a:pathLst>
            </a:custGeom>
            <a:no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34" name="CustomShape 59"/>
            <p:cNvSpPr/>
            <p:nvPr/>
          </p:nvSpPr>
          <p:spPr>
            <a:xfrm>
              <a:off x="2513160" y="4850280"/>
              <a:ext cx="360" cy="360"/>
            </a:xfrm>
            <a:custGeom>
              <a:avLst/>
              <a:gdLst/>
              <a:ahLst/>
              <a:cxnLst/>
              <a:rect l="l" t="t" r="r" b="b"/>
              <a:pathLst>
                <a:path w="21600" h="21600">
                  <a:moveTo>
                    <a:pt x="0" y="0"/>
                  </a:moveTo>
                  <a:lnTo>
                    <a:pt x="21600" y="21600"/>
                  </a:lnTo>
                </a:path>
              </a:pathLst>
            </a:custGeom>
            <a:no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grpSp>
      <p:sp>
        <p:nvSpPr>
          <p:cNvPr id="435" name="CustomShape 60"/>
          <p:cNvSpPr/>
          <p:nvPr/>
        </p:nvSpPr>
        <p:spPr>
          <a:xfrm>
            <a:off x="3974040" y="5422320"/>
            <a:ext cx="110880" cy="125280"/>
          </a:xfrm>
          <a:custGeom>
            <a:avLst/>
            <a:gdLst/>
            <a:ahLst/>
            <a:cxnLst/>
            <a:rect l="l" t="t" r="r" b="b"/>
            <a:pathLst>
              <a:path w="112" h="126">
                <a:moveTo>
                  <a:pt x="100" y="92"/>
                </a:moveTo>
                <a:lnTo>
                  <a:pt x="98" y="88"/>
                </a:lnTo>
                <a:lnTo>
                  <a:pt x="96" y="84"/>
                </a:lnTo>
                <a:lnTo>
                  <a:pt x="98" y="82"/>
                </a:lnTo>
                <a:lnTo>
                  <a:pt x="102" y="78"/>
                </a:lnTo>
                <a:lnTo>
                  <a:pt x="104" y="76"/>
                </a:lnTo>
                <a:lnTo>
                  <a:pt x="110" y="60"/>
                </a:lnTo>
                <a:lnTo>
                  <a:pt x="112" y="56"/>
                </a:lnTo>
                <a:lnTo>
                  <a:pt x="112" y="54"/>
                </a:lnTo>
                <a:lnTo>
                  <a:pt x="110" y="52"/>
                </a:lnTo>
                <a:lnTo>
                  <a:pt x="106" y="52"/>
                </a:lnTo>
                <a:lnTo>
                  <a:pt x="88" y="46"/>
                </a:lnTo>
                <a:lnTo>
                  <a:pt x="90" y="40"/>
                </a:lnTo>
                <a:lnTo>
                  <a:pt x="84" y="36"/>
                </a:lnTo>
                <a:lnTo>
                  <a:pt x="78" y="32"/>
                </a:lnTo>
                <a:lnTo>
                  <a:pt x="78" y="28"/>
                </a:lnTo>
                <a:lnTo>
                  <a:pt x="72" y="20"/>
                </a:lnTo>
                <a:lnTo>
                  <a:pt x="66" y="16"/>
                </a:lnTo>
                <a:lnTo>
                  <a:pt x="60" y="14"/>
                </a:lnTo>
                <a:lnTo>
                  <a:pt x="56" y="10"/>
                </a:lnTo>
                <a:lnTo>
                  <a:pt x="52" y="8"/>
                </a:lnTo>
                <a:lnTo>
                  <a:pt x="52" y="4"/>
                </a:lnTo>
                <a:lnTo>
                  <a:pt x="52" y="2"/>
                </a:lnTo>
                <a:lnTo>
                  <a:pt x="50" y="0"/>
                </a:lnTo>
                <a:lnTo>
                  <a:pt x="48" y="2"/>
                </a:lnTo>
                <a:lnTo>
                  <a:pt x="44" y="4"/>
                </a:lnTo>
                <a:lnTo>
                  <a:pt x="38" y="6"/>
                </a:lnTo>
                <a:lnTo>
                  <a:pt x="38" y="8"/>
                </a:lnTo>
                <a:lnTo>
                  <a:pt x="40" y="12"/>
                </a:lnTo>
                <a:lnTo>
                  <a:pt x="40" y="16"/>
                </a:lnTo>
                <a:lnTo>
                  <a:pt x="40" y="18"/>
                </a:lnTo>
                <a:lnTo>
                  <a:pt x="38" y="22"/>
                </a:lnTo>
                <a:lnTo>
                  <a:pt x="28" y="28"/>
                </a:lnTo>
                <a:lnTo>
                  <a:pt x="28" y="32"/>
                </a:lnTo>
                <a:lnTo>
                  <a:pt x="30" y="36"/>
                </a:lnTo>
                <a:lnTo>
                  <a:pt x="28" y="36"/>
                </a:lnTo>
                <a:lnTo>
                  <a:pt x="20" y="40"/>
                </a:lnTo>
                <a:lnTo>
                  <a:pt x="12" y="42"/>
                </a:lnTo>
                <a:lnTo>
                  <a:pt x="10" y="46"/>
                </a:lnTo>
                <a:lnTo>
                  <a:pt x="6" y="46"/>
                </a:lnTo>
                <a:lnTo>
                  <a:pt x="0" y="46"/>
                </a:lnTo>
                <a:lnTo>
                  <a:pt x="0" y="48"/>
                </a:lnTo>
                <a:lnTo>
                  <a:pt x="2" y="52"/>
                </a:lnTo>
                <a:lnTo>
                  <a:pt x="2" y="58"/>
                </a:lnTo>
                <a:lnTo>
                  <a:pt x="2" y="64"/>
                </a:lnTo>
                <a:lnTo>
                  <a:pt x="2" y="64"/>
                </a:lnTo>
                <a:lnTo>
                  <a:pt x="4" y="66"/>
                </a:lnTo>
                <a:lnTo>
                  <a:pt x="10" y="76"/>
                </a:lnTo>
                <a:lnTo>
                  <a:pt x="14" y="84"/>
                </a:lnTo>
                <a:lnTo>
                  <a:pt x="20" y="86"/>
                </a:lnTo>
                <a:lnTo>
                  <a:pt x="24" y="88"/>
                </a:lnTo>
                <a:lnTo>
                  <a:pt x="30" y="94"/>
                </a:lnTo>
                <a:lnTo>
                  <a:pt x="32" y="98"/>
                </a:lnTo>
                <a:lnTo>
                  <a:pt x="34" y="112"/>
                </a:lnTo>
                <a:lnTo>
                  <a:pt x="36" y="120"/>
                </a:lnTo>
                <a:lnTo>
                  <a:pt x="34" y="124"/>
                </a:lnTo>
                <a:lnTo>
                  <a:pt x="36" y="124"/>
                </a:lnTo>
                <a:lnTo>
                  <a:pt x="42" y="126"/>
                </a:lnTo>
                <a:lnTo>
                  <a:pt x="44" y="124"/>
                </a:lnTo>
                <a:lnTo>
                  <a:pt x="46" y="122"/>
                </a:lnTo>
                <a:lnTo>
                  <a:pt x="46" y="112"/>
                </a:lnTo>
                <a:lnTo>
                  <a:pt x="48" y="106"/>
                </a:lnTo>
                <a:lnTo>
                  <a:pt x="66" y="98"/>
                </a:lnTo>
                <a:lnTo>
                  <a:pt x="72" y="98"/>
                </a:lnTo>
                <a:lnTo>
                  <a:pt x="76" y="102"/>
                </a:lnTo>
                <a:lnTo>
                  <a:pt x="80" y="104"/>
                </a:lnTo>
                <a:lnTo>
                  <a:pt x="82" y="104"/>
                </a:lnTo>
                <a:lnTo>
                  <a:pt x="82" y="102"/>
                </a:lnTo>
                <a:lnTo>
                  <a:pt x="84" y="96"/>
                </a:lnTo>
                <a:lnTo>
                  <a:pt x="88" y="94"/>
                </a:lnTo>
                <a:lnTo>
                  <a:pt x="100" y="92"/>
                </a:lnTo>
                <a:lnTo>
                  <a:pt x="100" y="92"/>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36" name="CustomShape 61"/>
          <p:cNvSpPr/>
          <p:nvPr/>
        </p:nvSpPr>
        <p:spPr>
          <a:xfrm>
            <a:off x="3274920" y="5046480"/>
            <a:ext cx="5760" cy="18000"/>
          </a:xfrm>
          <a:custGeom>
            <a:avLst/>
            <a:gdLst/>
            <a:ahLst/>
            <a:cxnLst/>
            <a:rect l="l" t="t" r="r" b="b"/>
            <a:pathLst>
              <a:path w="8" h="20">
                <a:moveTo>
                  <a:pt x="6" y="20"/>
                </a:moveTo>
                <a:lnTo>
                  <a:pt x="8" y="18"/>
                </a:lnTo>
                <a:lnTo>
                  <a:pt x="8" y="14"/>
                </a:lnTo>
                <a:lnTo>
                  <a:pt x="8" y="12"/>
                </a:lnTo>
                <a:lnTo>
                  <a:pt x="6" y="10"/>
                </a:lnTo>
                <a:lnTo>
                  <a:pt x="4" y="8"/>
                </a:lnTo>
                <a:lnTo>
                  <a:pt x="4" y="4"/>
                </a:lnTo>
                <a:lnTo>
                  <a:pt x="4" y="2"/>
                </a:lnTo>
                <a:lnTo>
                  <a:pt x="4" y="0"/>
                </a:lnTo>
                <a:lnTo>
                  <a:pt x="2" y="0"/>
                </a:lnTo>
                <a:lnTo>
                  <a:pt x="0" y="8"/>
                </a:lnTo>
                <a:lnTo>
                  <a:pt x="0" y="16"/>
                </a:lnTo>
                <a:lnTo>
                  <a:pt x="0" y="20"/>
                </a:lnTo>
                <a:lnTo>
                  <a:pt x="2" y="20"/>
                </a:lnTo>
                <a:lnTo>
                  <a:pt x="6" y="20"/>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37" name="CustomShape 62"/>
          <p:cNvSpPr/>
          <p:nvPr/>
        </p:nvSpPr>
        <p:spPr>
          <a:xfrm>
            <a:off x="3281040" y="5066640"/>
            <a:ext cx="360" cy="360"/>
          </a:xfrm>
          <a:custGeom>
            <a:avLst/>
            <a:gdLst/>
            <a:ahLst/>
            <a:cxnLst/>
            <a:rect l="l" t="t" r="r" b="b"/>
            <a:pathLst>
              <a:path w="21600" h="21600">
                <a:moveTo>
                  <a:pt x="0" y="0"/>
                </a:moveTo>
                <a:lnTo>
                  <a:pt x="21600" y="21600"/>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38" name="CustomShape 63"/>
          <p:cNvSpPr/>
          <p:nvPr/>
        </p:nvSpPr>
        <p:spPr>
          <a:xfrm>
            <a:off x="3281040" y="5066640"/>
            <a:ext cx="360" cy="360"/>
          </a:xfrm>
          <a:custGeom>
            <a:avLst/>
            <a:gdLst/>
            <a:ahLst/>
            <a:cxnLst/>
            <a:rect l="l" t="t" r="r" b="b"/>
            <a:pathLst>
              <a:path w="21600" h="21600">
                <a:moveTo>
                  <a:pt x="0" y="0"/>
                </a:moveTo>
                <a:lnTo>
                  <a:pt x="21600" y="21600"/>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39" name="CustomShape 64"/>
          <p:cNvSpPr/>
          <p:nvPr/>
        </p:nvSpPr>
        <p:spPr>
          <a:xfrm>
            <a:off x="4030560" y="4060440"/>
            <a:ext cx="387720" cy="290880"/>
          </a:xfrm>
          <a:custGeom>
            <a:avLst/>
            <a:gdLst/>
            <a:ahLst/>
            <a:cxnLst/>
            <a:rect l="l" t="t" r="r" b="b"/>
            <a:pathLst>
              <a:path w="919668" h="690942">
                <a:moveTo>
                  <a:pt x="33356" y="223961"/>
                </a:moveTo>
                <a:lnTo>
                  <a:pt x="33356" y="238256"/>
                </a:lnTo>
                <a:lnTo>
                  <a:pt x="33356" y="262082"/>
                </a:lnTo>
                <a:lnTo>
                  <a:pt x="19060" y="295438"/>
                </a:lnTo>
                <a:lnTo>
                  <a:pt x="9530" y="319264"/>
                </a:lnTo>
                <a:lnTo>
                  <a:pt x="0" y="314499"/>
                </a:lnTo>
                <a:lnTo>
                  <a:pt x="19060" y="281143"/>
                </a:lnTo>
                <a:lnTo>
                  <a:pt x="23824" y="262082"/>
                </a:lnTo>
                <a:lnTo>
                  <a:pt x="28590" y="233491"/>
                </a:lnTo>
                <a:close/>
                <a:moveTo>
                  <a:pt x="614700" y="0"/>
                </a:moveTo>
                <a:lnTo>
                  <a:pt x="624232" y="4765"/>
                </a:lnTo>
                <a:lnTo>
                  <a:pt x="633762" y="28591"/>
                </a:lnTo>
                <a:lnTo>
                  <a:pt x="652822" y="61947"/>
                </a:lnTo>
                <a:lnTo>
                  <a:pt x="671882" y="66712"/>
                </a:lnTo>
                <a:lnTo>
                  <a:pt x="733828" y="81007"/>
                </a:lnTo>
                <a:lnTo>
                  <a:pt x="743360" y="85772"/>
                </a:lnTo>
                <a:lnTo>
                  <a:pt x="776716" y="119128"/>
                </a:lnTo>
                <a:lnTo>
                  <a:pt x="795776" y="133423"/>
                </a:lnTo>
                <a:lnTo>
                  <a:pt x="810072" y="147719"/>
                </a:lnTo>
                <a:lnTo>
                  <a:pt x="829132" y="171544"/>
                </a:lnTo>
                <a:lnTo>
                  <a:pt x="843426" y="185840"/>
                </a:lnTo>
                <a:lnTo>
                  <a:pt x="857722" y="200135"/>
                </a:lnTo>
                <a:lnTo>
                  <a:pt x="881548" y="209665"/>
                </a:lnTo>
                <a:lnTo>
                  <a:pt x="891078" y="209665"/>
                </a:lnTo>
                <a:lnTo>
                  <a:pt x="891078" y="223961"/>
                </a:lnTo>
                <a:lnTo>
                  <a:pt x="886314" y="243021"/>
                </a:lnTo>
                <a:lnTo>
                  <a:pt x="876782" y="271612"/>
                </a:lnTo>
                <a:lnTo>
                  <a:pt x="872018" y="290673"/>
                </a:lnTo>
                <a:lnTo>
                  <a:pt x="867252" y="300203"/>
                </a:lnTo>
                <a:lnTo>
                  <a:pt x="876782" y="304968"/>
                </a:lnTo>
                <a:lnTo>
                  <a:pt x="905374" y="309733"/>
                </a:lnTo>
                <a:lnTo>
                  <a:pt x="914904" y="314498"/>
                </a:lnTo>
                <a:lnTo>
                  <a:pt x="919668" y="319263"/>
                </a:lnTo>
                <a:lnTo>
                  <a:pt x="910138" y="324028"/>
                </a:lnTo>
                <a:lnTo>
                  <a:pt x="900608" y="333559"/>
                </a:lnTo>
                <a:lnTo>
                  <a:pt x="900608" y="338324"/>
                </a:lnTo>
                <a:lnTo>
                  <a:pt x="891078" y="357384"/>
                </a:lnTo>
                <a:lnTo>
                  <a:pt x="843426" y="357384"/>
                </a:lnTo>
                <a:lnTo>
                  <a:pt x="838662" y="357384"/>
                </a:lnTo>
                <a:lnTo>
                  <a:pt x="833896" y="366915"/>
                </a:lnTo>
                <a:lnTo>
                  <a:pt x="829132" y="381210"/>
                </a:lnTo>
                <a:lnTo>
                  <a:pt x="824366" y="390740"/>
                </a:lnTo>
                <a:lnTo>
                  <a:pt x="810072" y="405036"/>
                </a:lnTo>
                <a:lnTo>
                  <a:pt x="791010" y="405036"/>
                </a:lnTo>
                <a:lnTo>
                  <a:pt x="776716" y="414566"/>
                </a:lnTo>
                <a:lnTo>
                  <a:pt x="762420" y="438391"/>
                </a:lnTo>
                <a:lnTo>
                  <a:pt x="752890" y="471748"/>
                </a:lnTo>
                <a:lnTo>
                  <a:pt x="752890" y="490808"/>
                </a:lnTo>
                <a:lnTo>
                  <a:pt x="752890" y="505104"/>
                </a:lnTo>
                <a:lnTo>
                  <a:pt x="752890" y="509868"/>
                </a:lnTo>
                <a:lnTo>
                  <a:pt x="748124" y="519398"/>
                </a:lnTo>
                <a:lnTo>
                  <a:pt x="738594" y="538458"/>
                </a:lnTo>
                <a:lnTo>
                  <a:pt x="729064" y="562284"/>
                </a:lnTo>
                <a:lnTo>
                  <a:pt x="724298" y="571814"/>
                </a:lnTo>
                <a:lnTo>
                  <a:pt x="729064" y="581346"/>
                </a:lnTo>
                <a:lnTo>
                  <a:pt x="738594" y="581346"/>
                </a:lnTo>
                <a:lnTo>
                  <a:pt x="752890" y="586110"/>
                </a:lnTo>
                <a:lnTo>
                  <a:pt x="757654" y="590876"/>
                </a:lnTo>
                <a:lnTo>
                  <a:pt x="762420" y="605170"/>
                </a:lnTo>
                <a:lnTo>
                  <a:pt x="762420" y="614702"/>
                </a:lnTo>
                <a:lnTo>
                  <a:pt x="757654" y="619466"/>
                </a:lnTo>
                <a:lnTo>
                  <a:pt x="748124" y="624232"/>
                </a:lnTo>
                <a:lnTo>
                  <a:pt x="729064" y="624232"/>
                </a:lnTo>
                <a:lnTo>
                  <a:pt x="719534" y="619466"/>
                </a:lnTo>
                <a:lnTo>
                  <a:pt x="719534" y="614702"/>
                </a:lnTo>
                <a:lnTo>
                  <a:pt x="724298" y="605170"/>
                </a:lnTo>
                <a:lnTo>
                  <a:pt x="719534" y="590876"/>
                </a:lnTo>
                <a:lnTo>
                  <a:pt x="714768" y="586110"/>
                </a:lnTo>
                <a:lnTo>
                  <a:pt x="700474" y="595640"/>
                </a:lnTo>
                <a:lnTo>
                  <a:pt x="686178" y="595640"/>
                </a:lnTo>
                <a:lnTo>
                  <a:pt x="667118" y="605170"/>
                </a:lnTo>
                <a:lnTo>
                  <a:pt x="657588" y="619466"/>
                </a:lnTo>
                <a:lnTo>
                  <a:pt x="648056" y="628996"/>
                </a:lnTo>
                <a:lnTo>
                  <a:pt x="619466" y="624232"/>
                </a:lnTo>
                <a:lnTo>
                  <a:pt x="614700" y="628996"/>
                </a:lnTo>
                <a:lnTo>
                  <a:pt x="609936" y="662352"/>
                </a:lnTo>
                <a:lnTo>
                  <a:pt x="605170" y="667118"/>
                </a:lnTo>
                <a:lnTo>
                  <a:pt x="581344" y="667118"/>
                </a:lnTo>
                <a:lnTo>
                  <a:pt x="557520" y="681412"/>
                </a:lnTo>
                <a:lnTo>
                  <a:pt x="533694" y="690942"/>
                </a:lnTo>
                <a:lnTo>
                  <a:pt x="524164" y="686178"/>
                </a:lnTo>
                <a:lnTo>
                  <a:pt x="514634" y="676648"/>
                </a:lnTo>
                <a:lnTo>
                  <a:pt x="500338" y="676648"/>
                </a:lnTo>
                <a:lnTo>
                  <a:pt x="486042" y="681412"/>
                </a:lnTo>
                <a:lnTo>
                  <a:pt x="476512" y="676648"/>
                </a:lnTo>
                <a:lnTo>
                  <a:pt x="466982" y="681412"/>
                </a:lnTo>
                <a:lnTo>
                  <a:pt x="443156" y="686178"/>
                </a:lnTo>
                <a:lnTo>
                  <a:pt x="414566" y="686178"/>
                </a:lnTo>
                <a:lnTo>
                  <a:pt x="405036" y="676648"/>
                </a:lnTo>
                <a:lnTo>
                  <a:pt x="405036" y="671882"/>
                </a:lnTo>
                <a:lnTo>
                  <a:pt x="405036" y="662352"/>
                </a:lnTo>
                <a:lnTo>
                  <a:pt x="405036" y="643292"/>
                </a:lnTo>
                <a:lnTo>
                  <a:pt x="400270" y="624232"/>
                </a:lnTo>
                <a:lnTo>
                  <a:pt x="385974" y="609936"/>
                </a:lnTo>
                <a:lnTo>
                  <a:pt x="371680" y="600406"/>
                </a:lnTo>
                <a:lnTo>
                  <a:pt x="357384" y="586110"/>
                </a:lnTo>
                <a:lnTo>
                  <a:pt x="343088" y="581346"/>
                </a:lnTo>
                <a:lnTo>
                  <a:pt x="333558" y="581346"/>
                </a:lnTo>
                <a:lnTo>
                  <a:pt x="333558" y="576580"/>
                </a:lnTo>
                <a:lnTo>
                  <a:pt x="328794" y="571814"/>
                </a:lnTo>
                <a:lnTo>
                  <a:pt x="324028" y="562284"/>
                </a:lnTo>
                <a:lnTo>
                  <a:pt x="314498" y="557520"/>
                </a:lnTo>
                <a:lnTo>
                  <a:pt x="300202" y="557520"/>
                </a:lnTo>
                <a:lnTo>
                  <a:pt x="290672" y="567050"/>
                </a:lnTo>
                <a:lnTo>
                  <a:pt x="285908" y="552754"/>
                </a:lnTo>
                <a:lnTo>
                  <a:pt x="276376" y="528928"/>
                </a:lnTo>
                <a:lnTo>
                  <a:pt x="281142" y="509868"/>
                </a:lnTo>
                <a:lnTo>
                  <a:pt x="281142" y="490808"/>
                </a:lnTo>
                <a:lnTo>
                  <a:pt x="300202" y="438391"/>
                </a:lnTo>
                <a:lnTo>
                  <a:pt x="300202" y="428861"/>
                </a:lnTo>
                <a:lnTo>
                  <a:pt x="285908" y="414566"/>
                </a:lnTo>
                <a:lnTo>
                  <a:pt x="271612" y="400270"/>
                </a:lnTo>
                <a:lnTo>
                  <a:pt x="262082" y="376445"/>
                </a:lnTo>
                <a:lnTo>
                  <a:pt x="223960" y="376445"/>
                </a:lnTo>
                <a:lnTo>
                  <a:pt x="195370" y="376445"/>
                </a:lnTo>
                <a:lnTo>
                  <a:pt x="185840" y="376445"/>
                </a:lnTo>
                <a:lnTo>
                  <a:pt x="152484" y="366915"/>
                </a:lnTo>
                <a:lnTo>
                  <a:pt x="123892" y="347854"/>
                </a:lnTo>
                <a:lnTo>
                  <a:pt x="104832" y="338324"/>
                </a:lnTo>
                <a:lnTo>
                  <a:pt x="85772" y="328794"/>
                </a:lnTo>
                <a:lnTo>
                  <a:pt x="76242" y="319263"/>
                </a:lnTo>
                <a:lnTo>
                  <a:pt x="61946" y="319263"/>
                </a:lnTo>
                <a:lnTo>
                  <a:pt x="52416" y="319263"/>
                </a:lnTo>
                <a:lnTo>
                  <a:pt x="47650" y="300203"/>
                </a:lnTo>
                <a:lnTo>
                  <a:pt x="52416" y="266847"/>
                </a:lnTo>
                <a:lnTo>
                  <a:pt x="42886" y="223961"/>
                </a:lnTo>
                <a:lnTo>
                  <a:pt x="23824" y="171544"/>
                </a:lnTo>
                <a:lnTo>
                  <a:pt x="23824" y="109598"/>
                </a:lnTo>
                <a:lnTo>
                  <a:pt x="23824" y="100068"/>
                </a:lnTo>
                <a:lnTo>
                  <a:pt x="66712" y="66712"/>
                </a:lnTo>
                <a:lnTo>
                  <a:pt x="119128" y="28591"/>
                </a:lnTo>
                <a:lnTo>
                  <a:pt x="128658" y="23826"/>
                </a:lnTo>
                <a:lnTo>
                  <a:pt x="181074" y="4765"/>
                </a:lnTo>
                <a:lnTo>
                  <a:pt x="185840" y="4765"/>
                </a:lnTo>
                <a:lnTo>
                  <a:pt x="228726" y="9530"/>
                </a:lnTo>
                <a:lnTo>
                  <a:pt x="262082" y="14295"/>
                </a:lnTo>
                <a:lnTo>
                  <a:pt x="295438" y="9530"/>
                </a:lnTo>
                <a:lnTo>
                  <a:pt x="309732" y="4765"/>
                </a:lnTo>
                <a:lnTo>
                  <a:pt x="324028" y="9530"/>
                </a:lnTo>
                <a:lnTo>
                  <a:pt x="333558" y="28591"/>
                </a:lnTo>
                <a:lnTo>
                  <a:pt x="347854" y="23826"/>
                </a:lnTo>
                <a:lnTo>
                  <a:pt x="357384" y="14295"/>
                </a:lnTo>
                <a:lnTo>
                  <a:pt x="424096" y="23826"/>
                </a:lnTo>
                <a:lnTo>
                  <a:pt x="438392" y="23826"/>
                </a:lnTo>
                <a:lnTo>
                  <a:pt x="457452" y="23826"/>
                </a:lnTo>
                <a:lnTo>
                  <a:pt x="486042" y="33356"/>
                </a:lnTo>
                <a:lnTo>
                  <a:pt x="505102" y="42886"/>
                </a:lnTo>
                <a:lnTo>
                  <a:pt x="543224" y="38121"/>
                </a:lnTo>
                <a:lnTo>
                  <a:pt x="557520" y="38121"/>
                </a:lnTo>
                <a:lnTo>
                  <a:pt x="567050" y="33356"/>
                </a:lnTo>
                <a:lnTo>
                  <a:pt x="595640" y="9530"/>
                </a:lnTo>
                <a:lnTo>
                  <a:pt x="605170" y="4765"/>
                </a:lnTo>
                <a:close/>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40" name="CustomShape 65"/>
          <p:cNvSpPr/>
          <p:nvPr/>
        </p:nvSpPr>
        <p:spPr>
          <a:xfrm>
            <a:off x="3026520" y="4755600"/>
            <a:ext cx="48240" cy="70560"/>
          </a:xfrm>
          <a:custGeom>
            <a:avLst/>
            <a:gdLst/>
            <a:ahLst/>
            <a:cxnLst/>
            <a:rect l="l" t="t" r="r" b="b"/>
            <a:pathLst>
              <a:path w="50" h="72">
                <a:moveTo>
                  <a:pt x="26" y="4"/>
                </a:moveTo>
                <a:lnTo>
                  <a:pt x="24" y="4"/>
                </a:lnTo>
                <a:lnTo>
                  <a:pt x="24" y="0"/>
                </a:lnTo>
                <a:lnTo>
                  <a:pt x="20" y="0"/>
                </a:lnTo>
                <a:lnTo>
                  <a:pt x="16" y="0"/>
                </a:lnTo>
                <a:lnTo>
                  <a:pt x="8" y="8"/>
                </a:lnTo>
                <a:lnTo>
                  <a:pt x="6" y="14"/>
                </a:lnTo>
                <a:lnTo>
                  <a:pt x="4" y="20"/>
                </a:lnTo>
                <a:lnTo>
                  <a:pt x="0" y="24"/>
                </a:lnTo>
                <a:lnTo>
                  <a:pt x="0" y="28"/>
                </a:lnTo>
                <a:lnTo>
                  <a:pt x="0" y="30"/>
                </a:lnTo>
                <a:lnTo>
                  <a:pt x="0" y="34"/>
                </a:lnTo>
                <a:lnTo>
                  <a:pt x="0" y="36"/>
                </a:lnTo>
                <a:lnTo>
                  <a:pt x="4" y="40"/>
                </a:lnTo>
                <a:lnTo>
                  <a:pt x="4" y="44"/>
                </a:lnTo>
                <a:lnTo>
                  <a:pt x="10" y="52"/>
                </a:lnTo>
                <a:lnTo>
                  <a:pt x="8" y="56"/>
                </a:lnTo>
                <a:lnTo>
                  <a:pt x="6" y="60"/>
                </a:lnTo>
                <a:lnTo>
                  <a:pt x="6" y="62"/>
                </a:lnTo>
                <a:lnTo>
                  <a:pt x="4" y="64"/>
                </a:lnTo>
                <a:lnTo>
                  <a:pt x="6" y="66"/>
                </a:lnTo>
                <a:lnTo>
                  <a:pt x="10" y="68"/>
                </a:lnTo>
                <a:lnTo>
                  <a:pt x="12" y="70"/>
                </a:lnTo>
                <a:lnTo>
                  <a:pt x="14" y="72"/>
                </a:lnTo>
                <a:lnTo>
                  <a:pt x="18" y="72"/>
                </a:lnTo>
                <a:lnTo>
                  <a:pt x="22" y="72"/>
                </a:lnTo>
                <a:lnTo>
                  <a:pt x="26" y="68"/>
                </a:lnTo>
                <a:lnTo>
                  <a:pt x="30" y="66"/>
                </a:lnTo>
                <a:lnTo>
                  <a:pt x="34" y="68"/>
                </a:lnTo>
                <a:lnTo>
                  <a:pt x="36" y="70"/>
                </a:lnTo>
                <a:lnTo>
                  <a:pt x="40" y="72"/>
                </a:lnTo>
                <a:lnTo>
                  <a:pt x="40" y="66"/>
                </a:lnTo>
                <a:lnTo>
                  <a:pt x="42" y="56"/>
                </a:lnTo>
                <a:lnTo>
                  <a:pt x="44" y="52"/>
                </a:lnTo>
                <a:lnTo>
                  <a:pt x="46" y="48"/>
                </a:lnTo>
                <a:lnTo>
                  <a:pt x="50" y="46"/>
                </a:lnTo>
                <a:lnTo>
                  <a:pt x="50" y="42"/>
                </a:lnTo>
                <a:lnTo>
                  <a:pt x="50" y="36"/>
                </a:lnTo>
                <a:lnTo>
                  <a:pt x="46" y="36"/>
                </a:lnTo>
                <a:lnTo>
                  <a:pt x="38" y="32"/>
                </a:lnTo>
                <a:lnTo>
                  <a:pt x="34" y="30"/>
                </a:lnTo>
                <a:lnTo>
                  <a:pt x="30" y="24"/>
                </a:lnTo>
                <a:lnTo>
                  <a:pt x="26" y="18"/>
                </a:lnTo>
                <a:lnTo>
                  <a:pt x="24" y="12"/>
                </a:lnTo>
                <a:lnTo>
                  <a:pt x="24" y="6"/>
                </a:lnTo>
                <a:lnTo>
                  <a:pt x="26" y="4"/>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41" name="CustomShape 66"/>
          <p:cNvSpPr/>
          <p:nvPr/>
        </p:nvSpPr>
        <p:spPr>
          <a:xfrm>
            <a:off x="3052440" y="4759560"/>
            <a:ext cx="360" cy="360"/>
          </a:xfrm>
          <a:custGeom>
            <a:avLst/>
            <a:gdLst/>
            <a:ahLst/>
            <a:cxnLst/>
            <a:rect l="l" t="t" r="r" b="b"/>
            <a:pathLst>
              <a:path w="21600" h="21600">
                <a:moveTo>
                  <a:pt x="0" y="0"/>
                </a:moveTo>
                <a:lnTo>
                  <a:pt x="21600" y="21600"/>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42" name="CustomShape 67"/>
          <p:cNvSpPr/>
          <p:nvPr/>
        </p:nvSpPr>
        <p:spPr>
          <a:xfrm>
            <a:off x="3052440" y="4759560"/>
            <a:ext cx="360" cy="360"/>
          </a:xfrm>
          <a:custGeom>
            <a:avLst/>
            <a:gdLst/>
            <a:ahLst/>
            <a:cxnLst/>
            <a:rect l="l" t="t" r="r" b="b"/>
            <a:pathLst>
              <a:path w="21600" h="21600">
                <a:moveTo>
                  <a:pt x="0" y="0"/>
                </a:moveTo>
                <a:lnTo>
                  <a:pt x="21600" y="21600"/>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43" name="CustomShape 68"/>
          <p:cNvSpPr/>
          <p:nvPr/>
        </p:nvSpPr>
        <p:spPr>
          <a:xfrm>
            <a:off x="4038480" y="3858480"/>
            <a:ext cx="472680" cy="288720"/>
          </a:xfrm>
          <a:custGeom>
            <a:avLst/>
            <a:gdLst/>
            <a:ahLst/>
            <a:cxnLst/>
            <a:rect l="l" t="t" r="r" b="b"/>
            <a:pathLst>
              <a:path w="470" h="288">
                <a:moveTo>
                  <a:pt x="416" y="66"/>
                </a:moveTo>
                <a:lnTo>
                  <a:pt x="414" y="66"/>
                </a:lnTo>
                <a:lnTo>
                  <a:pt x="404" y="66"/>
                </a:lnTo>
                <a:lnTo>
                  <a:pt x="394" y="60"/>
                </a:lnTo>
                <a:lnTo>
                  <a:pt x="390" y="56"/>
                </a:lnTo>
                <a:lnTo>
                  <a:pt x="386" y="56"/>
                </a:lnTo>
                <a:lnTo>
                  <a:pt x="380" y="58"/>
                </a:lnTo>
                <a:lnTo>
                  <a:pt x="362" y="66"/>
                </a:lnTo>
                <a:lnTo>
                  <a:pt x="356" y="64"/>
                </a:lnTo>
                <a:lnTo>
                  <a:pt x="346" y="58"/>
                </a:lnTo>
                <a:lnTo>
                  <a:pt x="340" y="50"/>
                </a:lnTo>
                <a:lnTo>
                  <a:pt x="328" y="36"/>
                </a:lnTo>
                <a:lnTo>
                  <a:pt x="328" y="32"/>
                </a:lnTo>
                <a:lnTo>
                  <a:pt x="326" y="28"/>
                </a:lnTo>
                <a:lnTo>
                  <a:pt x="314" y="24"/>
                </a:lnTo>
                <a:lnTo>
                  <a:pt x="308" y="20"/>
                </a:lnTo>
                <a:lnTo>
                  <a:pt x="304" y="18"/>
                </a:lnTo>
                <a:lnTo>
                  <a:pt x="298" y="16"/>
                </a:lnTo>
                <a:lnTo>
                  <a:pt x="284" y="4"/>
                </a:lnTo>
                <a:lnTo>
                  <a:pt x="280" y="2"/>
                </a:lnTo>
                <a:lnTo>
                  <a:pt x="278" y="4"/>
                </a:lnTo>
                <a:lnTo>
                  <a:pt x="278" y="8"/>
                </a:lnTo>
                <a:lnTo>
                  <a:pt x="278" y="8"/>
                </a:lnTo>
                <a:lnTo>
                  <a:pt x="276" y="8"/>
                </a:lnTo>
                <a:lnTo>
                  <a:pt x="272" y="4"/>
                </a:lnTo>
                <a:lnTo>
                  <a:pt x="268" y="0"/>
                </a:lnTo>
                <a:lnTo>
                  <a:pt x="256" y="8"/>
                </a:lnTo>
                <a:lnTo>
                  <a:pt x="250" y="10"/>
                </a:lnTo>
                <a:lnTo>
                  <a:pt x="246" y="10"/>
                </a:lnTo>
                <a:lnTo>
                  <a:pt x="226" y="20"/>
                </a:lnTo>
                <a:lnTo>
                  <a:pt x="220" y="24"/>
                </a:lnTo>
                <a:lnTo>
                  <a:pt x="216" y="24"/>
                </a:lnTo>
                <a:lnTo>
                  <a:pt x="216" y="36"/>
                </a:lnTo>
                <a:lnTo>
                  <a:pt x="220" y="52"/>
                </a:lnTo>
                <a:lnTo>
                  <a:pt x="222" y="92"/>
                </a:lnTo>
                <a:lnTo>
                  <a:pt x="220" y="100"/>
                </a:lnTo>
                <a:lnTo>
                  <a:pt x="214" y="110"/>
                </a:lnTo>
                <a:lnTo>
                  <a:pt x="200" y="122"/>
                </a:lnTo>
                <a:lnTo>
                  <a:pt x="190" y="130"/>
                </a:lnTo>
                <a:lnTo>
                  <a:pt x="172" y="134"/>
                </a:lnTo>
                <a:lnTo>
                  <a:pt x="148" y="120"/>
                </a:lnTo>
                <a:lnTo>
                  <a:pt x="138" y="92"/>
                </a:lnTo>
                <a:lnTo>
                  <a:pt x="132" y="82"/>
                </a:lnTo>
                <a:lnTo>
                  <a:pt x="106" y="58"/>
                </a:lnTo>
                <a:lnTo>
                  <a:pt x="104" y="52"/>
                </a:lnTo>
                <a:lnTo>
                  <a:pt x="100" y="42"/>
                </a:lnTo>
                <a:lnTo>
                  <a:pt x="80" y="50"/>
                </a:lnTo>
                <a:lnTo>
                  <a:pt x="60" y="58"/>
                </a:lnTo>
                <a:lnTo>
                  <a:pt x="46" y="62"/>
                </a:lnTo>
                <a:lnTo>
                  <a:pt x="28" y="92"/>
                </a:lnTo>
                <a:lnTo>
                  <a:pt x="26" y="102"/>
                </a:lnTo>
                <a:lnTo>
                  <a:pt x="26" y="114"/>
                </a:lnTo>
                <a:lnTo>
                  <a:pt x="22" y="128"/>
                </a:lnTo>
                <a:lnTo>
                  <a:pt x="16" y="138"/>
                </a:lnTo>
                <a:lnTo>
                  <a:pt x="4" y="152"/>
                </a:lnTo>
                <a:lnTo>
                  <a:pt x="0" y="174"/>
                </a:lnTo>
                <a:lnTo>
                  <a:pt x="0" y="218"/>
                </a:lnTo>
                <a:lnTo>
                  <a:pt x="2" y="242"/>
                </a:lnTo>
                <a:lnTo>
                  <a:pt x="20" y="228"/>
                </a:lnTo>
                <a:lnTo>
                  <a:pt x="42" y="212"/>
                </a:lnTo>
                <a:lnTo>
                  <a:pt x="46" y="210"/>
                </a:lnTo>
                <a:lnTo>
                  <a:pt x="68" y="202"/>
                </a:lnTo>
                <a:lnTo>
                  <a:pt x="70" y="202"/>
                </a:lnTo>
                <a:lnTo>
                  <a:pt x="88" y="204"/>
                </a:lnTo>
                <a:lnTo>
                  <a:pt x="102" y="206"/>
                </a:lnTo>
                <a:lnTo>
                  <a:pt x="116" y="204"/>
                </a:lnTo>
                <a:lnTo>
                  <a:pt x="122" y="202"/>
                </a:lnTo>
                <a:lnTo>
                  <a:pt x="128" y="204"/>
                </a:lnTo>
                <a:lnTo>
                  <a:pt x="132" y="212"/>
                </a:lnTo>
                <a:lnTo>
                  <a:pt x="138" y="210"/>
                </a:lnTo>
                <a:lnTo>
                  <a:pt x="142" y="206"/>
                </a:lnTo>
                <a:lnTo>
                  <a:pt x="170" y="210"/>
                </a:lnTo>
                <a:lnTo>
                  <a:pt x="176" y="210"/>
                </a:lnTo>
                <a:lnTo>
                  <a:pt x="184" y="210"/>
                </a:lnTo>
                <a:lnTo>
                  <a:pt x="196" y="214"/>
                </a:lnTo>
                <a:lnTo>
                  <a:pt x="204" y="218"/>
                </a:lnTo>
                <a:lnTo>
                  <a:pt x="220" y="216"/>
                </a:lnTo>
                <a:lnTo>
                  <a:pt x="226" y="216"/>
                </a:lnTo>
                <a:lnTo>
                  <a:pt x="230" y="214"/>
                </a:lnTo>
                <a:lnTo>
                  <a:pt x="242" y="204"/>
                </a:lnTo>
                <a:lnTo>
                  <a:pt x="246" y="202"/>
                </a:lnTo>
                <a:lnTo>
                  <a:pt x="250" y="200"/>
                </a:lnTo>
                <a:lnTo>
                  <a:pt x="254" y="202"/>
                </a:lnTo>
                <a:lnTo>
                  <a:pt x="258" y="212"/>
                </a:lnTo>
                <a:lnTo>
                  <a:pt x="266" y="226"/>
                </a:lnTo>
                <a:lnTo>
                  <a:pt x="274" y="228"/>
                </a:lnTo>
                <a:lnTo>
                  <a:pt x="300" y="234"/>
                </a:lnTo>
                <a:lnTo>
                  <a:pt x="304" y="236"/>
                </a:lnTo>
                <a:lnTo>
                  <a:pt x="318" y="250"/>
                </a:lnTo>
                <a:lnTo>
                  <a:pt x="326" y="256"/>
                </a:lnTo>
                <a:lnTo>
                  <a:pt x="332" y="262"/>
                </a:lnTo>
                <a:lnTo>
                  <a:pt x="340" y="272"/>
                </a:lnTo>
                <a:lnTo>
                  <a:pt x="346" y="278"/>
                </a:lnTo>
                <a:lnTo>
                  <a:pt x="352" y="284"/>
                </a:lnTo>
                <a:lnTo>
                  <a:pt x="362" y="288"/>
                </a:lnTo>
                <a:lnTo>
                  <a:pt x="366" y="288"/>
                </a:lnTo>
                <a:lnTo>
                  <a:pt x="368" y="286"/>
                </a:lnTo>
                <a:lnTo>
                  <a:pt x="378" y="286"/>
                </a:lnTo>
                <a:lnTo>
                  <a:pt x="380" y="284"/>
                </a:lnTo>
                <a:lnTo>
                  <a:pt x="388" y="272"/>
                </a:lnTo>
                <a:lnTo>
                  <a:pt x="396" y="270"/>
                </a:lnTo>
                <a:lnTo>
                  <a:pt x="412" y="272"/>
                </a:lnTo>
                <a:lnTo>
                  <a:pt x="420" y="272"/>
                </a:lnTo>
                <a:lnTo>
                  <a:pt x="422" y="272"/>
                </a:lnTo>
                <a:lnTo>
                  <a:pt x="430" y="272"/>
                </a:lnTo>
                <a:lnTo>
                  <a:pt x="430" y="272"/>
                </a:lnTo>
                <a:lnTo>
                  <a:pt x="434" y="260"/>
                </a:lnTo>
                <a:lnTo>
                  <a:pt x="438" y="256"/>
                </a:lnTo>
                <a:lnTo>
                  <a:pt x="450" y="240"/>
                </a:lnTo>
                <a:lnTo>
                  <a:pt x="460" y="234"/>
                </a:lnTo>
                <a:lnTo>
                  <a:pt x="466" y="232"/>
                </a:lnTo>
                <a:lnTo>
                  <a:pt x="468" y="232"/>
                </a:lnTo>
                <a:lnTo>
                  <a:pt x="470" y="226"/>
                </a:lnTo>
                <a:lnTo>
                  <a:pt x="470" y="218"/>
                </a:lnTo>
                <a:lnTo>
                  <a:pt x="470" y="212"/>
                </a:lnTo>
                <a:lnTo>
                  <a:pt x="468" y="204"/>
                </a:lnTo>
                <a:lnTo>
                  <a:pt x="466" y="188"/>
                </a:lnTo>
                <a:lnTo>
                  <a:pt x="464" y="184"/>
                </a:lnTo>
                <a:lnTo>
                  <a:pt x="458" y="178"/>
                </a:lnTo>
                <a:lnTo>
                  <a:pt x="456" y="172"/>
                </a:lnTo>
                <a:lnTo>
                  <a:pt x="454" y="166"/>
                </a:lnTo>
                <a:lnTo>
                  <a:pt x="450" y="162"/>
                </a:lnTo>
                <a:lnTo>
                  <a:pt x="450" y="152"/>
                </a:lnTo>
                <a:lnTo>
                  <a:pt x="448" y="148"/>
                </a:lnTo>
                <a:lnTo>
                  <a:pt x="444" y="146"/>
                </a:lnTo>
                <a:lnTo>
                  <a:pt x="436" y="150"/>
                </a:lnTo>
                <a:lnTo>
                  <a:pt x="434" y="148"/>
                </a:lnTo>
                <a:lnTo>
                  <a:pt x="438" y="134"/>
                </a:lnTo>
                <a:lnTo>
                  <a:pt x="440" y="124"/>
                </a:lnTo>
                <a:lnTo>
                  <a:pt x="442" y="114"/>
                </a:lnTo>
                <a:lnTo>
                  <a:pt x="446" y="110"/>
                </a:lnTo>
                <a:lnTo>
                  <a:pt x="446" y="106"/>
                </a:lnTo>
                <a:lnTo>
                  <a:pt x="448" y="100"/>
                </a:lnTo>
                <a:lnTo>
                  <a:pt x="446" y="96"/>
                </a:lnTo>
                <a:lnTo>
                  <a:pt x="444" y="92"/>
                </a:lnTo>
                <a:lnTo>
                  <a:pt x="436" y="86"/>
                </a:lnTo>
                <a:lnTo>
                  <a:pt x="428" y="78"/>
                </a:lnTo>
                <a:lnTo>
                  <a:pt x="426" y="70"/>
                </a:lnTo>
                <a:lnTo>
                  <a:pt x="422" y="66"/>
                </a:lnTo>
                <a:lnTo>
                  <a:pt x="416" y="66"/>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44" name="CustomShape 69"/>
          <p:cNvSpPr/>
          <p:nvPr/>
        </p:nvSpPr>
        <p:spPr>
          <a:xfrm>
            <a:off x="4000320" y="5505120"/>
            <a:ext cx="167400" cy="131040"/>
          </a:xfrm>
          <a:custGeom>
            <a:avLst/>
            <a:gdLst/>
            <a:ahLst/>
            <a:cxnLst/>
            <a:rect l="l" t="t" r="r" b="b"/>
            <a:pathLst>
              <a:path w="168" h="132">
                <a:moveTo>
                  <a:pt x="124" y="4"/>
                </a:moveTo>
                <a:lnTo>
                  <a:pt x="124" y="2"/>
                </a:lnTo>
                <a:lnTo>
                  <a:pt x="120" y="0"/>
                </a:lnTo>
                <a:lnTo>
                  <a:pt x="118" y="0"/>
                </a:lnTo>
                <a:lnTo>
                  <a:pt x="112" y="2"/>
                </a:lnTo>
                <a:lnTo>
                  <a:pt x="106" y="4"/>
                </a:lnTo>
                <a:lnTo>
                  <a:pt x="102" y="2"/>
                </a:lnTo>
                <a:lnTo>
                  <a:pt x="96" y="2"/>
                </a:lnTo>
                <a:lnTo>
                  <a:pt x="92" y="4"/>
                </a:lnTo>
                <a:lnTo>
                  <a:pt x="90" y="4"/>
                </a:lnTo>
                <a:lnTo>
                  <a:pt x="86" y="8"/>
                </a:lnTo>
                <a:lnTo>
                  <a:pt x="78" y="10"/>
                </a:lnTo>
                <a:lnTo>
                  <a:pt x="74" y="10"/>
                </a:lnTo>
                <a:lnTo>
                  <a:pt x="74" y="10"/>
                </a:lnTo>
                <a:lnTo>
                  <a:pt x="62" y="12"/>
                </a:lnTo>
                <a:lnTo>
                  <a:pt x="58" y="14"/>
                </a:lnTo>
                <a:lnTo>
                  <a:pt x="56" y="20"/>
                </a:lnTo>
                <a:lnTo>
                  <a:pt x="56" y="22"/>
                </a:lnTo>
                <a:lnTo>
                  <a:pt x="54" y="22"/>
                </a:lnTo>
                <a:lnTo>
                  <a:pt x="50" y="20"/>
                </a:lnTo>
                <a:lnTo>
                  <a:pt x="46" y="16"/>
                </a:lnTo>
                <a:lnTo>
                  <a:pt x="40" y="16"/>
                </a:lnTo>
                <a:lnTo>
                  <a:pt x="22" y="24"/>
                </a:lnTo>
                <a:lnTo>
                  <a:pt x="20" y="30"/>
                </a:lnTo>
                <a:lnTo>
                  <a:pt x="20" y="40"/>
                </a:lnTo>
                <a:lnTo>
                  <a:pt x="18" y="42"/>
                </a:lnTo>
                <a:lnTo>
                  <a:pt x="16" y="44"/>
                </a:lnTo>
                <a:lnTo>
                  <a:pt x="10" y="42"/>
                </a:lnTo>
                <a:lnTo>
                  <a:pt x="8" y="42"/>
                </a:lnTo>
                <a:lnTo>
                  <a:pt x="8" y="44"/>
                </a:lnTo>
                <a:lnTo>
                  <a:pt x="4" y="58"/>
                </a:lnTo>
                <a:lnTo>
                  <a:pt x="6" y="64"/>
                </a:lnTo>
                <a:lnTo>
                  <a:pt x="6" y="68"/>
                </a:lnTo>
                <a:lnTo>
                  <a:pt x="2" y="70"/>
                </a:lnTo>
                <a:lnTo>
                  <a:pt x="0" y="74"/>
                </a:lnTo>
                <a:lnTo>
                  <a:pt x="4" y="84"/>
                </a:lnTo>
                <a:lnTo>
                  <a:pt x="4" y="90"/>
                </a:lnTo>
                <a:lnTo>
                  <a:pt x="4" y="94"/>
                </a:lnTo>
                <a:lnTo>
                  <a:pt x="8" y="108"/>
                </a:lnTo>
                <a:lnTo>
                  <a:pt x="12" y="112"/>
                </a:lnTo>
                <a:lnTo>
                  <a:pt x="14" y="114"/>
                </a:lnTo>
                <a:lnTo>
                  <a:pt x="18" y="124"/>
                </a:lnTo>
                <a:lnTo>
                  <a:pt x="20" y="126"/>
                </a:lnTo>
                <a:lnTo>
                  <a:pt x="28" y="126"/>
                </a:lnTo>
                <a:lnTo>
                  <a:pt x="32" y="128"/>
                </a:lnTo>
                <a:lnTo>
                  <a:pt x="34" y="130"/>
                </a:lnTo>
                <a:lnTo>
                  <a:pt x="34" y="132"/>
                </a:lnTo>
                <a:lnTo>
                  <a:pt x="44" y="132"/>
                </a:lnTo>
                <a:lnTo>
                  <a:pt x="46" y="130"/>
                </a:lnTo>
                <a:lnTo>
                  <a:pt x="58" y="130"/>
                </a:lnTo>
                <a:lnTo>
                  <a:pt x="64" y="126"/>
                </a:lnTo>
                <a:lnTo>
                  <a:pt x="66" y="128"/>
                </a:lnTo>
                <a:lnTo>
                  <a:pt x="74" y="130"/>
                </a:lnTo>
                <a:lnTo>
                  <a:pt x="78" y="128"/>
                </a:lnTo>
                <a:lnTo>
                  <a:pt x="88" y="124"/>
                </a:lnTo>
                <a:lnTo>
                  <a:pt x="98" y="110"/>
                </a:lnTo>
                <a:lnTo>
                  <a:pt x="102" y="108"/>
                </a:lnTo>
                <a:lnTo>
                  <a:pt x="112" y="106"/>
                </a:lnTo>
                <a:lnTo>
                  <a:pt x="114" y="104"/>
                </a:lnTo>
                <a:lnTo>
                  <a:pt x="118" y="106"/>
                </a:lnTo>
                <a:lnTo>
                  <a:pt x="128" y="108"/>
                </a:lnTo>
                <a:lnTo>
                  <a:pt x="134" y="108"/>
                </a:lnTo>
                <a:lnTo>
                  <a:pt x="142" y="106"/>
                </a:lnTo>
                <a:lnTo>
                  <a:pt x="150" y="104"/>
                </a:lnTo>
                <a:lnTo>
                  <a:pt x="152" y="92"/>
                </a:lnTo>
                <a:lnTo>
                  <a:pt x="154" y="90"/>
                </a:lnTo>
                <a:lnTo>
                  <a:pt x="158" y="90"/>
                </a:lnTo>
                <a:lnTo>
                  <a:pt x="162" y="90"/>
                </a:lnTo>
                <a:lnTo>
                  <a:pt x="164" y="88"/>
                </a:lnTo>
                <a:lnTo>
                  <a:pt x="164" y="66"/>
                </a:lnTo>
                <a:lnTo>
                  <a:pt x="168" y="56"/>
                </a:lnTo>
                <a:lnTo>
                  <a:pt x="168" y="54"/>
                </a:lnTo>
                <a:lnTo>
                  <a:pt x="168" y="52"/>
                </a:lnTo>
                <a:lnTo>
                  <a:pt x="164" y="52"/>
                </a:lnTo>
                <a:lnTo>
                  <a:pt x="162" y="46"/>
                </a:lnTo>
                <a:lnTo>
                  <a:pt x="158" y="32"/>
                </a:lnTo>
                <a:lnTo>
                  <a:pt x="154" y="28"/>
                </a:lnTo>
                <a:lnTo>
                  <a:pt x="148" y="26"/>
                </a:lnTo>
                <a:lnTo>
                  <a:pt x="140" y="22"/>
                </a:lnTo>
                <a:lnTo>
                  <a:pt x="136" y="16"/>
                </a:lnTo>
                <a:lnTo>
                  <a:pt x="124" y="4"/>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45" name="CustomShape 70"/>
          <p:cNvSpPr/>
          <p:nvPr/>
        </p:nvSpPr>
        <p:spPr>
          <a:xfrm>
            <a:off x="3585960" y="6042600"/>
            <a:ext cx="21960" cy="18000"/>
          </a:xfrm>
          <a:custGeom>
            <a:avLst/>
            <a:gdLst/>
            <a:ahLst/>
            <a:cxnLst/>
            <a:rect l="l" t="t" r="r" b="b"/>
            <a:pathLst>
              <a:path w="57180" h="47652">
                <a:moveTo>
                  <a:pt x="28590" y="19060"/>
                </a:moveTo>
                <a:lnTo>
                  <a:pt x="42886" y="23826"/>
                </a:lnTo>
                <a:lnTo>
                  <a:pt x="57180" y="33356"/>
                </a:lnTo>
                <a:lnTo>
                  <a:pt x="57180" y="42886"/>
                </a:lnTo>
                <a:lnTo>
                  <a:pt x="52416" y="47652"/>
                </a:lnTo>
                <a:lnTo>
                  <a:pt x="38120" y="47652"/>
                </a:lnTo>
                <a:lnTo>
                  <a:pt x="28590" y="38120"/>
                </a:lnTo>
                <a:close/>
                <a:moveTo>
                  <a:pt x="14294" y="0"/>
                </a:moveTo>
                <a:lnTo>
                  <a:pt x="19060" y="0"/>
                </a:lnTo>
                <a:lnTo>
                  <a:pt x="19060" y="4764"/>
                </a:lnTo>
                <a:lnTo>
                  <a:pt x="19060" y="9528"/>
                </a:lnTo>
                <a:lnTo>
                  <a:pt x="9530" y="9528"/>
                </a:lnTo>
                <a:lnTo>
                  <a:pt x="0" y="4764"/>
                </a:lnTo>
                <a:close/>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46" name="CustomShape 71"/>
          <p:cNvSpPr/>
          <p:nvPr/>
        </p:nvSpPr>
        <p:spPr>
          <a:xfrm>
            <a:off x="3866760" y="5397840"/>
            <a:ext cx="125280" cy="147240"/>
          </a:xfrm>
          <a:custGeom>
            <a:avLst/>
            <a:gdLst/>
            <a:ahLst/>
            <a:cxnLst/>
            <a:rect l="l" t="t" r="r" b="b"/>
            <a:pathLst>
              <a:path w="126" h="148">
                <a:moveTo>
                  <a:pt x="50" y="0"/>
                </a:moveTo>
                <a:lnTo>
                  <a:pt x="48" y="0"/>
                </a:lnTo>
                <a:lnTo>
                  <a:pt x="44" y="0"/>
                </a:lnTo>
                <a:lnTo>
                  <a:pt x="42" y="2"/>
                </a:lnTo>
                <a:lnTo>
                  <a:pt x="40" y="0"/>
                </a:lnTo>
                <a:lnTo>
                  <a:pt x="36" y="0"/>
                </a:lnTo>
                <a:lnTo>
                  <a:pt x="34" y="0"/>
                </a:lnTo>
                <a:lnTo>
                  <a:pt x="34" y="4"/>
                </a:lnTo>
                <a:lnTo>
                  <a:pt x="36" y="8"/>
                </a:lnTo>
                <a:lnTo>
                  <a:pt x="40" y="16"/>
                </a:lnTo>
                <a:lnTo>
                  <a:pt x="40" y="22"/>
                </a:lnTo>
                <a:lnTo>
                  <a:pt x="36" y="22"/>
                </a:lnTo>
                <a:lnTo>
                  <a:pt x="34" y="18"/>
                </a:lnTo>
                <a:lnTo>
                  <a:pt x="30" y="16"/>
                </a:lnTo>
                <a:lnTo>
                  <a:pt x="28" y="18"/>
                </a:lnTo>
                <a:lnTo>
                  <a:pt x="22" y="22"/>
                </a:lnTo>
                <a:lnTo>
                  <a:pt x="16" y="28"/>
                </a:lnTo>
                <a:lnTo>
                  <a:pt x="16" y="30"/>
                </a:lnTo>
                <a:lnTo>
                  <a:pt x="14" y="34"/>
                </a:lnTo>
                <a:lnTo>
                  <a:pt x="12" y="36"/>
                </a:lnTo>
                <a:lnTo>
                  <a:pt x="14" y="46"/>
                </a:lnTo>
                <a:lnTo>
                  <a:pt x="4" y="48"/>
                </a:lnTo>
                <a:lnTo>
                  <a:pt x="2" y="48"/>
                </a:lnTo>
                <a:lnTo>
                  <a:pt x="2" y="52"/>
                </a:lnTo>
                <a:lnTo>
                  <a:pt x="2" y="62"/>
                </a:lnTo>
                <a:lnTo>
                  <a:pt x="2" y="68"/>
                </a:lnTo>
                <a:lnTo>
                  <a:pt x="8" y="78"/>
                </a:lnTo>
                <a:lnTo>
                  <a:pt x="8" y="80"/>
                </a:lnTo>
                <a:lnTo>
                  <a:pt x="8" y="82"/>
                </a:lnTo>
                <a:lnTo>
                  <a:pt x="4" y="86"/>
                </a:lnTo>
                <a:lnTo>
                  <a:pt x="2" y="88"/>
                </a:lnTo>
                <a:lnTo>
                  <a:pt x="0" y="88"/>
                </a:lnTo>
                <a:lnTo>
                  <a:pt x="0" y="90"/>
                </a:lnTo>
                <a:lnTo>
                  <a:pt x="4" y="94"/>
                </a:lnTo>
                <a:lnTo>
                  <a:pt x="6" y="98"/>
                </a:lnTo>
                <a:lnTo>
                  <a:pt x="8" y="100"/>
                </a:lnTo>
                <a:lnTo>
                  <a:pt x="10" y="98"/>
                </a:lnTo>
                <a:lnTo>
                  <a:pt x="14" y="98"/>
                </a:lnTo>
                <a:lnTo>
                  <a:pt x="14" y="100"/>
                </a:lnTo>
                <a:lnTo>
                  <a:pt x="12" y="102"/>
                </a:lnTo>
                <a:lnTo>
                  <a:pt x="14" y="104"/>
                </a:lnTo>
                <a:lnTo>
                  <a:pt x="30" y="116"/>
                </a:lnTo>
                <a:lnTo>
                  <a:pt x="46" y="132"/>
                </a:lnTo>
                <a:lnTo>
                  <a:pt x="50" y="142"/>
                </a:lnTo>
                <a:lnTo>
                  <a:pt x="60" y="148"/>
                </a:lnTo>
                <a:lnTo>
                  <a:pt x="60" y="144"/>
                </a:lnTo>
                <a:lnTo>
                  <a:pt x="62" y="138"/>
                </a:lnTo>
                <a:lnTo>
                  <a:pt x="60" y="134"/>
                </a:lnTo>
                <a:lnTo>
                  <a:pt x="62" y="132"/>
                </a:lnTo>
                <a:lnTo>
                  <a:pt x="60" y="128"/>
                </a:lnTo>
                <a:lnTo>
                  <a:pt x="52" y="124"/>
                </a:lnTo>
                <a:lnTo>
                  <a:pt x="44" y="112"/>
                </a:lnTo>
                <a:lnTo>
                  <a:pt x="50" y="112"/>
                </a:lnTo>
                <a:lnTo>
                  <a:pt x="56" y="114"/>
                </a:lnTo>
                <a:lnTo>
                  <a:pt x="62" y="112"/>
                </a:lnTo>
                <a:lnTo>
                  <a:pt x="64" y="106"/>
                </a:lnTo>
                <a:lnTo>
                  <a:pt x="68" y="100"/>
                </a:lnTo>
                <a:lnTo>
                  <a:pt x="74" y="94"/>
                </a:lnTo>
                <a:lnTo>
                  <a:pt x="76" y="86"/>
                </a:lnTo>
                <a:lnTo>
                  <a:pt x="80" y="82"/>
                </a:lnTo>
                <a:lnTo>
                  <a:pt x="84" y="80"/>
                </a:lnTo>
                <a:lnTo>
                  <a:pt x="86" y="82"/>
                </a:lnTo>
                <a:lnTo>
                  <a:pt x="86" y="84"/>
                </a:lnTo>
                <a:lnTo>
                  <a:pt x="86" y="90"/>
                </a:lnTo>
                <a:lnTo>
                  <a:pt x="88" y="94"/>
                </a:lnTo>
                <a:lnTo>
                  <a:pt x="90" y="94"/>
                </a:lnTo>
                <a:lnTo>
                  <a:pt x="94" y="94"/>
                </a:lnTo>
                <a:lnTo>
                  <a:pt x="100" y="92"/>
                </a:lnTo>
                <a:lnTo>
                  <a:pt x="106" y="88"/>
                </a:lnTo>
                <a:lnTo>
                  <a:pt x="108" y="88"/>
                </a:lnTo>
                <a:lnTo>
                  <a:pt x="108" y="88"/>
                </a:lnTo>
                <a:lnTo>
                  <a:pt x="108" y="82"/>
                </a:lnTo>
                <a:lnTo>
                  <a:pt x="108" y="76"/>
                </a:lnTo>
                <a:lnTo>
                  <a:pt x="106" y="72"/>
                </a:lnTo>
                <a:lnTo>
                  <a:pt x="106" y="70"/>
                </a:lnTo>
                <a:lnTo>
                  <a:pt x="112" y="70"/>
                </a:lnTo>
                <a:lnTo>
                  <a:pt x="116" y="70"/>
                </a:lnTo>
                <a:lnTo>
                  <a:pt x="118" y="66"/>
                </a:lnTo>
                <a:lnTo>
                  <a:pt x="126" y="64"/>
                </a:lnTo>
                <a:lnTo>
                  <a:pt x="126" y="62"/>
                </a:lnTo>
                <a:lnTo>
                  <a:pt x="126" y="58"/>
                </a:lnTo>
                <a:lnTo>
                  <a:pt x="120" y="54"/>
                </a:lnTo>
                <a:lnTo>
                  <a:pt x="114" y="52"/>
                </a:lnTo>
                <a:lnTo>
                  <a:pt x="100" y="40"/>
                </a:lnTo>
                <a:lnTo>
                  <a:pt x="94" y="40"/>
                </a:lnTo>
                <a:lnTo>
                  <a:pt x="88" y="38"/>
                </a:lnTo>
                <a:lnTo>
                  <a:pt x="82" y="34"/>
                </a:lnTo>
                <a:lnTo>
                  <a:pt x="78" y="32"/>
                </a:lnTo>
                <a:lnTo>
                  <a:pt x="74" y="30"/>
                </a:lnTo>
                <a:lnTo>
                  <a:pt x="64" y="18"/>
                </a:lnTo>
                <a:lnTo>
                  <a:pt x="58" y="10"/>
                </a:lnTo>
                <a:lnTo>
                  <a:pt x="52" y="8"/>
                </a:lnTo>
                <a:lnTo>
                  <a:pt x="50" y="4"/>
                </a:lnTo>
                <a:lnTo>
                  <a:pt x="50" y="2"/>
                </a:lnTo>
                <a:lnTo>
                  <a:pt x="50" y="0"/>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47" name="CustomShape 72"/>
          <p:cNvSpPr/>
          <p:nvPr/>
        </p:nvSpPr>
        <p:spPr>
          <a:xfrm>
            <a:off x="2963880" y="1793520"/>
            <a:ext cx="1731240" cy="2068920"/>
          </a:xfrm>
          <a:custGeom>
            <a:avLst/>
            <a:gdLst/>
            <a:ahLst/>
            <a:cxnLst/>
            <a:rect l="l" t="t" r="r" b="b"/>
            <a:pathLst>
              <a:path w="4088480" h="4884255">
                <a:moveTo>
                  <a:pt x="28592" y="4140896"/>
                </a:moveTo>
                <a:lnTo>
                  <a:pt x="33356" y="4140896"/>
                </a:lnTo>
                <a:lnTo>
                  <a:pt x="42886" y="4159956"/>
                </a:lnTo>
                <a:lnTo>
                  <a:pt x="47652" y="4188547"/>
                </a:lnTo>
                <a:lnTo>
                  <a:pt x="47652" y="4221903"/>
                </a:lnTo>
                <a:lnTo>
                  <a:pt x="33356" y="4221903"/>
                </a:lnTo>
                <a:lnTo>
                  <a:pt x="28592" y="4207608"/>
                </a:lnTo>
                <a:lnTo>
                  <a:pt x="23826" y="4198077"/>
                </a:lnTo>
                <a:lnTo>
                  <a:pt x="23826" y="4174252"/>
                </a:lnTo>
                <a:lnTo>
                  <a:pt x="23826" y="4155191"/>
                </a:lnTo>
                <a:close/>
                <a:moveTo>
                  <a:pt x="9530" y="3902639"/>
                </a:moveTo>
                <a:lnTo>
                  <a:pt x="19060" y="3902639"/>
                </a:lnTo>
                <a:lnTo>
                  <a:pt x="28592" y="3916934"/>
                </a:lnTo>
                <a:lnTo>
                  <a:pt x="28592" y="3940760"/>
                </a:lnTo>
                <a:lnTo>
                  <a:pt x="14296" y="3945525"/>
                </a:lnTo>
                <a:lnTo>
                  <a:pt x="0" y="3940760"/>
                </a:lnTo>
                <a:lnTo>
                  <a:pt x="4766" y="3907404"/>
                </a:lnTo>
                <a:close/>
                <a:moveTo>
                  <a:pt x="514634" y="3135454"/>
                </a:moveTo>
                <a:lnTo>
                  <a:pt x="524164" y="3149749"/>
                </a:lnTo>
                <a:lnTo>
                  <a:pt x="524164" y="3173575"/>
                </a:lnTo>
                <a:lnTo>
                  <a:pt x="519398" y="3183105"/>
                </a:lnTo>
                <a:lnTo>
                  <a:pt x="500338" y="3183105"/>
                </a:lnTo>
                <a:lnTo>
                  <a:pt x="486044" y="3178340"/>
                </a:lnTo>
                <a:lnTo>
                  <a:pt x="471748" y="3168810"/>
                </a:lnTo>
                <a:lnTo>
                  <a:pt x="471748" y="3159279"/>
                </a:lnTo>
                <a:lnTo>
                  <a:pt x="490808" y="3144984"/>
                </a:lnTo>
                <a:close/>
                <a:moveTo>
                  <a:pt x="614702" y="3021091"/>
                </a:moveTo>
                <a:lnTo>
                  <a:pt x="619466" y="3021091"/>
                </a:lnTo>
                <a:lnTo>
                  <a:pt x="628996" y="3030621"/>
                </a:lnTo>
                <a:lnTo>
                  <a:pt x="628996" y="3049682"/>
                </a:lnTo>
                <a:lnTo>
                  <a:pt x="624232" y="3054447"/>
                </a:lnTo>
                <a:lnTo>
                  <a:pt x="576580" y="3068742"/>
                </a:lnTo>
                <a:lnTo>
                  <a:pt x="557520" y="3068742"/>
                </a:lnTo>
                <a:lnTo>
                  <a:pt x="547990" y="3059212"/>
                </a:lnTo>
                <a:lnTo>
                  <a:pt x="571816" y="3044917"/>
                </a:lnTo>
                <a:lnTo>
                  <a:pt x="609936" y="3030621"/>
                </a:lnTo>
                <a:close/>
                <a:moveTo>
                  <a:pt x="972086" y="2596995"/>
                </a:moveTo>
                <a:lnTo>
                  <a:pt x="991146" y="2596995"/>
                </a:lnTo>
                <a:lnTo>
                  <a:pt x="1010208" y="2620821"/>
                </a:lnTo>
                <a:lnTo>
                  <a:pt x="1005442" y="2635116"/>
                </a:lnTo>
                <a:lnTo>
                  <a:pt x="995912" y="2644646"/>
                </a:lnTo>
                <a:lnTo>
                  <a:pt x="981616" y="2639881"/>
                </a:lnTo>
                <a:lnTo>
                  <a:pt x="943496" y="2644646"/>
                </a:lnTo>
                <a:lnTo>
                  <a:pt x="929200" y="2635116"/>
                </a:lnTo>
                <a:lnTo>
                  <a:pt x="938730" y="2616055"/>
                </a:lnTo>
                <a:close/>
                <a:moveTo>
                  <a:pt x="1105510" y="2325382"/>
                </a:moveTo>
                <a:lnTo>
                  <a:pt x="1124570" y="2325382"/>
                </a:lnTo>
                <a:lnTo>
                  <a:pt x="1129336" y="2334912"/>
                </a:lnTo>
                <a:lnTo>
                  <a:pt x="1119804" y="2353973"/>
                </a:lnTo>
                <a:lnTo>
                  <a:pt x="1110274" y="2363503"/>
                </a:lnTo>
                <a:lnTo>
                  <a:pt x="1091214" y="2363503"/>
                </a:lnTo>
                <a:lnTo>
                  <a:pt x="1091214" y="2353973"/>
                </a:lnTo>
                <a:lnTo>
                  <a:pt x="1095980" y="2330147"/>
                </a:lnTo>
                <a:close/>
                <a:moveTo>
                  <a:pt x="1224638" y="2206254"/>
                </a:moveTo>
                <a:lnTo>
                  <a:pt x="1243698" y="2206254"/>
                </a:lnTo>
                <a:lnTo>
                  <a:pt x="1248464" y="2215784"/>
                </a:lnTo>
                <a:lnTo>
                  <a:pt x="1238934" y="2225314"/>
                </a:lnTo>
                <a:lnTo>
                  <a:pt x="1205578" y="2249140"/>
                </a:lnTo>
                <a:lnTo>
                  <a:pt x="1191282" y="2249140"/>
                </a:lnTo>
                <a:lnTo>
                  <a:pt x="1191282" y="2234845"/>
                </a:lnTo>
                <a:lnTo>
                  <a:pt x="1200812" y="2220549"/>
                </a:lnTo>
                <a:lnTo>
                  <a:pt x="1210342" y="2211019"/>
                </a:lnTo>
                <a:close/>
                <a:moveTo>
                  <a:pt x="1210342" y="2130012"/>
                </a:moveTo>
                <a:lnTo>
                  <a:pt x="1224638" y="2144307"/>
                </a:lnTo>
                <a:lnTo>
                  <a:pt x="1224638" y="2163368"/>
                </a:lnTo>
                <a:lnTo>
                  <a:pt x="1215108" y="2182429"/>
                </a:lnTo>
                <a:lnTo>
                  <a:pt x="1191282" y="2196724"/>
                </a:lnTo>
                <a:lnTo>
                  <a:pt x="1176988" y="2196724"/>
                </a:lnTo>
                <a:lnTo>
                  <a:pt x="1181752" y="2182429"/>
                </a:lnTo>
                <a:lnTo>
                  <a:pt x="1191282" y="2163368"/>
                </a:lnTo>
                <a:lnTo>
                  <a:pt x="1196048" y="2153838"/>
                </a:lnTo>
                <a:lnTo>
                  <a:pt x="1200812" y="2139542"/>
                </a:lnTo>
                <a:close/>
                <a:moveTo>
                  <a:pt x="1291350" y="1381887"/>
                </a:moveTo>
                <a:lnTo>
                  <a:pt x="1300880" y="1391417"/>
                </a:lnTo>
                <a:lnTo>
                  <a:pt x="1296114" y="1410478"/>
                </a:lnTo>
                <a:lnTo>
                  <a:pt x="1296114" y="1429538"/>
                </a:lnTo>
                <a:lnTo>
                  <a:pt x="1296114" y="1439069"/>
                </a:lnTo>
                <a:lnTo>
                  <a:pt x="1277054" y="1462894"/>
                </a:lnTo>
                <a:lnTo>
                  <a:pt x="1253228" y="1486720"/>
                </a:lnTo>
                <a:lnTo>
                  <a:pt x="1262760" y="1443834"/>
                </a:lnTo>
                <a:lnTo>
                  <a:pt x="1277054" y="1405713"/>
                </a:lnTo>
                <a:close/>
                <a:moveTo>
                  <a:pt x="1391418" y="1296115"/>
                </a:moveTo>
                <a:lnTo>
                  <a:pt x="1405712" y="1296115"/>
                </a:lnTo>
                <a:lnTo>
                  <a:pt x="1420008" y="1300880"/>
                </a:lnTo>
                <a:lnTo>
                  <a:pt x="1429538" y="1305645"/>
                </a:lnTo>
                <a:lnTo>
                  <a:pt x="1453364" y="1305645"/>
                </a:lnTo>
                <a:lnTo>
                  <a:pt x="1458128" y="1305645"/>
                </a:lnTo>
                <a:lnTo>
                  <a:pt x="1453364" y="1319941"/>
                </a:lnTo>
                <a:lnTo>
                  <a:pt x="1443834" y="1334236"/>
                </a:lnTo>
                <a:lnTo>
                  <a:pt x="1420008" y="1339001"/>
                </a:lnTo>
                <a:lnTo>
                  <a:pt x="1410478" y="1362827"/>
                </a:lnTo>
                <a:lnTo>
                  <a:pt x="1405712" y="1367592"/>
                </a:lnTo>
                <a:lnTo>
                  <a:pt x="1386652" y="1367592"/>
                </a:lnTo>
                <a:lnTo>
                  <a:pt x="1372356" y="1372357"/>
                </a:lnTo>
                <a:lnTo>
                  <a:pt x="1358062" y="1391417"/>
                </a:lnTo>
                <a:lnTo>
                  <a:pt x="1348530" y="1377122"/>
                </a:lnTo>
                <a:lnTo>
                  <a:pt x="1343766" y="1386652"/>
                </a:lnTo>
                <a:lnTo>
                  <a:pt x="1343766" y="1400948"/>
                </a:lnTo>
                <a:lnTo>
                  <a:pt x="1339000" y="1405713"/>
                </a:lnTo>
                <a:lnTo>
                  <a:pt x="1319940" y="1410478"/>
                </a:lnTo>
                <a:lnTo>
                  <a:pt x="1315176" y="1372357"/>
                </a:lnTo>
                <a:lnTo>
                  <a:pt x="1324706" y="1362827"/>
                </a:lnTo>
                <a:lnTo>
                  <a:pt x="1329470" y="1343766"/>
                </a:lnTo>
                <a:lnTo>
                  <a:pt x="1339000" y="1339001"/>
                </a:lnTo>
                <a:lnTo>
                  <a:pt x="1348530" y="1343766"/>
                </a:lnTo>
                <a:lnTo>
                  <a:pt x="1367592" y="1305645"/>
                </a:lnTo>
                <a:close/>
                <a:moveTo>
                  <a:pt x="1610612" y="981617"/>
                </a:moveTo>
                <a:lnTo>
                  <a:pt x="1615378" y="981617"/>
                </a:lnTo>
                <a:lnTo>
                  <a:pt x="1620144" y="991147"/>
                </a:lnTo>
                <a:lnTo>
                  <a:pt x="1629674" y="1010208"/>
                </a:lnTo>
                <a:lnTo>
                  <a:pt x="1648734" y="1053094"/>
                </a:lnTo>
                <a:lnTo>
                  <a:pt x="1658264" y="1076920"/>
                </a:lnTo>
                <a:lnTo>
                  <a:pt x="1648734" y="1124571"/>
                </a:lnTo>
                <a:lnTo>
                  <a:pt x="1629674" y="1148397"/>
                </a:lnTo>
                <a:lnTo>
                  <a:pt x="1601082" y="1153162"/>
                </a:lnTo>
                <a:lnTo>
                  <a:pt x="1577256" y="1153162"/>
                </a:lnTo>
                <a:lnTo>
                  <a:pt x="1562962" y="1138867"/>
                </a:lnTo>
                <a:lnTo>
                  <a:pt x="1562962" y="1129336"/>
                </a:lnTo>
                <a:lnTo>
                  <a:pt x="1553432" y="1124571"/>
                </a:lnTo>
                <a:lnTo>
                  <a:pt x="1534370" y="1138867"/>
                </a:lnTo>
                <a:lnTo>
                  <a:pt x="1520076" y="1143632"/>
                </a:lnTo>
                <a:lnTo>
                  <a:pt x="1501016" y="1129336"/>
                </a:lnTo>
                <a:lnTo>
                  <a:pt x="1496250" y="1110276"/>
                </a:lnTo>
                <a:lnTo>
                  <a:pt x="1515310" y="1081685"/>
                </a:lnTo>
                <a:lnTo>
                  <a:pt x="1524840" y="1062624"/>
                </a:lnTo>
                <a:lnTo>
                  <a:pt x="1548666" y="1067389"/>
                </a:lnTo>
                <a:lnTo>
                  <a:pt x="1553432" y="1072155"/>
                </a:lnTo>
                <a:lnTo>
                  <a:pt x="1562962" y="1076920"/>
                </a:lnTo>
                <a:lnTo>
                  <a:pt x="1572492" y="1053094"/>
                </a:lnTo>
                <a:lnTo>
                  <a:pt x="1567726" y="1034034"/>
                </a:lnTo>
                <a:lnTo>
                  <a:pt x="1577256" y="1019738"/>
                </a:lnTo>
                <a:lnTo>
                  <a:pt x="1601082" y="1029268"/>
                </a:lnTo>
                <a:lnTo>
                  <a:pt x="1601082" y="986382"/>
                </a:lnTo>
                <a:close/>
                <a:moveTo>
                  <a:pt x="1744038" y="852958"/>
                </a:moveTo>
                <a:lnTo>
                  <a:pt x="1758332" y="852958"/>
                </a:lnTo>
                <a:lnTo>
                  <a:pt x="1772628" y="862488"/>
                </a:lnTo>
                <a:lnTo>
                  <a:pt x="1767864" y="891079"/>
                </a:lnTo>
                <a:lnTo>
                  <a:pt x="1748802" y="933965"/>
                </a:lnTo>
                <a:lnTo>
                  <a:pt x="1720212" y="972086"/>
                </a:lnTo>
                <a:lnTo>
                  <a:pt x="1724976" y="1000677"/>
                </a:lnTo>
                <a:lnTo>
                  <a:pt x="1734508" y="1024503"/>
                </a:lnTo>
                <a:lnTo>
                  <a:pt x="1739272" y="1062624"/>
                </a:lnTo>
                <a:lnTo>
                  <a:pt x="1739272" y="1100745"/>
                </a:lnTo>
                <a:lnTo>
                  <a:pt x="1720212" y="1148396"/>
                </a:lnTo>
                <a:lnTo>
                  <a:pt x="1715446" y="1172222"/>
                </a:lnTo>
                <a:lnTo>
                  <a:pt x="1715446" y="1176987"/>
                </a:lnTo>
                <a:lnTo>
                  <a:pt x="1739272" y="1134101"/>
                </a:lnTo>
                <a:lnTo>
                  <a:pt x="1758332" y="1124570"/>
                </a:lnTo>
                <a:lnTo>
                  <a:pt x="1763098" y="1110275"/>
                </a:lnTo>
                <a:lnTo>
                  <a:pt x="1772628" y="1095980"/>
                </a:lnTo>
                <a:lnTo>
                  <a:pt x="1772628" y="1072154"/>
                </a:lnTo>
                <a:lnTo>
                  <a:pt x="1772628" y="1053093"/>
                </a:lnTo>
                <a:lnTo>
                  <a:pt x="1786924" y="1048328"/>
                </a:lnTo>
                <a:lnTo>
                  <a:pt x="1796454" y="1043563"/>
                </a:lnTo>
                <a:lnTo>
                  <a:pt x="1801220" y="1038798"/>
                </a:lnTo>
                <a:lnTo>
                  <a:pt x="1815514" y="1053093"/>
                </a:lnTo>
                <a:lnTo>
                  <a:pt x="1825044" y="1072154"/>
                </a:lnTo>
                <a:lnTo>
                  <a:pt x="1834576" y="1105510"/>
                </a:lnTo>
                <a:lnTo>
                  <a:pt x="1834576" y="1143631"/>
                </a:lnTo>
                <a:lnTo>
                  <a:pt x="1805984" y="1172222"/>
                </a:lnTo>
                <a:lnTo>
                  <a:pt x="1782158" y="1181752"/>
                </a:lnTo>
                <a:lnTo>
                  <a:pt x="1758332" y="1215108"/>
                </a:lnTo>
                <a:lnTo>
                  <a:pt x="1748802" y="1243699"/>
                </a:lnTo>
                <a:lnTo>
                  <a:pt x="1739272" y="1248464"/>
                </a:lnTo>
                <a:lnTo>
                  <a:pt x="1729742" y="1243699"/>
                </a:lnTo>
                <a:lnTo>
                  <a:pt x="1724976" y="1238933"/>
                </a:lnTo>
                <a:lnTo>
                  <a:pt x="1715446" y="1238933"/>
                </a:lnTo>
                <a:lnTo>
                  <a:pt x="1701152" y="1262759"/>
                </a:lnTo>
                <a:lnTo>
                  <a:pt x="1663030" y="1281820"/>
                </a:lnTo>
                <a:lnTo>
                  <a:pt x="1648734" y="1272289"/>
                </a:lnTo>
                <a:lnTo>
                  <a:pt x="1648734" y="1253229"/>
                </a:lnTo>
                <a:lnTo>
                  <a:pt x="1639204" y="1253229"/>
                </a:lnTo>
                <a:lnTo>
                  <a:pt x="1624910" y="1281820"/>
                </a:lnTo>
                <a:lnTo>
                  <a:pt x="1610614" y="1291350"/>
                </a:lnTo>
                <a:lnTo>
                  <a:pt x="1601084" y="1291350"/>
                </a:lnTo>
                <a:lnTo>
                  <a:pt x="1582022" y="1281820"/>
                </a:lnTo>
                <a:lnTo>
                  <a:pt x="1539136" y="1329471"/>
                </a:lnTo>
                <a:lnTo>
                  <a:pt x="1491486" y="1334236"/>
                </a:lnTo>
                <a:lnTo>
                  <a:pt x="1477190" y="1329471"/>
                </a:lnTo>
                <a:lnTo>
                  <a:pt x="1477190" y="1305645"/>
                </a:lnTo>
                <a:lnTo>
                  <a:pt x="1505780" y="1267524"/>
                </a:lnTo>
                <a:lnTo>
                  <a:pt x="1529606" y="1243699"/>
                </a:lnTo>
                <a:lnTo>
                  <a:pt x="1610614" y="1224638"/>
                </a:lnTo>
                <a:lnTo>
                  <a:pt x="1658266" y="1148396"/>
                </a:lnTo>
                <a:lnTo>
                  <a:pt x="1672560" y="1067389"/>
                </a:lnTo>
                <a:lnTo>
                  <a:pt x="1682090" y="1038798"/>
                </a:lnTo>
                <a:lnTo>
                  <a:pt x="1677326" y="1024503"/>
                </a:lnTo>
                <a:lnTo>
                  <a:pt x="1663030" y="1019737"/>
                </a:lnTo>
                <a:lnTo>
                  <a:pt x="1663030" y="995912"/>
                </a:lnTo>
                <a:lnTo>
                  <a:pt x="1672560" y="967321"/>
                </a:lnTo>
                <a:lnTo>
                  <a:pt x="1696386" y="929200"/>
                </a:lnTo>
                <a:lnTo>
                  <a:pt x="1710682" y="910140"/>
                </a:lnTo>
                <a:lnTo>
                  <a:pt x="1734508" y="862488"/>
                </a:lnTo>
                <a:close/>
                <a:moveTo>
                  <a:pt x="1987058" y="719535"/>
                </a:moveTo>
                <a:lnTo>
                  <a:pt x="2006118" y="748126"/>
                </a:lnTo>
                <a:lnTo>
                  <a:pt x="2010884" y="738596"/>
                </a:lnTo>
                <a:lnTo>
                  <a:pt x="2029944" y="733830"/>
                </a:lnTo>
                <a:lnTo>
                  <a:pt x="2044240" y="743361"/>
                </a:lnTo>
                <a:lnTo>
                  <a:pt x="2053770" y="762421"/>
                </a:lnTo>
                <a:lnTo>
                  <a:pt x="2063300" y="762421"/>
                </a:lnTo>
                <a:lnTo>
                  <a:pt x="2072830" y="781482"/>
                </a:lnTo>
                <a:lnTo>
                  <a:pt x="2077596" y="810072"/>
                </a:lnTo>
                <a:lnTo>
                  <a:pt x="2068064" y="829133"/>
                </a:lnTo>
                <a:lnTo>
                  <a:pt x="2053770" y="838663"/>
                </a:lnTo>
                <a:lnTo>
                  <a:pt x="2049004" y="862489"/>
                </a:lnTo>
                <a:lnTo>
                  <a:pt x="2053770" y="895845"/>
                </a:lnTo>
                <a:lnTo>
                  <a:pt x="2029944" y="910140"/>
                </a:lnTo>
                <a:lnTo>
                  <a:pt x="1996588" y="914905"/>
                </a:lnTo>
                <a:lnTo>
                  <a:pt x="1982292" y="900610"/>
                </a:lnTo>
                <a:lnTo>
                  <a:pt x="1958468" y="929201"/>
                </a:lnTo>
                <a:lnTo>
                  <a:pt x="1934642" y="972087"/>
                </a:lnTo>
                <a:lnTo>
                  <a:pt x="1920346" y="976852"/>
                </a:lnTo>
                <a:lnTo>
                  <a:pt x="1920346" y="962557"/>
                </a:lnTo>
                <a:lnTo>
                  <a:pt x="1901286" y="953026"/>
                </a:lnTo>
                <a:lnTo>
                  <a:pt x="1877460" y="953026"/>
                </a:lnTo>
                <a:lnTo>
                  <a:pt x="1877460" y="943496"/>
                </a:lnTo>
                <a:lnTo>
                  <a:pt x="1882226" y="933966"/>
                </a:lnTo>
                <a:lnTo>
                  <a:pt x="1901286" y="924436"/>
                </a:lnTo>
                <a:lnTo>
                  <a:pt x="1906050" y="900610"/>
                </a:lnTo>
                <a:lnTo>
                  <a:pt x="1901286" y="857724"/>
                </a:lnTo>
                <a:lnTo>
                  <a:pt x="1906050" y="838663"/>
                </a:lnTo>
                <a:lnTo>
                  <a:pt x="1906050" y="824368"/>
                </a:lnTo>
                <a:lnTo>
                  <a:pt x="1920346" y="810072"/>
                </a:lnTo>
                <a:lnTo>
                  <a:pt x="1963232" y="814838"/>
                </a:lnTo>
                <a:lnTo>
                  <a:pt x="1967998" y="800542"/>
                </a:lnTo>
                <a:lnTo>
                  <a:pt x="1967998" y="791012"/>
                </a:lnTo>
                <a:lnTo>
                  <a:pt x="1944172" y="771951"/>
                </a:lnTo>
                <a:lnTo>
                  <a:pt x="1948936" y="762421"/>
                </a:lnTo>
                <a:lnTo>
                  <a:pt x="1963232" y="752891"/>
                </a:lnTo>
                <a:lnTo>
                  <a:pt x="1977528" y="752891"/>
                </a:lnTo>
                <a:lnTo>
                  <a:pt x="1982292" y="733830"/>
                </a:lnTo>
                <a:lnTo>
                  <a:pt x="1982292" y="724300"/>
                </a:lnTo>
                <a:close/>
                <a:moveTo>
                  <a:pt x="3912170" y="581346"/>
                </a:moveTo>
                <a:lnTo>
                  <a:pt x="3926464" y="581346"/>
                </a:lnTo>
                <a:lnTo>
                  <a:pt x="3935994" y="595641"/>
                </a:lnTo>
                <a:lnTo>
                  <a:pt x="3945524" y="614702"/>
                </a:lnTo>
                <a:lnTo>
                  <a:pt x="3931230" y="628998"/>
                </a:lnTo>
                <a:lnTo>
                  <a:pt x="3902640" y="643293"/>
                </a:lnTo>
                <a:lnTo>
                  <a:pt x="3897874" y="633763"/>
                </a:lnTo>
                <a:lnTo>
                  <a:pt x="3902640" y="614702"/>
                </a:lnTo>
                <a:close/>
                <a:moveTo>
                  <a:pt x="2477866" y="433627"/>
                </a:moveTo>
                <a:lnTo>
                  <a:pt x="2496926" y="438392"/>
                </a:lnTo>
                <a:lnTo>
                  <a:pt x="2501692" y="443157"/>
                </a:lnTo>
                <a:lnTo>
                  <a:pt x="2496926" y="495574"/>
                </a:lnTo>
                <a:lnTo>
                  <a:pt x="2487396" y="509869"/>
                </a:lnTo>
                <a:lnTo>
                  <a:pt x="2477866" y="509869"/>
                </a:lnTo>
                <a:lnTo>
                  <a:pt x="2468336" y="505104"/>
                </a:lnTo>
                <a:lnTo>
                  <a:pt x="2458806" y="500339"/>
                </a:lnTo>
                <a:lnTo>
                  <a:pt x="2449276" y="505104"/>
                </a:lnTo>
                <a:lnTo>
                  <a:pt x="2439744" y="486043"/>
                </a:lnTo>
                <a:lnTo>
                  <a:pt x="2439744" y="466983"/>
                </a:lnTo>
                <a:lnTo>
                  <a:pt x="2454040" y="443157"/>
                </a:lnTo>
                <a:close/>
                <a:moveTo>
                  <a:pt x="2239610" y="424097"/>
                </a:moveTo>
                <a:lnTo>
                  <a:pt x="2253906" y="424097"/>
                </a:lnTo>
                <a:lnTo>
                  <a:pt x="2258670" y="457453"/>
                </a:lnTo>
                <a:lnTo>
                  <a:pt x="2258670" y="509869"/>
                </a:lnTo>
                <a:lnTo>
                  <a:pt x="2272966" y="533695"/>
                </a:lnTo>
                <a:lnTo>
                  <a:pt x="2287262" y="528930"/>
                </a:lnTo>
                <a:lnTo>
                  <a:pt x="2287262" y="519400"/>
                </a:lnTo>
                <a:lnTo>
                  <a:pt x="2296792" y="514635"/>
                </a:lnTo>
                <a:lnTo>
                  <a:pt x="2315852" y="528930"/>
                </a:lnTo>
                <a:lnTo>
                  <a:pt x="2311086" y="552756"/>
                </a:lnTo>
                <a:lnTo>
                  <a:pt x="2287262" y="581346"/>
                </a:lnTo>
                <a:lnTo>
                  <a:pt x="2272966" y="619467"/>
                </a:lnTo>
                <a:lnTo>
                  <a:pt x="2249140" y="628998"/>
                </a:lnTo>
                <a:lnTo>
                  <a:pt x="2239610" y="624233"/>
                </a:lnTo>
                <a:lnTo>
                  <a:pt x="2220550" y="648058"/>
                </a:lnTo>
                <a:lnTo>
                  <a:pt x="2206254" y="671884"/>
                </a:lnTo>
                <a:lnTo>
                  <a:pt x="2187194" y="700475"/>
                </a:lnTo>
                <a:lnTo>
                  <a:pt x="2187194" y="719535"/>
                </a:lnTo>
                <a:lnTo>
                  <a:pt x="2187194" y="729065"/>
                </a:lnTo>
                <a:lnTo>
                  <a:pt x="2130012" y="738596"/>
                </a:lnTo>
                <a:lnTo>
                  <a:pt x="2106186" y="748126"/>
                </a:lnTo>
                <a:lnTo>
                  <a:pt x="2082362" y="738596"/>
                </a:lnTo>
                <a:lnTo>
                  <a:pt x="2072832" y="719535"/>
                </a:lnTo>
                <a:lnTo>
                  <a:pt x="2077596" y="705240"/>
                </a:lnTo>
                <a:lnTo>
                  <a:pt x="2101422" y="705240"/>
                </a:lnTo>
                <a:lnTo>
                  <a:pt x="2101422" y="686179"/>
                </a:lnTo>
                <a:lnTo>
                  <a:pt x="2106186" y="671884"/>
                </a:lnTo>
                <a:lnTo>
                  <a:pt x="2110952" y="667119"/>
                </a:lnTo>
                <a:lnTo>
                  <a:pt x="2115718" y="643293"/>
                </a:lnTo>
                <a:lnTo>
                  <a:pt x="2125248" y="638528"/>
                </a:lnTo>
                <a:lnTo>
                  <a:pt x="2144308" y="643293"/>
                </a:lnTo>
                <a:lnTo>
                  <a:pt x="2153838" y="624233"/>
                </a:lnTo>
                <a:lnTo>
                  <a:pt x="2163368" y="624233"/>
                </a:lnTo>
                <a:lnTo>
                  <a:pt x="2168134" y="638528"/>
                </a:lnTo>
                <a:lnTo>
                  <a:pt x="2172898" y="619467"/>
                </a:lnTo>
                <a:lnTo>
                  <a:pt x="2168134" y="600407"/>
                </a:lnTo>
                <a:lnTo>
                  <a:pt x="2172898" y="586111"/>
                </a:lnTo>
                <a:lnTo>
                  <a:pt x="2191958" y="557521"/>
                </a:lnTo>
                <a:lnTo>
                  <a:pt x="2201490" y="533695"/>
                </a:lnTo>
                <a:lnTo>
                  <a:pt x="2215784" y="519400"/>
                </a:lnTo>
                <a:lnTo>
                  <a:pt x="2225314" y="519400"/>
                </a:lnTo>
                <a:lnTo>
                  <a:pt x="2230080" y="500339"/>
                </a:lnTo>
                <a:lnTo>
                  <a:pt x="2225314" y="476513"/>
                </a:lnTo>
                <a:lnTo>
                  <a:pt x="2230080" y="462218"/>
                </a:lnTo>
                <a:close/>
                <a:moveTo>
                  <a:pt x="2311088" y="414567"/>
                </a:moveTo>
                <a:lnTo>
                  <a:pt x="2325382" y="414567"/>
                </a:lnTo>
                <a:lnTo>
                  <a:pt x="2339678" y="438393"/>
                </a:lnTo>
                <a:lnTo>
                  <a:pt x="2349208" y="443158"/>
                </a:lnTo>
                <a:lnTo>
                  <a:pt x="2353974" y="443158"/>
                </a:lnTo>
                <a:lnTo>
                  <a:pt x="2363504" y="447923"/>
                </a:lnTo>
                <a:lnTo>
                  <a:pt x="2373034" y="471748"/>
                </a:lnTo>
                <a:lnTo>
                  <a:pt x="2387328" y="481278"/>
                </a:lnTo>
                <a:lnTo>
                  <a:pt x="2387328" y="490809"/>
                </a:lnTo>
                <a:lnTo>
                  <a:pt x="2377798" y="505104"/>
                </a:lnTo>
                <a:lnTo>
                  <a:pt x="2358738" y="505104"/>
                </a:lnTo>
                <a:lnTo>
                  <a:pt x="2339678" y="505104"/>
                </a:lnTo>
                <a:lnTo>
                  <a:pt x="2334912" y="486044"/>
                </a:lnTo>
                <a:lnTo>
                  <a:pt x="2330148" y="462218"/>
                </a:lnTo>
                <a:lnTo>
                  <a:pt x="2315852" y="438393"/>
                </a:lnTo>
                <a:close/>
                <a:moveTo>
                  <a:pt x="2930554" y="252552"/>
                </a:moveTo>
                <a:lnTo>
                  <a:pt x="2935318" y="262082"/>
                </a:lnTo>
                <a:lnTo>
                  <a:pt x="2940084" y="285908"/>
                </a:lnTo>
                <a:lnTo>
                  <a:pt x="2944848" y="304968"/>
                </a:lnTo>
                <a:lnTo>
                  <a:pt x="2944848" y="324029"/>
                </a:lnTo>
                <a:lnTo>
                  <a:pt x="2930554" y="347854"/>
                </a:lnTo>
                <a:lnTo>
                  <a:pt x="2897198" y="385975"/>
                </a:lnTo>
                <a:lnTo>
                  <a:pt x="2897198" y="395506"/>
                </a:lnTo>
                <a:lnTo>
                  <a:pt x="2887668" y="400271"/>
                </a:lnTo>
                <a:lnTo>
                  <a:pt x="2868608" y="409801"/>
                </a:lnTo>
                <a:lnTo>
                  <a:pt x="2859076" y="400271"/>
                </a:lnTo>
                <a:lnTo>
                  <a:pt x="2863842" y="371680"/>
                </a:lnTo>
                <a:lnTo>
                  <a:pt x="2859076" y="366915"/>
                </a:lnTo>
                <a:lnTo>
                  <a:pt x="2844782" y="376445"/>
                </a:lnTo>
                <a:lnTo>
                  <a:pt x="2830486" y="362150"/>
                </a:lnTo>
                <a:lnTo>
                  <a:pt x="2830486" y="347854"/>
                </a:lnTo>
                <a:lnTo>
                  <a:pt x="2835252" y="333559"/>
                </a:lnTo>
                <a:lnTo>
                  <a:pt x="2849546" y="314499"/>
                </a:lnTo>
                <a:lnTo>
                  <a:pt x="2868608" y="300203"/>
                </a:lnTo>
                <a:lnTo>
                  <a:pt x="2882902" y="304968"/>
                </a:lnTo>
                <a:close/>
                <a:moveTo>
                  <a:pt x="2963910" y="190606"/>
                </a:moveTo>
                <a:lnTo>
                  <a:pt x="2973440" y="200136"/>
                </a:lnTo>
                <a:lnTo>
                  <a:pt x="2978204" y="204901"/>
                </a:lnTo>
                <a:lnTo>
                  <a:pt x="2992500" y="214432"/>
                </a:lnTo>
                <a:lnTo>
                  <a:pt x="3011560" y="238257"/>
                </a:lnTo>
                <a:lnTo>
                  <a:pt x="3002030" y="276378"/>
                </a:lnTo>
                <a:lnTo>
                  <a:pt x="2973440" y="295439"/>
                </a:lnTo>
                <a:lnTo>
                  <a:pt x="2954380" y="276378"/>
                </a:lnTo>
                <a:lnTo>
                  <a:pt x="2949614" y="262083"/>
                </a:lnTo>
                <a:lnTo>
                  <a:pt x="2949614" y="223962"/>
                </a:lnTo>
                <a:lnTo>
                  <a:pt x="2954380" y="204901"/>
                </a:lnTo>
                <a:close/>
                <a:moveTo>
                  <a:pt x="2906728" y="147719"/>
                </a:moveTo>
                <a:lnTo>
                  <a:pt x="2911492" y="157249"/>
                </a:lnTo>
                <a:lnTo>
                  <a:pt x="2911492" y="171545"/>
                </a:lnTo>
                <a:lnTo>
                  <a:pt x="2906728" y="185840"/>
                </a:lnTo>
                <a:lnTo>
                  <a:pt x="2892432" y="204900"/>
                </a:lnTo>
                <a:lnTo>
                  <a:pt x="2854312" y="262082"/>
                </a:lnTo>
                <a:lnTo>
                  <a:pt x="2835250" y="271612"/>
                </a:lnTo>
                <a:lnTo>
                  <a:pt x="2825720" y="281142"/>
                </a:lnTo>
                <a:lnTo>
                  <a:pt x="2816190" y="285908"/>
                </a:lnTo>
                <a:lnTo>
                  <a:pt x="2792364" y="281142"/>
                </a:lnTo>
                <a:lnTo>
                  <a:pt x="2782834" y="290673"/>
                </a:lnTo>
                <a:lnTo>
                  <a:pt x="2773304" y="300203"/>
                </a:lnTo>
                <a:lnTo>
                  <a:pt x="2754244" y="304968"/>
                </a:lnTo>
                <a:lnTo>
                  <a:pt x="2744714" y="300203"/>
                </a:lnTo>
                <a:lnTo>
                  <a:pt x="2716122" y="276377"/>
                </a:lnTo>
                <a:lnTo>
                  <a:pt x="2697062" y="252552"/>
                </a:lnTo>
                <a:lnTo>
                  <a:pt x="2687532" y="233491"/>
                </a:lnTo>
                <a:lnTo>
                  <a:pt x="2716122" y="233491"/>
                </a:lnTo>
                <a:lnTo>
                  <a:pt x="2725654" y="228726"/>
                </a:lnTo>
                <a:lnTo>
                  <a:pt x="2744714" y="233491"/>
                </a:lnTo>
                <a:lnTo>
                  <a:pt x="2754244" y="214431"/>
                </a:lnTo>
                <a:lnTo>
                  <a:pt x="2778070" y="214431"/>
                </a:lnTo>
                <a:lnTo>
                  <a:pt x="2820956" y="200135"/>
                </a:lnTo>
                <a:lnTo>
                  <a:pt x="2840016" y="209666"/>
                </a:lnTo>
                <a:lnTo>
                  <a:pt x="2878138" y="157249"/>
                </a:lnTo>
                <a:lnTo>
                  <a:pt x="2887668" y="162014"/>
                </a:lnTo>
                <a:close/>
                <a:moveTo>
                  <a:pt x="3564316" y="28591"/>
                </a:moveTo>
                <a:lnTo>
                  <a:pt x="3583376" y="33356"/>
                </a:lnTo>
                <a:lnTo>
                  <a:pt x="3597672" y="42886"/>
                </a:lnTo>
                <a:lnTo>
                  <a:pt x="3650088" y="52417"/>
                </a:lnTo>
                <a:lnTo>
                  <a:pt x="3688210" y="81007"/>
                </a:lnTo>
                <a:lnTo>
                  <a:pt x="3683444" y="133424"/>
                </a:lnTo>
                <a:lnTo>
                  <a:pt x="3678680" y="152484"/>
                </a:lnTo>
                <a:lnTo>
                  <a:pt x="3669148" y="166780"/>
                </a:lnTo>
                <a:lnTo>
                  <a:pt x="3616732" y="204901"/>
                </a:lnTo>
                <a:lnTo>
                  <a:pt x="3611968" y="223961"/>
                </a:lnTo>
                <a:lnTo>
                  <a:pt x="3626262" y="228726"/>
                </a:lnTo>
                <a:lnTo>
                  <a:pt x="3659618" y="209666"/>
                </a:lnTo>
                <a:lnTo>
                  <a:pt x="3669148" y="228726"/>
                </a:lnTo>
                <a:lnTo>
                  <a:pt x="3654854" y="271612"/>
                </a:lnTo>
                <a:lnTo>
                  <a:pt x="3654854" y="333559"/>
                </a:lnTo>
                <a:lnTo>
                  <a:pt x="3650088" y="371680"/>
                </a:lnTo>
                <a:lnTo>
                  <a:pt x="3650088" y="405036"/>
                </a:lnTo>
                <a:lnTo>
                  <a:pt x="3654854" y="424097"/>
                </a:lnTo>
                <a:lnTo>
                  <a:pt x="3669148" y="352620"/>
                </a:lnTo>
                <a:lnTo>
                  <a:pt x="3673914" y="333559"/>
                </a:lnTo>
                <a:lnTo>
                  <a:pt x="3692974" y="304968"/>
                </a:lnTo>
                <a:lnTo>
                  <a:pt x="3702504" y="252552"/>
                </a:lnTo>
                <a:lnTo>
                  <a:pt x="3721566" y="185840"/>
                </a:lnTo>
                <a:lnTo>
                  <a:pt x="3740626" y="147719"/>
                </a:lnTo>
                <a:lnTo>
                  <a:pt x="3754920" y="133424"/>
                </a:lnTo>
                <a:lnTo>
                  <a:pt x="3797808" y="138189"/>
                </a:lnTo>
                <a:lnTo>
                  <a:pt x="3816868" y="152484"/>
                </a:lnTo>
                <a:lnTo>
                  <a:pt x="3831164" y="185840"/>
                </a:lnTo>
                <a:lnTo>
                  <a:pt x="3845458" y="195370"/>
                </a:lnTo>
                <a:lnTo>
                  <a:pt x="3883580" y="209666"/>
                </a:lnTo>
                <a:lnTo>
                  <a:pt x="3893110" y="228726"/>
                </a:lnTo>
                <a:lnTo>
                  <a:pt x="3897876" y="238257"/>
                </a:lnTo>
                <a:lnTo>
                  <a:pt x="3907406" y="243022"/>
                </a:lnTo>
                <a:lnTo>
                  <a:pt x="3931230" y="214431"/>
                </a:lnTo>
                <a:lnTo>
                  <a:pt x="3950292" y="209666"/>
                </a:lnTo>
                <a:lnTo>
                  <a:pt x="3974116" y="247787"/>
                </a:lnTo>
                <a:lnTo>
                  <a:pt x="3969352" y="276378"/>
                </a:lnTo>
                <a:lnTo>
                  <a:pt x="3969352" y="285908"/>
                </a:lnTo>
                <a:lnTo>
                  <a:pt x="4002708" y="285908"/>
                </a:lnTo>
                <a:lnTo>
                  <a:pt x="4031298" y="295438"/>
                </a:lnTo>
                <a:lnTo>
                  <a:pt x="4083714" y="352620"/>
                </a:lnTo>
                <a:lnTo>
                  <a:pt x="4088480" y="381210"/>
                </a:lnTo>
                <a:lnTo>
                  <a:pt x="4083714" y="414566"/>
                </a:lnTo>
                <a:lnTo>
                  <a:pt x="4012238" y="447922"/>
                </a:lnTo>
                <a:lnTo>
                  <a:pt x="3978882" y="481278"/>
                </a:lnTo>
                <a:lnTo>
                  <a:pt x="3926466" y="495573"/>
                </a:lnTo>
                <a:lnTo>
                  <a:pt x="3745390" y="471748"/>
                </a:lnTo>
                <a:lnTo>
                  <a:pt x="3750156" y="495573"/>
                </a:lnTo>
                <a:lnTo>
                  <a:pt x="3874050" y="547990"/>
                </a:lnTo>
                <a:lnTo>
                  <a:pt x="3883580" y="562285"/>
                </a:lnTo>
                <a:lnTo>
                  <a:pt x="3878814" y="595641"/>
                </a:lnTo>
                <a:lnTo>
                  <a:pt x="3878814" y="619467"/>
                </a:lnTo>
                <a:lnTo>
                  <a:pt x="3883580" y="638527"/>
                </a:lnTo>
                <a:lnTo>
                  <a:pt x="3888344" y="652823"/>
                </a:lnTo>
                <a:lnTo>
                  <a:pt x="3907406" y="662353"/>
                </a:lnTo>
                <a:lnTo>
                  <a:pt x="3935996" y="657588"/>
                </a:lnTo>
                <a:lnTo>
                  <a:pt x="3950292" y="667118"/>
                </a:lnTo>
                <a:lnTo>
                  <a:pt x="3964586" y="652823"/>
                </a:lnTo>
                <a:lnTo>
                  <a:pt x="3964586" y="609936"/>
                </a:lnTo>
                <a:lnTo>
                  <a:pt x="3974116" y="600406"/>
                </a:lnTo>
                <a:lnTo>
                  <a:pt x="3993178" y="614702"/>
                </a:lnTo>
                <a:lnTo>
                  <a:pt x="3997942" y="657588"/>
                </a:lnTo>
                <a:lnTo>
                  <a:pt x="4002708" y="662353"/>
                </a:lnTo>
                <a:lnTo>
                  <a:pt x="4012238" y="633762"/>
                </a:lnTo>
                <a:lnTo>
                  <a:pt x="4031298" y="633762"/>
                </a:lnTo>
                <a:lnTo>
                  <a:pt x="4050360" y="628997"/>
                </a:lnTo>
                <a:lnTo>
                  <a:pt x="4074184" y="638527"/>
                </a:lnTo>
                <a:lnTo>
                  <a:pt x="4083714" y="695709"/>
                </a:lnTo>
                <a:lnTo>
                  <a:pt x="4083714" y="714769"/>
                </a:lnTo>
                <a:lnTo>
                  <a:pt x="4078950" y="738595"/>
                </a:lnTo>
                <a:lnTo>
                  <a:pt x="4074184" y="748125"/>
                </a:lnTo>
                <a:lnTo>
                  <a:pt x="4059890" y="752890"/>
                </a:lnTo>
                <a:lnTo>
                  <a:pt x="4036064" y="748125"/>
                </a:lnTo>
                <a:lnTo>
                  <a:pt x="3997942" y="729065"/>
                </a:lnTo>
                <a:lnTo>
                  <a:pt x="3974116" y="705239"/>
                </a:lnTo>
                <a:lnTo>
                  <a:pt x="3964586" y="705239"/>
                </a:lnTo>
                <a:lnTo>
                  <a:pt x="3969352" y="729065"/>
                </a:lnTo>
                <a:lnTo>
                  <a:pt x="3969352" y="743360"/>
                </a:lnTo>
                <a:lnTo>
                  <a:pt x="3964586" y="762421"/>
                </a:lnTo>
                <a:lnTo>
                  <a:pt x="3959822" y="781481"/>
                </a:lnTo>
                <a:lnTo>
                  <a:pt x="3950292" y="795776"/>
                </a:lnTo>
                <a:lnTo>
                  <a:pt x="3935996" y="810072"/>
                </a:lnTo>
                <a:lnTo>
                  <a:pt x="3912170" y="824367"/>
                </a:lnTo>
                <a:lnTo>
                  <a:pt x="3840694" y="852958"/>
                </a:lnTo>
                <a:lnTo>
                  <a:pt x="3835928" y="867253"/>
                </a:lnTo>
                <a:lnTo>
                  <a:pt x="3812102" y="943495"/>
                </a:lnTo>
                <a:lnTo>
                  <a:pt x="3807338" y="953026"/>
                </a:lnTo>
                <a:lnTo>
                  <a:pt x="3802572" y="962556"/>
                </a:lnTo>
                <a:lnTo>
                  <a:pt x="3773982" y="976851"/>
                </a:lnTo>
                <a:lnTo>
                  <a:pt x="3764452" y="957791"/>
                </a:lnTo>
                <a:lnTo>
                  <a:pt x="3754920" y="933965"/>
                </a:lnTo>
                <a:lnTo>
                  <a:pt x="3759686" y="905374"/>
                </a:lnTo>
                <a:lnTo>
                  <a:pt x="3783512" y="857723"/>
                </a:lnTo>
                <a:lnTo>
                  <a:pt x="3812102" y="824367"/>
                </a:lnTo>
                <a:lnTo>
                  <a:pt x="3816868" y="810072"/>
                </a:lnTo>
                <a:lnTo>
                  <a:pt x="3835928" y="776716"/>
                </a:lnTo>
                <a:lnTo>
                  <a:pt x="3802572" y="686179"/>
                </a:lnTo>
                <a:lnTo>
                  <a:pt x="3750156" y="662353"/>
                </a:lnTo>
                <a:lnTo>
                  <a:pt x="3688210" y="619467"/>
                </a:lnTo>
                <a:lnTo>
                  <a:pt x="3669148" y="595641"/>
                </a:lnTo>
                <a:lnTo>
                  <a:pt x="3631028" y="552755"/>
                </a:lnTo>
                <a:lnTo>
                  <a:pt x="3607202" y="509869"/>
                </a:lnTo>
                <a:lnTo>
                  <a:pt x="3588142" y="509869"/>
                </a:lnTo>
                <a:lnTo>
                  <a:pt x="3559550" y="519399"/>
                </a:lnTo>
                <a:lnTo>
                  <a:pt x="3521430" y="557520"/>
                </a:lnTo>
                <a:lnTo>
                  <a:pt x="3502370" y="576581"/>
                </a:lnTo>
                <a:lnTo>
                  <a:pt x="3488074" y="581346"/>
                </a:lnTo>
                <a:lnTo>
                  <a:pt x="3459484" y="571815"/>
                </a:lnTo>
                <a:lnTo>
                  <a:pt x="3426128" y="567050"/>
                </a:lnTo>
                <a:lnTo>
                  <a:pt x="3402302" y="571815"/>
                </a:lnTo>
                <a:lnTo>
                  <a:pt x="3397536" y="576581"/>
                </a:lnTo>
                <a:lnTo>
                  <a:pt x="3359416" y="638527"/>
                </a:lnTo>
                <a:lnTo>
                  <a:pt x="3335590" y="667118"/>
                </a:lnTo>
                <a:lnTo>
                  <a:pt x="3326060" y="676648"/>
                </a:lnTo>
                <a:lnTo>
                  <a:pt x="3316530" y="695709"/>
                </a:lnTo>
                <a:lnTo>
                  <a:pt x="3307000" y="724299"/>
                </a:lnTo>
                <a:lnTo>
                  <a:pt x="3287938" y="824367"/>
                </a:lnTo>
                <a:lnTo>
                  <a:pt x="3278408" y="862488"/>
                </a:lnTo>
                <a:lnTo>
                  <a:pt x="3273644" y="881549"/>
                </a:lnTo>
                <a:lnTo>
                  <a:pt x="3278408" y="953026"/>
                </a:lnTo>
                <a:lnTo>
                  <a:pt x="3273644" y="991147"/>
                </a:lnTo>
                <a:lnTo>
                  <a:pt x="3259348" y="1019737"/>
                </a:lnTo>
                <a:lnTo>
                  <a:pt x="3245052" y="1034033"/>
                </a:lnTo>
                <a:lnTo>
                  <a:pt x="3230756" y="1034033"/>
                </a:lnTo>
                <a:lnTo>
                  <a:pt x="3211696" y="1043563"/>
                </a:lnTo>
                <a:lnTo>
                  <a:pt x="3197402" y="1062623"/>
                </a:lnTo>
                <a:lnTo>
                  <a:pt x="3183106" y="1086449"/>
                </a:lnTo>
                <a:lnTo>
                  <a:pt x="3168810" y="1138865"/>
                </a:lnTo>
                <a:lnTo>
                  <a:pt x="3149750" y="1162691"/>
                </a:lnTo>
                <a:lnTo>
                  <a:pt x="3125924" y="1153161"/>
                </a:lnTo>
                <a:lnTo>
                  <a:pt x="3111628" y="1134100"/>
                </a:lnTo>
                <a:lnTo>
                  <a:pt x="3078272" y="1119805"/>
                </a:lnTo>
                <a:lnTo>
                  <a:pt x="3054448" y="1110275"/>
                </a:lnTo>
                <a:lnTo>
                  <a:pt x="3025856" y="1086449"/>
                </a:lnTo>
                <a:lnTo>
                  <a:pt x="3002032" y="1072154"/>
                </a:lnTo>
                <a:lnTo>
                  <a:pt x="2978206" y="1067389"/>
                </a:lnTo>
                <a:lnTo>
                  <a:pt x="2963910" y="1091214"/>
                </a:lnTo>
                <a:lnTo>
                  <a:pt x="2954380" y="1110275"/>
                </a:lnTo>
                <a:lnTo>
                  <a:pt x="2916258" y="1124570"/>
                </a:lnTo>
                <a:lnTo>
                  <a:pt x="2897198" y="1134100"/>
                </a:lnTo>
                <a:lnTo>
                  <a:pt x="2868608" y="1138865"/>
                </a:lnTo>
                <a:lnTo>
                  <a:pt x="2854312" y="1124570"/>
                </a:lnTo>
                <a:lnTo>
                  <a:pt x="2816192" y="1115040"/>
                </a:lnTo>
                <a:lnTo>
                  <a:pt x="2768540" y="1105510"/>
                </a:lnTo>
                <a:lnTo>
                  <a:pt x="2754244" y="1105510"/>
                </a:lnTo>
                <a:lnTo>
                  <a:pt x="2749480" y="1081684"/>
                </a:lnTo>
                <a:lnTo>
                  <a:pt x="2735184" y="1048328"/>
                </a:lnTo>
                <a:lnTo>
                  <a:pt x="2701828" y="986381"/>
                </a:lnTo>
                <a:lnTo>
                  <a:pt x="2687532" y="967321"/>
                </a:lnTo>
                <a:lnTo>
                  <a:pt x="2658942" y="914905"/>
                </a:lnTo>
                <a:lnTo>
                  <a:pt x="2630352" y="867253"/>
                </a:lnTo>
                <a:lnTo>
                  <a:pt x="2625586" y="862488"/>
                </a:lnTo>
                <a:lnTo>
                  <a:pt x="2601760" y="862488"/>
                </a:lnTo>
                <a:lnTo>
                  <a:pt x="2573170" y="862488"/>
                </a:lnTo>
                <a:lnTo>
                  <a:pt x="2554108" y="876784"/>
                </a:lnTo>
                <a:lnTo>
                  <a:pt x="2544578" y="891079"/>
                </a:lnTo>
                <a:lnTo>
                  <a:pt x="2539814" y="900609"/>
                </a:lnTo>
                <a:lnTo>
                  <a:pt x="2554108" y="948260"/>
                </a:lnTo>
                <a:lnTo>
                  <a:pt x="2549344" y="962556"/>
                </a:lnTo>
                <a:lnTo>
                  <a:pt x="2544578" y="967321"/>
                </a:lnTo>
                <a:lnTo>
                  <a:pt x="2515988" y="953026"/>
                </a:lnTo>
                <a:lnTo>
                  <a:pt x="2482632" y="953026"/>
                </a:lnTo>
                <a:lnTo>
                  <a:pt x="2473102" y="967321"/>
                </a:lnTo>
                <a:lnTo>
                  <a:pt x="2454042" y="972086"/>
                </a:lnTo>
                <a:lnTo>
                  <a:pt x="2392094" y="976851"/>
                </a:lnTo>
                <a:lnTo>
                  <a:pt x="2420686" y="1014972"/>
                </a:lnTo>
                <a:lnTo>
                  <a:pt x="2430216" y="1029268"/>
                </a:lnTo>
                <a:lnTo>
                  <a:pt x="2430216" y="1048328"/>
                </a:lnTo>
                <a:lnTo>
                  <a:pt x="2425450" y="1091214"/>
                </a:lnTo>
                <a:lnTo>
                  <a:pt x="2415920" y="1124570"/>
                </a:lnTo>
                <a:lnTo>
                  <a:pt x="2396860" y="1153161"/>
                </a:lnTo>
                <a:lnTo>
                  <a:pt x="2373034" y="1181752"/>
                </a:lnTo>
                <a:lnTo>
                  <a:pt x="2415920" y="1210342"/>
                </a:lnTo>
                <a:lnTo>
                  <a:pt x="2382564" y="1248463"/>
                </a:lnTo>
                <a:lnTo>
                  <a:pt x="2373034" y="1262759"/>
                </a:lnTo>
                <a:lnTo>
                  <a:pt x="2353974" y="1257994"/>
                </a:lnTo>
                <a:lnTo>
                  <a:pt x="2325382" y="1243698"/>
                </a:lnTo>
                <a:lnTo>
                  <a:pt x="2258672" y="1215107"/>
                </a:lnTo>
                <a:lnTo>
                  <a:pt x="2230080" y="1205577"/>
                </a:lnTo>
                <a:lnTo>
                  <a:pt x="2201490" y="1200812"/>
                </a:lnTo>
                <a:lnTo>
                  <a:pt x="2182428" y="1200812"/>
                </a:lnTo>
                <a:lnTo>
                  <a:pt x="2125248" y="1172221"/>
                </a:lnTo>
                <a:lnTo>
                  <a:pt x="2110952" y="1176987"/>
                </a:lnTo>
                <a:lnTo>
                  <a:pt x="2087126" y="1186517"/>
                </a:lnTo>
                <a:lnTo>
                  <a:pt x="2087126" y="1215107"/>
                </a:lnTo>
                <a:lnTo>
                  <a:pt x="2087126" y="1277054"/>
                </a:lnTo>
                <a:lnTo>
                  <a:pt x="2091892" y="1324705"/>
                </a:lnTo>
                <a:lnTo>
                  <a:pt x="2082362" y="1353296"/>
                </a:lnTo>
                <a:lnTo>
                  <a:pt x="2072832" y="1372357"/>
                </a:lnTo>
                <a:lnTo>
                  <a:pt x="2049006" y="1424773"/>
                </a:lnTo>
                <a:lnTo>
                  <a:pt x="1996588" y="1391417"/>
                </a:lnTo>
                <a:lnTo>
                  <a:pt x="1958468" y="1367592"/>
                </a:lnTo>
                <a:lnTo>
                  <a:pt x="1934642" y="1396182"/>
                </a:lnTo>
                <a:lnTo>
                  <a:pt x="1872696" y="1453364"/>
                </a:lnTo>
                <a:lnTo>
                  <a:pt x="1844104" y="1562962"/>
                </a:lnTo>
                <a:lnTo>
                  <a:pt x="1839340" y="1567727"/>
                </a:lnTo>
                <a:lnTo>
                  <a:pt x="1825044" y="1596318"/>
                </a:lnTo>
                <a:lnTo>
                  <a:pt x="1801218" y="1610613"/>
                </a:lnTo>
                <a:lnTo>
                  <a:pt x="1782158" y="1615378"/>
                </a:lnTo>
                <a:lnTo>
                  <a:pt x="1772628" y="1648734"/>
                </a:lnTo>
                <a:lnTo>
                  <a:pt x="1796454" y="1691620"/>
                </a:lnTo>
                <a:lnTo>
                  <a:pt x="1805984" y="1720211"/>
                </a:lnTo>
                <a:lnTo>
                  <a:pt x="1820280" y="1758332"/>
                </a:lnTo>
                <a:lnTo>
                  <a:pt x="1815514" y="1782158"/>
                </a:lnTo>
                <a:lnTo>
                  <a:pt x="1815514" y="1796453"/>
                </a:lnTo>
                <a:lnTo>
                  <a:pt x="1786924" y="1829809"/>
                </a:lnTo>
                <a:lnTo>
                  <a:pt x="1734508" y="1910816"/>
                </a:lnTo>
                <a:lnTo>
                  <a:pt x="1682090" y="1996588"/>
                </a:lnTo>
                <a:lnTo>
                  <a:pt x="1663030" y="2020414"/>
                </a:lnTo>
                <a:lnTo>
                  <a:pt x="1672560" y="2091891"/>
                </a:lnTo>
                <a:lnTo>
                  <a:pt x="1653500" y="2115717"/>
                </a:lnTo>
                <a:lnTo>
                  <a:pt x="1620144" y="2134777"/>
                </a:lnTo>
                <a:lnTo>
                  <a:pt x="1601084" y="2144307"/>
                </a:lnTo>
                <a:lnTo>
                  <a:pt x="1582022" y="2153837"/>
                </a:lnTo>
                <a:lnTo>
                  <a:pt x="1524842" y="2163368"/>
                </a:lnTo>
                <a:lnTo>
                  <a:pt x="1534372" y="2234845"/>
                </a:lnTo>
                <a:lnTo>
                  <a:pt x="1539136" y="2268201"/>
                </a:lnTo>
                <a:lnTo>
                  <a:pt x="1539136" y="2292026"/>
                </a:lnTo>
                <a:lnTo>
                  <a:pt x="1534372" y="2311087"/>
                </a:lnTo>
                <a:lnTo>
                  <a:pt x="1524842" y="2344443"/>
                </a:lnTo>
                <a:lnTo>
                  <a:pt x="1515312" y="2477866"/>
                </a:lnTo>
                <a:lnTo>
                  <a:pt x="1505780" y="2487396"/>
                </a:lnTo>
                <a:lnTo>
                  <a:pt x="1496250" y="2525517"/>
                </a:lnTo>
                <a:lnTo>
                  <a:pt x="1458130" y="2606525"/>
                </a:lnTo>
                <a:lnTo>
                  <a:pt x="1424774" y="2663706"/>
                </a:lnTo>
                <a:lnTo>
                  <a:pt x="1381888" y="2739948"/>
                </a:lnTo>
                <a:lnTo>
                  <a:pt x="1420008" y="2763774"/>
                </a:lnTo>
                <a:lnTo>
                  <a:pt x="1448600" y="2782834"/>
                </a:lnTo>
                <a:lnTo>
                  <a:pt x="1458130" y="2811425"/>
                </a:lnTo>
                <a:lnTo>
                  <a:pt x="1462894" y="2859076"/>
                </a:lnTo>
                <a:lnTo>
                  <a:pt x="1462894" y="2887667"/>
                </a:lnTo>
                <a:lnTo>
                  <a:pt x="1448600" y="2916258"/>
                </a:lnTo>
                <a:lnTo>
                  <a:pt x="1439068" y="2935318"/>
                </a:lnTo>
                <a:lnTo>
                  <a:pt x="1434304" y="2944849"/>
                </a:lnTo>
                <a:lnTo>
                  <a:pt x="1386652" y="2935318"/>
                </a:lnTo>
                <a:lnTo>
                  <a:pt x="1329472" y="2925788"/>
                </a:lnTo>
                <a:lnTo>
                  <a:pt x="1315176" y="2925788"/>
                </a:lnTo>
                <a:lnTo>
                  <a:pt x="1281820" y="2930553"/>
                </a:lnTo>
                <a:lnTo>
                  <a:pt x="1248464" y="2949613"/>
                </a:lnTo>
                <a:lnTo>
                  <a:pt x="1234168" y="2963909"/>
                </a:lnTo>
                <a:lnTo>
                  <a:pt x="1229404" y="2973439"/>
                </a:lnTo>
                <a:lnTo>
                  <a:pt x="1210342" y="3006795"/>
                </a:lnTo>
                <a:lnTo>
                  <a:pt x="1172222" y="3068742"/>
                </a:lnTo>
                <a:lnTo>
                  <a:pt x="1153162" y="3092567"/>
                </a:lnTo>
                <a:lnTo>
                  <a:pt x="1157926" y="3130689"/>
                </a:lnTo>
                <a:lnTo>
                  <a:pt x="1124570" y="3202165"/>
                </a:lnTo>
                <a:lnTo>
                  <a:pt x="1148396" y="3268877"/>
                </a:lnTo>
                <a:lnTo>
                  <a:pt x="1148396" y="3273642"/>
                </a:lnTo>
                <a:lnTo>
                  <a:pt x="1162692" y="3302233"/>
                </a:lnTo>
                <a:lnTo>
                  <a:pt x="1148396" y="3316528"/>
                </a:lnTo>
                <a:lnTo>
                  <a:pt x="1143632" y="3326059"/>
                </a:lnTo>
                <a:lnTo>
                  <a:pt x="1143632" y="3359415"/>
                </a:lnTo>
                <a:lnTo>
                  <a:pt x="1148396" y="3397535"/>
                </a:lnTo>
                <a:lnTo>
                  <a:pt x="1143632" y="3416596"/>
                </a:lnTo>
                <a:lnTo>
                  <a:pt x="1143632" y="3440422"/>
                </a:lnTo>
                <a:lnTo>
                  <a:pt x="1172222" y="3545255"/>
                </a:lnTo>
                <a:lnTo>
                  <a:pt x="1172222" y="3569080"/>
                </a:lnTo>
                <a:lnTo>
                  <a:pt x="1172222" y="3583375"/>
                </a:lnTo>
                <a:lnTo>
                  <a:pt x="1162692" y="3645322"/>
                </a:lnTo>
                <a:lnTo>
                  <a:pt x="1148396" y="3731094"/>
                </a:lnTo>
                <a:lnTo>
                  <a:pt x="1172222" y="3754920"/>
                </a:lnTo>
                <a:lnTo>
                  <a:pt x="1200812" y="3778746"/>
                </a:lnTo>
                <a:lnTo>
                  <a:pt x="1219874" y="3788276"/>
                </a:lnTo>
                <a:lnTo>
                  <a:pt x="1243698" y="3821632"/>
                </a:lnTo>
                <a:lnTo>
                  <a:pt x="1262760" y="3850223"/>
                </a:lnTo>
                <a:lnTo>
                  <a:pt x="1262760" y="3874048"/>
                </a:lnTo>
                <a:lnTo>
                  <a:pt x="1253228" y="3893109"/>
                </a:lnTo>
                <a:lnTo>
                  <a:pt x="1248464" y="3912169"/>
                </a:lnTo>
                <a:lnTo>
                  <a:pt x="1238934" y="3931230"/>
                </a:lnTo>
                <a:lnTo>
                  <a:pt x="1238934" y="3945525"/>
                </a:lnTo>
                <a:lnTo>
                  <a:pt x="1234168" y="3950290"/>
                </a:lnTo>
                <a:lnTo>
                  <a:pt x="1200812" y="3950290"/>
                </a:lnTo>
                <a:lnTo>
                  <a:pt x="1181752" y="3959821"/>
                </a:lnTo>
                <a:lnTo>
                  <a:pt x="1172222" y="3964585"/>
                </a:lnTo>
                <a:lnTo>
                  <a:pt x="1176988" y="4002707"/>
                </a:lnTo>
                <a:lnTo>
                  <a:pt x="1196048" y="4064653"/>
                </a:lnTo>
                <a:lnTo>
                  <a:pt x="1215108" y="4112305"/>
                </a:lnTo>
                <a:lnTo>
                  <a:pt x="1219874" y="4140895"/>
                </a:lnTo>
                <a:lnTo>
                  <a:pt x="1210342" y="4174251"/>
                </a:lnTo>
                <a:lnTo>
                  <a:pt x="1205578" y="4188547"/>
                </a:lnTo>
                <a:lnTo>
                  <a:pt x="1205578" y="4207607"/>
                </a:lnTo>
                <a:lnTo>
                  <a:pt x="1200812" y="4250493"/>
                </a:lnTo>
                <a:lnTo>
                  <a:pt x="1191282" y="4269553"/>
                </a:lnTo>
                <a:lnTo>
                  <a:pt x="1172222" y="4293379"/>
                </a:lnTo>
                <a:lnTo>
                  <a:pt x="1153162" y="4312440"/>
                </a:lnTo>
                <a:lnTo>
                  <a:pt x="1138866" y="4317205"/>
                </a:lnTo>
                <a:lnTo>
                  <a:pt x="1124570" y="4317205"/>
                </a:lnTo>
                <a:lnTo>
                  <a:pt x="1115040" y="4326735"/>
                </a:lnTo>
                <a:lnTo>
                  <a:pt x="1110276" y="4350561"/>
                </a:lnTo>
                <a:lnTo>
                  <a:pt x="1100744" y="4379151"/>
                </a:lnTo>
                <a:lnTo>
                  <a:pt x="1076920" y="4412507"/>
                </a:lnTo>
                <a:lnTo>
                  <a:pt x="1076920" y="4422037"/>
                </a:lnTo>
                <a:lnTo>
                  <a:pt x="1086450" y="4460159"/>
                </a:lnTo>
                <a:lnTo>
                  <a:pt x="1095980" y="4503045"/>
                </a:lnTo>
                <a:lnTo>
                  <a:pt x="1086450" y="4541166"/>
                </a:lnTo>
                <a:lnTo>
                  <a:pt x="1081684" y="4584052"/>
                </a:lnTo>
                <a:lnTo>
                  <a:pt x="1072154" y="4612643"/>
                </a:lnTo>
                <a:lnTo>
                  <a:pt x="1053094" y="4622173"/>
                </a:lnTo>
                <a:lnTo>
                  <a:pt x="1043564" y="4617408"/>
                </a:lnTo>
                <a:lnTo>
                  <a:pt x="1029268" y="4579287"/>
                </a:lnTo>
                <a:lnTo>
                  <a:pt x="1029268" y="4569757"/>
                </a:lnTo>
                <a:lnTo>
                  <a:pt x="1029268" y="4560227"/>
                </a:lnTo>
                <a:lnTo>
                  <a:pt x="991148" y="4545931"/>
                </a:lnTo>
                <a:lnTo>
                  <a:pt x="986382" y="4550696"/>
                </a:lnTo>
                <a:lnTo>
                  <a:pt x="972086" y="4541166"/>
                </a:lnTo>
                <a:lnTo>
                  <a:pt x="943496" y="4536401"/>
                </a:lnTo>
                <a:lnTo>
                  <a:pt x="929200" y="4503045"/>
                </a:lnTo>
                <a:lnTo>
                  <a:pt x="914904" y="4474454"/>
                </a:lnTo>
                <a:lnTo>
                  <a:pt x="914904" y="4460159"/>
                </a:lnTo>
                <a:lnTo>
                  <a:pt x="914904" y="4407743"/>
                </a:lnTo>
                <a:lnTo>
                  <a:pt x="910140" y="4383917"/>
                </a:lnTo>
                <a:lnTo>
                  <a:pt x="905374" y="4355326"/>
                </a:lnTo>
                <a:lnTo>
                  <a:pt x="895844" y="4379151"/>
                </a:lnTo>
                <a:lnTo>
                  <a:pt x="900610" y="4412507"/>
                </a:lnTo>
                <a:lnTo>
                  <a:pt x="891080" y="4426803"/>
                </a:lnTo>
                <a:lnTo>
                  <a:pt x="876784" y="4431568"/>
                </a:lnTo>
                <a:lnTo>
                  <a:pt x="876784" y="4450629"/>
                </a:lnTo>
                <a:lnTo>
                  <a:pt x="881550" y="4455393"/>
                </a:lnTo>
                <a:lnTo>
                  <a:pt x="886314" y="4474454"/>
                </a:lnTo>
                <a:lnTo>
                  <a:pt x="881550" y="4507810"/>
                </a:lnTo>
                <a:lnTo>
                  <a:pt x="852958" y="4574522"/>
                </a:lnTo>
                <a:lnTo>
                  <a:pt x="843428" y="4579287"/>
                </a:lnTo>
                <a:lnTo>
                  <a:pt x="843428" y="4588817"/>
                </a:lnTo>
                <a:lnTo>
                  <a:pt x="829132" y="4584052"/>
                </a:lnTo>
                <a:lnTo>
                  <a:pt x="805308" y="4603113"/>
                </a:lnTo>
                <a:lnTo>
                  <a:pt x="791012" y="4603113"/>
                </a:lnTo>
                <a:lnTo>
                  <a:pt x="781482" y="4584052"/>
                </a:lnTo>
                <a:lnTo>
                  <a:pt x="757656" y="4555461"/>
                </a:lnTo>
                <a:lnTo>
                  <a:pt x="743360" y="4555461"/>
                </a:lnTo>
                <a:lnTo>
                  <a:pt x="757656" y="4569757"/>
                </a:lnTo>
                <a:lnTo>
                  <a:pt x="767186" y="4588817"/>
                </a:lnTo>
                <a:lnTo>
                  <a:pt x="762420" y="4598347"/>
                </a:lnTo>
                <a:lnTo>
                  <a:pt x="752890" y="4607877"/>
                </a:lnTo>
                <a:lnTo>
                  <a:pt x="743360" y="4612643"/>
                </a:lnTo>
                <a:lnTo>
                  <a:pt x="705240" y="4636469"/>
                </a:lnTo>
                <a:lnTo>
                  <a:pt x="719534" y="4650764"/>
                </a:lnTo>
                <a:lnTo>
                  <a:pt x="710004" y="4669825"/>
                </a:lnTo>
                <a:lnTo>
                  <a:pt x="695710" y="4669825"/>
                </a:lnTo>
                <a:lnTo>
                  <a:pt x="686178" y="4679355"/>
                </a:lnTo>
                <a:lnTo>
                  <a:pt x="686178" y="4688885"/>
                </a:lnTo>
                <a:lnTo>
                  <a:pt x="648058" y="4722241"/>
                </a:lnTo>
                <a:lnTo>
                  <a:pt x="581346" y="4803248"/>
                </a:lnTo>
                <a:lnTo>
                  <a:pt x="547990" y="4822309"/>
                </a:lnTo>
                <a:lnTo>
                  <a:pt x="528930" y="4846134"/>
                </a:lnTo>
                <a:lnTo>
                  <a:pt x="505104" y="4846134"/>
                </a:lnTo>
                <a:lnTo>
                  <a:pt x="481278" y="4865195"/>
                </a:lnTo>
                <a:lnTo>
                  <a:pt x="419332" y="4884255"/>
                </a:lnTo>
                <a:lnTo>
                  <a:pt x="376446" y="4874725"/>
                </a:lnTo>
                <a:lnTo>
                  <a:pt x="347854" y="4884255"/>
                </a:lnTo>
                <a:lnTo>
                  <a:pt x="328794" y="4869959"/>
                </a:lnTo>
                <a:lnTo>
                  <a:pt x="328794" y="4860429"/>
                </a:lnTo>
                <a:lnTo>
                  <a:pt x="328794" y="4855664"/>
                </a:lnTo>
                <a:lnTo>
                  <a:pt x="333560" y="4846134"/>
                </a:lnTo>
                <a:lnTo>
                  <a:pt x="324030" y="4846134"/>
                </a:lnTo>
                <a:lnTo>
                  <a:pt x="314498" y="4846134"/>
                </a:lnTo>
                <a:lnTo>
                  <a:pt x="309734" y="4850899"/>
                </a:lnTo>
                <a:lnTo>
                  <a:pt x="309734" y="4865195"/>
                </a:lnTo>
                <a:lnTo>
                  <a:pt x="304968" y="4869959"/>
                </a:lnTo>
                <a:lnTo>
                  <a:pt x="281144" y="4860429"/>
                </a:lnTo>
                <a:lnTo>
                  <a:pt x="276378" y="4855664"/>
                </a:lnTo>
                <a:lnTo>
                  <a:pt x="285908" y="4836603"/>
                </a:lnTo>
                <a:lnTo>
                  <a:pt x="295438" y="4822309"/>
                </a:lnTo>
                <a:lnTo>
                  <a:pt x="290674" y="4812778"/>
                </a:lnTo>
                <a:lnTo>
                  <a:pt x="285908" y="4812778"/>
                </a:lnTo>
                <a:lnTo>
                  <a:pt x="266848" y="4812778"/>
                </a:lnTo>
                <a:lnTo>
                  <a:pt x="247788" y="4812778"/>
                </a:lnTo>
                <a:lnTo>
                  <a:pt x="195370" y="4779422"/>
                </a:lnTo>
                <a:lnTo>
                  <a:pt x="185840" y="4760361"/>
                </a:lnTo>
                <a:lnTo>
                  <a:pt x="142954" y="4736536"/>
                </a:lnTo>
                <a:lnTo>
                  <a:pt x="123894" y="4707945"/>
                </a:lnTo>
                <a:lnTo>
                  <a:pt x="114364" y="4674589"/>
                </a:lnTo>
                <a:lnTo>
                  <a:pt x="114364" y="4645999"/>
                </a:lnTo>
                <a:lnTo>
                  <a:pt x="119128" y="4598347"/>
                </a:lnTo>
                <a:lnTo>
                  <a:pt x="128658" y="4588817"/>
                </a:lnTo>
                <a:lnTo>
                  <a:pt x="166780" y="4603113"/>
                </a:lnTo>
                <a:lnTo>
                  <a:pt x="204900" y="4631703"/>
                </a:lnTo>
                <a:lnTo>
                  <a:pt x="209666" y="4626938"/>
                </a:lnTo>
                <a:lnTo>
                  <a:pt x="223962" y="4607877"/>
                </a:lnTo>
                <a:lnTo>
                  <a:pt x="247788" y="4588817"/>
                </a:lnTo>
                <a:lnTo>
                  <a:pt x="238256" y="4588817"/>
                </a:lnTo>
                <a:lnTo>
                  <a:pt x="204900" y="4607877"/>
                </a:lnTo>
                <a:lnTo>
                  <a:pt x="190606" y="4593583"/>
                </a:lnTo>
                <a:lnTo>
                  <a:pt x="171546" y="4574522"/>
                </a:lnTo>
                <a:lnTo>
                  <a:pt x="171546" y="4560227"/>
                </a:lnTo>
                <a:lnTo>
                  <a:pt x="181076" y="4550696"/>
                </a:lnTo>
                <a:lnTo>
                  <a:pt x="185840" y="4536401"/>
                </a:lnTo>
                <a:lnTo>
                  <a:pt x="181076" y="4522105"/>
                </a:lnTo>
                <a:lnTo>
                  <a:pt x="181076" y="4498279"/>
                </a:lnTo>
                <a:lnTo>
                  <a:pt x="195370" y="4479219"/>
                </a:lnTo>
                <a:lnTo>
                  <a:pt x="219196" y="4455393"/>
                </a:lnTo>
                <a:lnTo>
                  <a:pt x="238256" y="4436333"/>
                </a:lnTo>
                <a:lnTo>
                  <a:pt x="252552" y="4422037"/>
                </a:lnTo>
                <a:lnTo>
                  <a:pt x="252552" y="4417273"/>
                </a:lnTo>
                <a:lnTo>
                  <a:pt x="233492" y="4426803"/>
                </a:lnTo>
                <a:lnTo>
                  <a:pt x="214432" y="4441098"/>
                </a:lnTo>
                <a:lnTo>
                  <a:pt x="190606" y="4464924"/>
                </a:lnTo>
                <a:lnTo>
                  <a:pt x="166780" y="4483985"/>
                </a:lnTo>
                <a:lnTo>
                  <a:pt x="147720" y="4488749"/>
                </a:lnTo>
                <a:lnTo>
                  <a:pt x="133424" y="4498279"/>
                </a:lnTo>
                <a:lnTo>
                  <a:pt x="123894" y="4503045"/>
                </a:lnTo>
                <a:lnTo>
                  <a:pt x="104834" y="4531635"/>
                </a:lnTo>
                <a:lnTo>
                  <a:pt x="90538" y="4541166"/>
                </a:lnTo>
                <a:lnTo>
                  <a:pt x="61948" y="4541166"/>
                </a:lnTo>
                <a:lnTo>
                  <a:pt x="52416" y="4522105"/>
                </a:lnTo>
                <a:lnTo>
                  <a:pt x="61948" y="4450629"/>
                </a:lnTo>
                <a:lnTo>
                  <a:pt x="71478" y="4417273"/>
                </a:lnTo>
                <a:lnTo>
                  <a:pt x="81008" y="4393447"/>
                </a:lnTo>
                <a:lnTo>
                  <a:pt x="95304" y="4388682"/>
                </a:lnTo>
                <a:lnTo>
                  <a:pt x="104834" y="4374387"/>
                </a:lnTo>
                <a:lnTo>
                  <a:pt x="114364" y="4374387"/>
                </a:lnTo>
                <a:lnTo>
                  <a:pt x="123894" y="4379151"/>
                </a:lnTo>
                <a:lnTo>
                  <a:pt x="152484" y="4388682"/>
                </a:lnTo>
                <a:lnTo>
                  <a:pt x="166780" y="4364856"/>
                </a:lnTo>
                <a:lnTo>
                  <a:pt x="185840" y="4364856"/>
                </a:lnTo>
                <a:lnTo>
                  <a:pt x="223962" y="4341031"/>
                </a:lnTo>
                <a:lnTo>
                  <a:pt x="223962" y="4336265"/>
                </a:lnTo>
                <a:lnTo>
                  <a:pt x="200136" y="4341031"/>
                </a:lnTo>
                <a:lnTo>
                  <a:pt x="185840" y="4341031"/>
                </a:lnTo>
                <a:lnTo>
                  <a:pt x="162014" y="4345795"/>
                </a:lnTo>
                <a:lnTo>
                  <a:pt x="152484" y="4341031"/>
                </a:lnTo>
                <a:lnTo>
                  <a:pt x="147720" y="4326735"/>
                </a:lnTo>
                <a:lnTo>
                  <a:pt x="157250" y="4312440"/>
                </a:lnTo>
                <a:lnTo>
                  <a:pt x="190606" y="4274319"/>
                </a:lnTo>
                <a:lnTo>
                  <a:pt x="200136" y="4255259"/>
                </a:lnTo>
                <a:lnTo>
                  <a:pt x="204900" y="4240963"/>
                </a:lnTo>
                <a:lnTo>
                  <a:pt x="204900" y="4231433"/>
                </a:lnTo>
                <a:lnTo>
                  <a:pt x="209666" y="4212372"/>
                </a:lnTo>
                <a:lnTo>
                  <a:pt x="243022" y="4174251"/>
                </a:lnTo>
                <a:lnTo>
                  <a:pt x="271612" y="4155191"/>
                </a:lnTo>
                <a:lnTo>
                  <a:pt x="281144" y="4169486"/>
                </a:lnTo>
                <a:lnTo>
                  <a:pt x="271612" y="4217137"/>
                </a:lnTo>
                <a:lnTo>
                  <a:pt x="271612" y="4236198"/>
                </a:lnTo>
                <a:lnTo>
                  <a:pt x="290674" y="4169486"/>
                </a:lnTo>
                <a:lnTo>
                  <a:pt x="300204" y="4150425"/>
                </a:lnTo>
                <a:lnTo>
                  <a:pt x="309734" y="4140895"/>
                </a:lnTo>
                <a:lnTo>
                  <a:pt x="338324" y="4131365"/>
                </a:lnTo>
                <a:lnTo>
                  <a:pt x="343090" y="4121835"/>
                </a:lnTo>
                <a:lnTo>
                  <a:pt x="314498" y="4126600"/>
                </a:lnTo>
                <a:lnTo>
                  <a:pt x="243022" y="4150425"/>
                </a:lnTo>
                <a:lnTo>
                  <a:pt x="214432" y="4174251"/>
                </a:lnTo>
                <a:lnTo>
                  <a:pt x="204900" y="4193312"/>
                </a:lnTo>
                <a:lnTo>
                  <a:pt x="185840" y="4217137"/>
                </a:lnTo>
                <a:lnTo>
                  <a:pt x="176310" y="4236198"/>
                </a:lnTo>
                <a:lnTo>
                  <a:pt x="171546" y="4260023"/>
                </a:lnTo>
                <a:lnTo>
                  <a:pt x="157250" y="4274319"/>
                </a:lnTo>
                <a:lnTo>
                  <a:pt x="142954" y="4279084"/>
                </a:lnTo>
                <a:lnTo>
                  <a:pt x="119128" y="4312440"/>
                </a:lnTo>
                <a:lnTo>
                  <a:pt x="109598" y="4336265"/>
                </a:lnTo>
                <a:lnTo>
                  <a:pt x="90538" y="4360091"/>
                </a:lnTo>
                <a:lnTo>
                  <a:pt x="76242" y="4374387"/>
                </a:lnTo>
                <a:lnTo>
                  <a:pt x="71478" y="4379151"/>
                </a:lnTo>
                <a:lnTo>
                  <a:pt x="61948" y="4393447"/>
                </a:lnTo>
                <a:lnTo>
                  <a:pt x="57182" y="4393447"/>
                </a:lnTo>
                <a:lnTo>
                  <a:pt x="52416" y="4388682"/>
                </a:lnTo>
                <a:lnTo>
                  <a:pt x="47652" y="4369621"/>
                </a:lnTo>
                <a:lnTo>
                  <a:pt x="52416" y="4336265"/>
                </a:lnTo>
                <a:lnTo>
                  <a:pt x="61948" y="4312440"/>
                </a:lnTo>
                <a:lnTo>
                  <a:pt x="66712" y="4288614"/>
                </a:lnTo>
                <a:lnTo>
                  <a:pt x="61948" y="4269553"/>
                </a:lnTo>
                <a:lnTo>
                  <a:pt x="66712" y="4255259"/>
                </a:lnTo>
                <a:lnTo>
                  <a:pt x="76242" y="4255259"/>
                </a:lnTo>
                <a:lnTo>
                  <a:pt x="90538" y="4260023"/>
                </a:lnTo>
                <a:lnTo>
                  <a:pt x="109598" y="4260023"/>
                </a:lnTo>
                <a:lnTo>
                  <a:pt x="138190" y="4245728"/>
                </a:lnTo>
                <a:lnTo>
                  <a:pt x="133424" y="4236198"/>
                </a:lnTo>
                <a:lnTo>
                  <a:pt x="123894" y="4236198"/>
                </a:lnTo>
                <a:lnTo>
                  <a:pt x="100068" y="4236198"/>
                </a:lnTo>
                <a:lnTo>
                  <a:pt x="76242" y="4217137"/>
                </a:lnTo>
                <a:lnTo>
                  <a:pt x="61948" y="4188547"/>
                </a:lnTo>
                <a:lnTo>
                  <a:pt x="52416" y="4145661"/>
                </a:lnTo>
                <a:lnTo>
                  <a:pt x="57182" y="4131365"/>
                </a:lnTo>
                <a:lnTo>
                  <a:pt x="119128" y="4088479"/>
                </a:lnTo>
                <a:lnTo>
                  <a:pt x="133424" y="4064653"/>
                </a:lnTo>
                <a:lnTo>
                  <a:pt x="123894" y="4064653"/>
                </a:lnTo>
                <a:lnTo>
                  <a:pt x="104834" y="4088479"/>
                </a:lnTo>
                <a:lnTo>
                  <a:pt x="71478" y="4102774"/>
                </a:lnTo>
                <a:lnTo>
                  <a:pt x="52416" y="4083714"/>
                </a:lnTo>
                <a:lnTo>
                  <a:pt x="42886" y="4059888"/>
                </a:lnTo>
                <a:lnTo>
                  <a:pt x="33356" y="4012237"/>
                </a:lnTo>
                <a:lnTo>
                  <a:pt x="38122" y="3988411"/>
                </a:lnTo>
                <a:lnTo>
                  <a:pt x="33356" y="3955055"/>
                </a:lnTo>
                <a:lnTo>
                  <a:pt x="47652" y="3945525"/>
                </a:lnTo>
                <a:lnTo>
                  <a:pt x="61948" y="3950290"/>
                </a:lnTo>
                <a:lnTo>
                  <a:pt x="76242" y="3950290"/>
                </a:lnTo>
                <a:lnTo>
                  <a:pt x="114364" y="3950290"/>
                </a:lnTo>
                <a:lnTo>
                  <a:pt x="185840" y="3926465"/>
                </a:lnTo>
                <a:lnTo>
                  <a:pt x="233492" y="3940760"/>
                </a:lnTo>
                <a:lnTo>
                  <a:pt x="252552" y="3940760"/>
                </a:lnTo>
                <a:lnTo>
                  <a:pt x="285908" y="3921699"/>
                </a:lnTo>
                <a:lnTo>
                  <a:pt x="309734" y="3921699"/>
                </a:lnTo>
                <a:lnTo>
                  <a:pt x="328794" y="3931230"/>
                </a:lnTo>
                <a:lnTo>
                  <a:pt x="343090" y="3950290"/>
                </a:lnTo>
                <a:lnTo>
                  <a:pt x="343090" y="3969351"/>
                </a:lnTo>
                <a:lnTo>
                  <a:pt x="352620" y="3983646"/>
                </a:lnTo>
                <a:lnTo>
                  <a:pt x="357386" y="3978881"/>
                </a:lnTo>
                <a:lnTo>
                  <a:pt x="352620" y="3959821"/>
                </a:lnTo>
                <a:lnTo>
                  <a:pt x="352620" y="3935995"/>
                </a:lnTo>
                <a:lnTo>
                  <a:pt x="428862" y="3907404"/>
                </a:lnTo>
                <a:lnTo>
                  <a:pt x="438392" y="3897874"/>
                </a:lnTo>
                <a:lnTo>
                  <a:pt x="409802" y="3893109"/>
                </a:lnTo>
                <a:lnTo>
                  <a:pt x="400272" y="3869283"/>
                </a:lnTo>
                <a:lnTo>
                  <a:pt x="414566" y="3831162"/>
                </a:lnTo>
                <a:lnTo>
                  <a:pt x="414566" y="3826397"/>
                </a:lnTo>
                <a:lnTo>
                  <a:pt x="395506" y="3845457"/>
                </a:lnTo>
                <a:lnTo>
                  <a:pt x="390740" y="3874048"/>
                </a:lnTo>
                <a:lnTo>
                  <a:pt x="390740" y="3897874"/>
                </a:lnTo>
                <a:lnTo>
                  <a:pt x="390740" y="3907404"/>
                </a:lnTo>
                <a:lnTo>
                  <a:pt x="371680" y="3912169"/>
                </a:lnTo>
                <a:lnTo>
                  <a:pt x="338324" y="3912169"/>
                </a:lnTo>
                <a:lnTo>
                  <a:pt x="314498" y="3902639"/>
                </a:lnTo>
                <a:lnTo>
                  <a:pt x="290674" y="3897874"/>
                </a:lnTo>
                <a:lnTo>
                  <a:pt x="285908" y="3893109"/>
                </a:lnTo>
                <a:lnTo>
                  <a:pt x="285908" y="3874048"/>
                </a:lnTo>
                <a:lnTo>
                  <a:pt x="281144" y="3874048"/>
                </a:lnTo>
                <a:lnTo>
                  <a:pt x="271612" y="3888343"/>
                </a:lnTo>
                <a:lnTo>
                  <a:pt x="266848" y="3916934"/>
                </a:lnTo>
                <a:lnTo>
                  <a:pt x="247788" y="3921699"/>
                </a:lnTo>
                <a:lnTo>
                  <a:pt x="200136" y="3912169"/>
                </a:lnTo>
                <a:lnTo>
                  <a:pt x="133424" y="3916934"/>
                </a:lnTo>
                <a:lnTo>
                  <a:pt x="104834" y="3931230"/>
                </a:lnTo>
                <a:lnTo>
                  <a:pt x="85772" y="3931230"/>
                </a:lnTo>
                <a:lnTo>
                  <a:pt x="47652" y="3907404"/>
                </a:lnTo>
                <a:lnTo>
                  <a:pt x="38122" y="3883579"/>
                </a:lnTo>
                <a:lnTo>
                  <a:pt x="33356" y="3845457"/>
                </a:lnTo>
                <a:lnTo>
                  <a:pt x="33356" y="3826397"/>
                </a:lnTo>
                <a:lnTo>
                  <a:pt x="61948" y="3816867"/>
                </a:lnTo>
                <a:lnTo>
                  <a:pt x="71478" y="3816867"/>
                </a:lnTo>
                <a:lnTo>
                  <a:pt x="85772" y="3807337"/>
                </a:lnTo>
                <a:lnTo>
                  <a:pt x="76242" y="3802571"/>
                </a:lnTo>
                <a:lnTo>
                  <a:pt x="57182" y="3788276"/>
                </a:lnTo>
                <a:lnTo>
                  <a:pt x="47652" y="3764450"/>
                </a:lnTo>
                <a:lnTo>
                  <a:pt x="33356" y="3754920"/>
                </a:lnTo>
                <a:lnTo>
                  <a:pt x="23826" y="3735859"/>
                </a:lnTo>
                <a:lnTo>
                  <a:pt x="19060" y="3702503"/>
                </a:lnTo>
                <a:lnTo>
                  <a:pt x="23826" y="3678678"/>
                </a:lnTo>
                <a:lnTo>
                  <a:pt x="28592" y="3673913"/>
                </a:lnTo>
                <a:lnTo>
                  <a:pt x="52416" y="3678678"/>
                </a:lnTo>
                <a:lnTo>
                  <a:pt x="104834" y="3673913"/>
                </a:lnTo>
                <a:lnTo>
                  <a:pt x="157250" y="3697739"/>
                </a:lnTo>
                <a:lnTo>
                  <a:pt x="190606" y="3707269"/>
                </a:lnTo>
                <a:lnTo>
                  <a:pt x="262082" y="3702503"/>
                </a:lnTo>
                <a:lnTo>
                  <a:pt x="304968" y="3683443"/>
                </a:lnTo>
                <a:lnTo>
                  <a:pt x="295438" y="3673913"/>
                </a:lnTo>
                <a:lnTo>
                  <a:pt x="252552" y="3688208"/>
                </a:lnTo>
                <a:lnTo>
                  <a:pt x="209666" y="3688208"/>
                </a:lnTo>
                <a:lnTo>
                  <a:pt x="138190" y="3664383"/>
                </a:lnTo>
                <a:lnTo>
                  <a:pt x="104834" y="3654852"/>
                </a:lnTo>
                <a:lnTo>
                  <a:pt x="76242" y="3659617"/>
                </a:lnTo>
                <a:lnTo>
                  <a:pt x="57182" y="3654852"/>
                </a:lnTo>
                <a:lnTo>
                  <a:pt x="47652" y="3631027"/>
                </a:lnTo>
                <a:lnTo>
                  <a:pt x="57182" y="3588141"/>
                </a:lnTo>
                <a:lnTo>
                  <a:pt x="71478" y="3573845"/>
                </a:lnTo>
                <a:lnTo>
                  <a:pt x="81008" y="3588141"/>
                </a:lnTo>
                <a:lnTo>
                  <a:pt x="90538" y="3588141"/>
                </a:lnTo>
                <a:lnTo>
                  <a:pt x="100068" y="3569080"/>
                </a:lnTo>
                <a:lnTo>
                  <a:pt x="109598" y="3559550"/>
                </a:lnTo>
                <a:lnTo>
                  <a:pt x="114364" y="3535724"/>
                </a:lnTo>
                <a:lnTo>
                  <a:pt x="147720" y="3511899"/>
                </a:lnTo>
                <a:lnTo>
                  <a:pt x="157250" y="3511899"/>
                </a:lnTo>
                <a:lnTo>
                  <a:pt x="176310" y="3497603"/>
                </a:lnTo>
                <a:lnTo>
                  <a:pt x="185840" y="3502368"/>
                </a:lnTo>
                <a:lnTo>
                  <a:pt x="195370" y="3511899"/>
                </a:lnTo>
                <a:lnTo>
                  <a:pt x="204900" y="3521429"/>
                </a:lnTo>
                <a:lnTo>
                  <a:pt x="219196" y="3521429"/>
                </a:lnTo>
                <a:lnTo>
                  <a:pt x="281144" y="3502368"/>
                </a:lnTo>
                <a:lnTo>
                  <a:pt x="285908" y="3497603"/>
                </a:lnTo>
                <a:lnTo>
                  <a:pt x="295438" y="3483308"/>
                </a:lnTo>
                <a:lnTo>
                  <a:pt x="262082" y="3488073"/>
                </a:lnTo>
                <a:lnTo>
                  <a:pt x="228726" y="3497603"/>
                </a:lnTo>
                <a:lnTo>
                  <a:pt x="209666" y="3502368"/>
                </a:lnTo>
                <a:lnTo>
                  <a:pt x="209666" y="3488073"/>
                </a:lnTo>
                <a:lnTo>
                  <a:pt x="214432" y="3478543"/>
                </a:lnTo>
                <a:lnTo>
                  <a:pt x="228726" y="3464247"/>
                </a:lnTo>
                <a:lnTo>
                  <a:pt x="233492" y="3440422"/>
                </a:lnTo>
                <a:lnTo>
                  <a:pt x="243022" y="3435657"/>
                </a:lnTo>
                <a:lnTo>
                  <a:pt x="257318" y="3435657"/>
                </a:lnTo>
                <a:lnTo>
                  <a:pt x="285908" y="3430891"/>
                </a:lnTo>
                <a:lnTo>
                  <a:pt x="304968" y="3426126"/>
                </a:lnTo>
                <a:lnTo>
                  <a:pt x="338324" y="3426126"/>
                </a:lnTo>
                <a:lnTo>
                  <a:pt x="390740" y="3435657"/>
                </a:lnTo>
                <a:lnTo>
                  <a:pt x="424096" y="3454717"/>
                </a:lnTo>
                <a:lnTo>
                  <a:pt x="433628" y="3454717"/>
                </a:lnTo>
                <a:lnTo>
                  <a:pt x="447922" y="3449952"/>
                </a:lnTo>
                <a:lnTo>
                  <a:pt x="452688" y="3440422"/>
                </a:lnTo>
                <a:lnTo>
                  <a:pt x="428862" y="3435657"/>
                </a:lnTo>
                <a:lnTo>
                  <a:pt x="424096" y="3421361"/>
                </a:lnTo>
                <a:lnTo>
                  <a:pt x="428862" y="3411831"/>
                </a:lnTo>
                <a:lnTo>
                  <a:pt x="471748" y="3397535"/>
                </a:lnTo>
                <a:lnTo>
                  <a:pt x="514634" y="3392771"/>
                </a:lnTo>
                <a:lnTo>
                  <a:pt x="509870" y="3378475"/>
                </a:lnTo>
                <a:lnTo>
                  <a:pt x="409802" y="3397535"/>
                </a:lnTo>
                <a:lnTo>
                  <a:pt x="381210" y="3383240"/>
                </a:lnTo>
                <a:lnTo>
                  <a:pt x="362150" y="3383240"/>
                </a:lnTo>
                <a:lnTo>
                  <a:pt x="347854" y="3392771"/>
                </a:lnTo>
                <a:lnTo>
                  <a:pt x="309734" y="3402301"/>
                </a:lnTo>
                <a:lnTo>
                  <a:pt x="304968" y="3397535"/>
                </a:lnTo>
                <a:lnTo>
                  <a:pt x="309734" y="3373710"/>
                </a:lnTo>
                <a:lnTo>
                  <a:pt x="333560" y="3335589"/>
                </a:lnTo>
                <a:lnTo>
                  <a:pt x="333560" y="3326059"/>
                </a:lnTo>
                <a:lnTo>
                  <a:pt x="347854" y="3316528"/>
                </a:lnTo>
                <a:lnTo>
                  <a:pt x="405036" y="3292703"/>
                </a:lnTo>
                <a:lnTo>
                  <a:pt x="433628" y="3264112"/>
                </a:lnTo>
                <a:lnTo>
                  <a:pt x="447922" y="3264112"/>
                </a:lnTo>
                <a:lnTo>
                  <a:pt x="462218" y="3264112"/>
                </a:lnTo>
                <a:lnTo>
                  <a:pt x="481278" y="3259347"/>
                </a:lnTo>
                <a:lnTo>
                  <a:pt x="519400" y="3268877"/>
                </a:lnTo>
                <a:lnTo>
                  <a:pt x="533694" y="3302233"/>
                </a:lnTo>
                <a:lnTo>
                  <a:pt x="547990" y="3311763"/>
                </a:lnTo>
                <a:lnTo>
                  <a:pt x="600406" y="3354649"/>
                </a:lnTo>
                <a:lnTo>
                  <a:pt x="595642" y="3340354"/>
                </a:lnTo>
                <a:lnTo>
                  <a:pt x="552756" y="3287937"/>
                </a:lnTo>
                <a:lnTo>
                  <a:pt x="538460" y="3273642"/>
                </a:lnTo>
                <a:lnTo>
                  <a:pt x="524164" y="3245051"/>
                </a:lnTo>
                <a:lnTo>
                  <a:pt x="528930" y="3221226"/>
                </a:lnTo>
                <a:lnTo>
                  <a:pt x="543226" y="3202165"/>
                </a:lnTo>
                <a:lnTo>
                  <a:pt x="590876" y="3192635"/>
                </a:lnTo>
                <a:lnTo>
                  <a:pt x="600406" y="3183105"/>
                </a:lnTo>
                <a:lnTo>
                  <a:pt x="600406" y="3164044"/>
                </a:lnTo>
                <a:lnTo>
                  <a:pt x="595642" y="3154514"/>
                </a:lnTo>
                <a:lnTo>
                  <a:pt x="576580" y="3154514"/>
                </a:lnTo>
                <a:lnTo>
                  <a:pt x="562286" y="3144984"/>
                </a:lnTo>
                <a:lnTo>
                  <a:pt x="557520" y="3125923"/>
                </a:lnTo>
                <a:lnTo>
                  <a:pt x="562286" y="3116393"/>
                </a:lnTo>
                <a:lnTo>
                  <a:pt x="590876" y="3092567"/>
                </a:lnTo>
                <a:lnTo>
                  <a:pt x="605172" y="3083037"/>
                </a:lnTo>
                <a:lnTo>
                  <a:pt x="633762" y="3073507"/>
                </a:lnTo>
                <a:lnTo>
                  <a:pt x="681414" y="3092567"/>
                </a:lnTo>
                <a:lnTo>
                  <a:pt x="681414" y="3102098"/>
                </a:lnTo>
                <a:lnTo>
                  <a:pt x="671884" y="3125923"/>
                </a:lnTo>
                <a:lnTo>
                  <a:pt x="671884" y="3140219"/>
                </a:lnTo>
                <a:lnTo>
                  <a:pt x="681414" y="3140219"/>
                </a:lnTo>
                <a:lnTo>
                  <a:pt x="710004" y="3102098"/>
                </a:lnTo>
                <a:lnTo>
                  <a:pt x="738596" y="3097333"/>
                </a:lnTo>
                <a:lnTo>
                  <a:pt x="752890" y="3087802"/>
                </a:lnTo>
                <a:lnTo>
                  <a:pt x="767186" y="3083037"/>
                </a:lnTo>
                <a:lnTo>
                  <a:pt x="786246" y="3121158"/>
                </a:lnTo>
                <a:lnTo>
                  <a:pt x="795776" y="3130689"/>
                </a:lnTo>
                <a:lnTo>
                  <a:pt x="805308" y="3135453"/>
                </a:lnTo>
                <a:lnTo>
                  <a:pt x="810072" y="3164044"/>
                </a:lnTo>
                <a:lnTo>
                  <a:pt x="819602" y="3164044"/>
                </a:lnTo>
                <a:lnTo>
                  <a:pt x="829132" y="3149749"/>
                </a:lnTo>
                <a:lnTo>
                  <a:pt x="843428" y="3144984"/>
                </a:lnTo>
                <a:lnTo>
                  <a:pt x="867254" y="3140219"/>
                </a:lnTo>
                <a:lnTo>
                  <a:pt x="905374" y="3144984"/>
                </a:lnTo>
                <a:lnTo>
                  <a:pt x="924436" y="3140219"/>
                </a:lnTo>
                <a:lnTo>
                  <a:pt x="933966" y="3140219"/>
                </a:lnTo>
                <a:lnTo>
                  <a:pt x="924436" y="3116393"/>
                </a:lnTo>
                <a:lnTo>
                  <a:pt x="919670" y="3106863"/>
                </a:lnTo>
                <a:lnTo>
                  <a:pt x="929200" y="3083037"/>
                </a:lnTo>
                <a:lnTo>
                  <a:pt x="933966" y="3073507"/>
                </a:lnTo>
                <a:lnTo>
                  <a:pt x="962556" y="3059211"/>
                </a:lnTo>
                <a:lnTo>
                  <a:pt x="991148" y="3049681"/>
                </a:lnTo>
                <a:lnTo>
                  <a:pt x="1005442" y="3035386"/>
                </a:lnTo>
                <a:lnTo>
                  <a:pt x="1029268" y="3021091"/>
                </a:lnTo>
                <a:lnTo>
                  <a:pt x="1024502" y="3006795"/>
                </a:lnTo>
                <a:lnTo>
                  <a:pt x="1019738" y="2992500"/>
                </a:lnTo>
                <a:lnTo>
                  <a:pt x="1005442" y="2992500"/>
                </a:lnTo>
                <a:lnTo>
                  <a:pt x="995912" y="2987735"/>
                </a:lnTo>
                <a:lnTo>
                  <a:pt x="1014972" y="2968674"/>
                </a:lnTo>
                <a:lnTo>
                  <a:pt x="1043564" y="2949613"/>
                </a:lnTo>
                <a:lnTo>
                  <a:pt x="1038798" y="2940083"/>
                </a:lnTo>
                <a:lnTo>
                  <a:pt x="1019738" y="2930553"/>
                </a:lnTo>
                <a:lnTo>
                  <a:pt x="1005442" y="2940083"/>
                </a:lnTo>
                <a:lnTo>
                  <a:pt x="981616" y="2954379"/>
                </a:lnTo>
                <a:lnTo>
                  <a:pt x="957792" y="2978204"/>
                </a:lnTo>
                <a:lnTo>
                  <a:pt x="967322" y="2987735"/>
                </a:lnTo>
                <a:lnTo>
                  <a:pt x="976852" y="3006795"/>
                </a:lnTo>
                <a:lnTo>
                  <a:pt x="957792" y="3030621"/>
                </a:lnTo>
                <a:lnTo>
                  <a:pt x="867254" y="3102098"/>
                </a:lnTo>
                <a:lnTo>
                  <a:pt x="824368" y="3121158"/>
                </a:lnTo>
                <a:lnTo>
                  <a:pt x="800542" y="3121158"/>
                </a:lnTo>
                <a:lnTo>
                  <a:pt x="795776" y="3102098"/>
                </a:lnTo>
                <a:lnTo>
                  <a:pt x="786246" y="3087802"/>
                </a:lnTo>
                <a:lnTo>
                  <a:pt x="776716" y="3059211"/>
                </a:lnTo>
                <a:lnTo>
                  <a:pt x="762420" y="3059211"/>
                </a:lnTo>
                <a:lnTo>
                  <a:pt x="752890" y="3063977"/>
                </a:lnTo>
                <a:lnTo>
                  <a:pt x="748126" y="3054447"/>
                </a:lnTo>
                <a:lnTo>
                  <a:pt x="752890" y="3021091"/>
                </a:lnTo>
                <a:lnTo>
                  <a:pt x="767186" y="2997265"/>
                </a:lnTo>
                <a:lnTo>
                  <a:pt x="791012" y="2978204"/>
                </a:lnTo>
                <a:lnTo>
                  <a:pt x="805308" y="2954379"/>
                </a:lnTo>
                <a:lnTo>
                  <a:pt x="814838" y="2921023"/>
                </a:lnTo>
                <a:lnTo>
                  <a:pt x="852958" y="2887667"/>
                </a:lnTo>
                <a:lnTo>
                  <a:pt x="900610" y="2801895"/>
                </a:lnTo>
                <a:lnTo>
                  <a:pt x="943496" y="2773304"/>
                </a:lnTo>
                <a:lnTo>
                  <a:pt x="957792" y="2744713"/>
                </a:lnTo>
                <a:lnTo>
                  <a:pt x="986382" y="2730418"/>
                </a:lnTo>
                <a:lnTo>
                  <a:pt x="1005442" y="2706592"/>
                </a:lnTo>
                <a:lnTo>
                  <a:pt x="1024502" y="2701827"/>
                </a:lnTo>
                <a:lnTo>
                  <a:pt x="1053094" y="2682767"/>
                </a:lnTo>
                <a:lnTo>
                  <a:pt x="1067390" y="2654176"/>
                </a:lnTo>
                <a:lnTo>
                  <a:pt x="1057858" y="2654176"/>
                </a:lnTo>
                <a:lnTo>
                  <a:pt x="1029268" y="2673236"/>
                </a:lnTo>
                <a:lnTo>
                  <a:pt x="1014972" y="2678001"/>
                </a:lnTo>
                <a:lnTo>
                  <a:pt x="1019738" y="2649411"/>
                </a:lnTo>
                <a:lnTo>
                  <a:pt x="1024502" y="2620820"/>
                </a:lnTo>
                <a:lnTo>
                  <a:pt x="1048328" y="2596994"/>
                </a:lnTo>
                <a:lnTo>
                  <a:pt x="1153162" y="2520752"/>
                </a:lnTo>
                <a:lnTo>
                  <a:pt x="1162692" y="2535047"/>
                </a:lnTo>
                <a:lnTo>
                  <a:pt x="1172222" y="2554108"/>
                </a:lnTo>
                <a:lnTo>
                  <a:pt x="1205578" y="2549343"/>
                </a:lnTo>
                <a:lnTo>
                  <a:pt x="1243698" y="2506457"/>
                </a:lnTo>
                <a:lnTo>
                  <a:pt x="1267524" y="2463571"/>
                </a:lnTo>
                <a:lnTo>
                  <a:pt x="1253228" y="2468336"/>
                </a:lnTo>
                <a:lnTo>
                  <a:pt x="1238934" y="2487396"/>
                </a:lnTo>
                <a:lnTo>
                  <a:pt x="1205578" y="2515987"/>
                </a:lnTo>
                <a:lnTo>
                  <a:pt x="1191282" y="2520752"/>
                </a:lnTo>
                <a:lnTo>
                  <a:pt x="1181752" y="2515987"/>
                </a:lnTo>
                <a:lnTo>
                  <a:pt x="1176988" y="2496927"/>
                </a:lnTo>
                <a:lnTo>
                  <a:pt x="1167456" y="2492161"/>
                </a:lnTo>
                <a:lnTo>
                  <a:pt x="1157926" y="2496927"/>
                </a:lnTo>
                <a:lnTo>
                  <a:pt x="1148396" y="2482631"/>
                </a:lnTo>
                <a:lnTo>
                  <a:pt x="1143632" y="2454041"/>
                </a:lnTo>
                <a:lnTo>
                  <a:pt x="1157926" y="2406389"/>
                </a:lnTo>
                <a:lnTo>
                  <a:pt x="1167456" y="2377799"/>
                </a:lnTo>
                <a:lnTo>
                  <a:pt x="1181752" y="2353973"/>
                </a:lnTo>
                <a:lnTo>
                  <a:pt x="1224638" y="2287261"/>
                </a:lnTo>
                <a:lnTo>
                  <a:pt x="1234168" y="2249140"/>
                </a:lnTo>
                <a:lnTo>
                  <a:pt x="1253228" y="2230079"/>
                </a:lnTo>
                <a:lnTo>
                  <a:pt x="1281820" y="2234845"/>
                </a:lnTo>
                <a:lnTo>
                  <a:pt x="1286584" y="2225314"/>
                </a:lnTo>
                <a:lnTo>
                  <a:pt x="1277054" y="2201489"/>
                </a:lnTo>
                <a:lnTo>
                  <a:pt x="1248464" y="2182428"/>
                </a:lnTo>
                <a:lnTo>
                  <a:pt x="1248464" y="2172898"/>
                </a:lnTo>
                <a:lnTo>
                  <a:pt x="1343766" y="2139542"/>
                </a:lnTo>
                <a:lnTo>
                  <a:pt x="1386652" y="2139542"/>
                </a:lnTo>
                <a:lnTo>
                  <a:pt x="1400948" y="2125247"/>
                </a:lnTo>
                <a:lnTo>
                  <a:pt x="1424774" y="2115717"/>
                </a:lnTo>
                <a:lnTo>
                  <a:pt x="1443834" y="2096656"/>
                </a:lnTo>
                <a:lnTo>
                  <a:pt x="1434304" y="2087126"/>
                </a:lnTo>
                <a:lnTo>
                  <a:pt x="1386652" y="2106186"/>
                </a:lnTo>
                <a:lnTo>
                  <a:pt x="1362828" y="2115717"/>
                </a:lnTo>
                <a:lnTo>
                  <a:pt x="1348532" y="2110951"/>
                </a:lnTo>
                <a:lnTo>
                  <a:pt x="1339002" y="2120482"/>
                </a:lnTo>
                <a:lnTo>
                  <a:pt x="1300880" y="2120482"/>
                </a:lnTo>
                <a:lnTo>
                  <a:pt x="1291350" y="2044239"/>
                </a:lnTo>
                <a:lnTo>
                  <a:pt x="1300880" y="2001353"/>
                </a:lnTo>
                <a:lnTo>
                  <a:pt x="1310410" y="2001353"/>
                </a:lnTo>
                <a:lnTo>
                  <a:pt x="1315176" y="1963232"/>
                </a:lnTo>
                <a:lnTo>
                  <a:pt x="1329472" y="1939407"/>
                </a:lnTo>
                <a:lnTo>
                  <a:pt x="1353296" y="1929877"/>
                </a:lnTo>
                <a:lnTo>
                  <a:pt x="1362828" y="1920346"/>
                </a:lnTo>
                <a:lnTo>
                  <a:pt x="1381888" y="1901286"/>
                </a:lnTo>
                <a:lnTo>
                  <a:pt x="1405714" y="1906051"/>
                </a:lnTo>
                <a:lnTo>
                  <a:pt x="1434304" y="1901286"/>
                </a:lnTo>
                <a:lnTo>
                  <a:pt x="1424774" y="1891755"/>
                </a:lnTo>
                <a:lnTo>
                  <a:pt x="1391418" y="1877460"/>
                </a:lnTo>
                <a:lnTo>
                  <a:pt x="1386652" y="1858400"/>
                </a:lnTo>
                <a:lnTo>
                  <a:pt x="1396182" y="1844104"/>
                </a:lnTo>
                <a:lnTo>
                  <a:pt x="1410478" y="1834574"/>
                </a:lnTo>
                <a:lnTo>
                  <a:pt x="1420008" y="1834574"/>
                </a:lnTo>
                <a:lnTo>
                  <a:pt x="1443834" y="1791688"/>
                </a:lnTo>
                <a:lnTo>
                  <a:pt x="1458130" y="1772627"/>
                </a:lnTo>
                <a:lnTo>
                  <a:pt x="1472424" y="1772627"/>
                </a:lnTo>
                <a:lnTo>
                  <a:pt x="1491486" y="1753567"/>
                </a:lnTo>
                <a:lnTo>
                  <a:pt x="1510546" y="1763097"/>
                </a:lnTo>
                <a:lnTo>
                  <a:pt x="1534372" y="1748802"/>
                </a:lnTo>
                <a:lnTo>
                  <a:pt x="1558198" y="1739271"/>
                </a:lnTo>
                <a:lnTo>
                  <a:pt x="1658264" y="1739271"/>
                </a:lnTo>
                <a:lnTo>
                  <a:pt x="1663030" y="1720211"/>
                </a:lnTo>
                <a:lnTo>
                  <a:pt x="1643970" y="1715446"/>
                </a:lnTo>
                <a:lnTo>
                  <a:pt x="1567728" y="1710681"/>
                </a:lnTo>
                <a:lnTo>
                  <a:pt x="1529606" y="1710681"/>
                </a:lnTo>
                <a:lnTo>
                  <a:pt x="1515312" y="1715446"/>
                </a:lnTo>
                <a:lnTo>
                  <a:pt x="1505780" y="1710681"/>
                </a:lnTo>
                <a:lnTo>
                  <a:pt x="1510546" y="1701150"/>
                </a:lnTo>
                <a:lnTo>
                  <a:pt x="1524842" y="1682090"/>
                </a:lnTo>
                <a:lnTo>
                  <a:pt x="1529606" y="1663029"/>
                </a:lnTo>
                <a:lnTo>
                  <a:pt x="1558198" y="1615378"/>
                </a:lnTo>
                <a:lnTo>
                  <a:pt x="1591554" y="1586787"/>
                </a:lnTo>
                <a:lnTo>
                  <a:pt x="1615378" y="1596318"/>
                </a:lnTo>
                <a:lnTo>
                  <a:pt x="1639204" y="1624908"/>
                </a:lnTo>
                <a:lnTo>
                  <a:pt x="1658264" y="1629673"/>
                </a:lnTo>
                <a:lnTo>
                  <a:pt x="1667796" y="1639204"/>
                </a:lnTo>
                <a:lnTo>
                  <a:pt x="1682090" y="1677325"/>
                </a:lnTo>
                <a:lnTo>
                  <a:pt x="1686856" y="1677325"/>
                </a:lnTo>
                <a:lnTo>
                  <a:pt x="1686856" y="1639204"/>
                </a:lnTo>
                <a:lnTo>
                  <a:pt x="1701152" y="1605848"/>
                </a:lnTo>
                <a:lnTo>
                  <a:pt x="1696386" y="1601083"/>
                </a:lnTo>
                <a:lnTo>
                  <a:pt x="1672560" y="1610613"/>
                </a:lnTo>
                <a:lnTo>
                  <a:pt x="1648734" y="1601083"/>
                </a:lnTo>
                <a:lnTo>
                  <a:pt x="1634440" y="1577257"/>
                </a:lnTo>
                <a:lnTo>
                  <a:pt x="1629674" y="1553431"/>
                </a:lnTo>
                <a:lnTo>
                  <a:pt x="1639204" y="1534371"/>
                </a:lnTo>
                <a:lnTo>
                  <a:pt x="1648734" y="1520076"/>
                </a:lnTo>
                <a:lnTo>
                  <a:pt x="1643970" y="1505780"/>
                </a:lnTo>
                <a:lnTo>
                  <a:pt x="1601084" y="1543901"/>
                </a:lnTo>
                <a:lnTo>
                  <a:pt x="1572492" y="1548666"/>
                </a:lnTo>
                <a:lnTo>
                  <a:pt x="1562962" y="1543901"/>
                </a:lnTo>
                <a:lnTo>
                  <a:pt x="1567728" y="1515311"/>
                </a:lnTo>
                <a:lnTo>
                  <a:pt x="1562962" y="1491485"/>
                </a:lnTo>
                <a:lnTo>
                  <a:pt x="1601084" y="1429538"/>
                </a:lnTo>
                <a:lnTo>
                  <a:pt x="1615378" y="1420008"/>
                </a:lnTo>
                <a:lnTo>
                  <a:pt x="1639204" y="1424773"/>
                </a:lnTo>
                <a:lnTo>
                  <a:pt x="1658264" y="1443834"/>
                </a:lnTo>
                <a:lnTo>
                  <a:pt x="1672560" y="1443834"/>
                </a:lnTo>
                <a:lnTo>
                  <a:pt x="1691620" y="1434303"/>
                </a:lnTo>
                <a:lnTo>
                  <a:pt x="1691620" y="1415243"/>
                </a:lnTo>
                <a:lnTo>
                  <a:pt x="1648734" y="1410478"/>
                </a:lnTo>
                <a:lnTo>
                  <a:pt x="1639204" y="1396182"/>
                </a:lnTo>
                <a:lnTo>
                  <a:pt x="1643970" y="1381887"/>
                </a:lnTo>
                <a:lnTo>
                  <a:pt x="1672560" y="1367592"/>
                </a:lnTo>
                <a:lnTo>
                  <a:pt x="1696386" y="1343766"/>
                </a:lnTo>
                <a:lnTo>
                  <a:pt x="1729742" y="1334236"/>
                </a:lnTo>
                <a:lnTo>
                  <a:pt x="1753568" y="1315175"/>
                </a:lnTo>
                <a:lnTo>
                  <a:pt x="1758332" y="1319940"/>
                </a:lnTo>
                <a:lnTo>
                  <a:pt x="1763098" y="1329471"/>
                </a:lnTo>
                <a:lnTo>
                  <a:pt x="1772628" y="1400947"/>
                </a:lnTo>
                <a:lnTo>
                  <a:pt x="1791688" y="1458129"/>
                </a:lnTo>
                <a:lnTo>
                  <a:pt x="1801218" y="1458129"/>
                </a:lnTo>
                <a:lnTo>
                  <a:pt x="1791688" y="1410478"/>
                </a:lnTo>
                <a:lnTo>
                  <a:pt x="1801218" y="1396182"/>
                </a:lnTo>
                <a:lnTo>
                  <a:pt x="1810748" y="1386652"/>
                </a:lnTo>
                <a:lnTo>
                  <a:pt x="1810748" y="1372357"/>
                </a:lnTo>
                <a:lnTo>
                  <a:pt x="1801218" y="1367592"/>
                </a:lnTo>
                <a:lnTo>
                  <a:pt x="1791688" y="1348531"/>
                </a:lnTo>
                <a:lnTo>
                  <a:pt x="1777394" y="1291349"/>
                </a:lnTo>
                <a:lnTo>
                  <a:pt x="1782158" y="1277054"/>
                </a:lnTo>
                <a:lnTo>
                  <a:pt x="1810748" y="1248463"/>
                </a:lnTo>
                <a:lnTo>
                  <a:pt x="1848870" y="1238933"/>
                </a:lnTo>
                <a:lnTo>
                  <a:pt x="1886992" y="1262759"/>
                </a:lnTo>
                <a:lnTo>
                  <a:pt x="1901286" y="1262759"/>
                </a:lnTo>
                <a:lnTo>
                  <a:pt x="1920346" y="1257994"/>
                </a:lnTo>
                <a:lnTo>
                  <a:pt x="1958468" y="1238933"/>
                </a:lnTo>
                <a:lnTo>
                  <a:pt x="1982294" y="1229403"/>
                </a:lnTo>
                <a:lnTo>
                  <a:pt x="1991824" y="1229403"/>
                </a:lnTo>
                <a:lnTo>
                  <a:pt x="1996588" y="1224638"/>
                </a:lnTo>
                <a:lnTo>
                  <a:pt x="1987058" y="1215107"/>
                </a:lnTo>
                <a:lnTo>
                  <a:pt x="1982294" y="1210342"/>
                </a:lnTo>
                <a:lnTo>
                  <a:pt x="1972764" y="1205577"/>
                </a:lnTo>
                <a:lnTo>
                  <a:pt x="1939408" y="1215107"/>
                </a:lnTo>
                <a:lnTo>
                  <a:pt x="1844104" y="1215107"/>
                </a:lnTo>
                <a:lnTo>
                  <a:pt x="1834574" y="1205577"/>
                </a:lnTo>
                <a:lnTo>
                  <a:pt x="1829810" y="1186517"/>
                </a:lnTo>
                <a:lnTo>
                  <a:pt x="1839340" y="1162691"/>
                </a:lnTo>
                <a:lnTo>
                  <a:pt x="1853636" y="1148396"/>
                </a:lnTo>
                <a:lnTo>
                  <a:pt x="1891756" y="1119805"/>
                </a:lnTo>
                <a:lnTo>
                  <a:pt x="1929878" y="1115040"/>
                </a:lnTo>
                <a:lnTo>
                  <a:pt x="1967998" y="1072154"/>
                </a:lnTo>
                <a:lnTo>
                  <a:pt x="1982294" y="1038798"/>
                </a:lnTo>
                <a:lnTo>
                  <a:pt x="1991824" y="981616"/>
                </a:lnTo>
                <a:lnTo>
                  <a:pt x="2015650" y="938730"/>
                </a:lnTo>
                <a:lnTo>
                  <a:pt x="2077596" y="914905"/>
                </a:lnTo>
                <a:lnTo>
                  <a:pt x="2082362" y="905374"/>
                </a:lnTo>
                <a:lnTo>
                  <a:pt x="2072832" y="881549"/>
                </a:lnTo>
                <a:lnTo>
                  <a:pt x="2077596" y="843428"/>
                </a:lnTo>
                <a:lnTo>
                  <a:pt x="2091892" y="795776"/>
                </a:lnTo>
                <a:lnTo>
                  <a:pt x="2106186" y="776716"/>
                </a:lnTo>
                <a:lnTo>
                  <a:pt x="2110952" y="776716"/>
                </a:lnTo>
                <a:lnTo>
                  <a:pt x="2125248" y="791011"/>
                </a:lnTo>
                <a:lnTo>
                  <a:pt x="2139542" y="824367"/>
                </a:lnTo>
                <a:lnTo>
                  <a:pt x="2163368" y="843428"/>
                </a:lnTo>
                <a:lnTo>
                  <a:pt x="2196724" y="848193"/>
                </a:lnTo>
                <a:lnTo>
                  <a:pt x="2206254" y="838663"/>
                </a:lnTo>
                <a:lnTo>
                  <a:pt x="2182428" y="819602"/>
                </a:lnTo>
                <a:lnTo>
                  <a:pt x="2163368" y="795776"/>
                </a:lnTo>
                <a:lnTo>
                  <a:pt x="2158604" y="767186"/>
                </a:lnTo>
                <a:lnTo>
                  <a:pt x="2168134" y="752890"/>
                </a:lnTo>
                <a:lnTo>
                  <a:pt x="2182428" y="757655"/>
                </a:lnTo>
                <a:lnTo>
                  <a:pt x="2201490" y="752890"/>
                </a:lnTo>
                <a:lnTo>
                  <a:pt x="2220550" y="738595"/>
                </a:lnTo>
                <a:lnTo>
                  <a:pt x="2220550" y="724299"/>
                </a:lnTo>
                <a:lnTo>
                  <a:pt x="2220550" y="710004"/>
                </a:lnTo>
                <a:lnTo>
                  <a:pt x="2225316" y="690944"/>
                </a:lnTo>
                <a:lnTo>
                  <a:pt x="2249140" y="652823"/>
                </a:lnTo>
                <a:lnTo>
                  <a:pt x="2325382" y="628997"/>
                </a:lnTo>
                <a:lnTo>
                  <a:pt x="2334912" y="638527"/>
                </a:lnTo>
                <a:lnTo>
                  <a:pt x="2330148" y="714769"/>
                </a:lnTo>
                <a:lnTo>
                  <a:pt x="2320618" y="762421"/>
                </a:lnTo>
                <a:lnTo>
                  <a:pt x="2320618" y="795776"/>
                </a:lnTo>
                <a:lnTo>
                  <a:pt x="2334912" y="762421"/>
                </a:lnTo>
                <a:lnTo>
                  <a:pt x="2353974" y="662353"/>
                </a:lnTo>
                <a:lnTo>
                  <a:pt x="2368268" y="619467"/>
                </a:lnTo>
                <a:lnTo>
                  <a:pt x="2387330" y="590876"/>
                </a:lnTo>
                <a:lnTo>
                  <a:pt x="2396860" y="586111"/>
                </a:lnTo>
                <a:lnTo>
                  <a:pt x="2411156" y="571815"/>
                </a:lnTo>
                <a:lnTo>
                  <a:pt x="2425450" y="562285"/>
                </a:lnTo>
                <a:lnTo>
                  <a:pt x="2430216" y="576581"/>
                </a:lnTo>
                <a:lnTo>
                  <a:pt x="2434980" y="600406"/>
                </a:lnTo>
                <a:lnTo>
                  <a:pt x="2425450" y="686179"/>
                </a:lnTo>
                <a:lnTo>
                  <a:pt x="2430216" y="710004"/>
                </a:lnTo>
                <a:lnTo>
                  <a:pt x="2420686" y="748125"/>
                </a:lnTo>
                <a:lnTo>
                  <a:pt x="2382564" y="829132"/>
                </a:lnTo>
                <a:lnTo>
                  <a:pt x="2382564" y="838663"/>
                </a:lnTo>
                <a:lnTo>
                  <a:pt x="2392094" y="833897"/>
                </a:lnTo>
                <a:lnTo>
                  <a:pt x="2406390" y="819602"/>
                </a:lnTo>
                <a:lnTo>
                  <a:pt x="2454042" y="743360"/>
                </a:lnTo>
                <a:lnTo>
                  <a:pt x="2492162" y="752890"/>
                </a:lnTo>
                <a:lnTo>
                  <a:pt x="2492162" y="748125"/>
                </a:lnTo>
                <a:lnTo>
                  <a:pt x="2477866" y="729065"/>
                </a:lnTo>
                <a:lnTo>
                  <a:pt x="2463572" y="705239"/>
                </a:lnTo>
                <a:lnTo>
                  <a:pt x="2458806" y="676648"/>
                </a:lnTo>
                <a:lnTo>
                  <a:pt x="2463572" y="605171"/>
                </a:lnTo>
                <a:lnTo>
                  <a:pt x="2473102" y="576581"/>
                </a:lnTo>
                <a:lnTo>
                  <a:pt x="2506458" y="581346"/>
                </a:lnTo>
                <a:lnTo>
                  <a:pt x="2530284" y="576581"/>
                </a:lnTo>
                <a:lnTo>
                  <a:pt x="2535048" y="590876"/>
                </a:lnTo>
                <a:lnTo>
                  <a:pt x="2558874" y="590876"/>
                </a:lnTo>
                <a:lnTo>
                  <a:pt x="2573170" y="538460"/>
                </a:lnTo>
                <a:lnTo>
                  <a:pt x="2601760" y="533694"/>
                </a:lnTo>
                <a:lnTo>
                  <a:pt x="2625586" y="567050"/>
                </a:lnTo>
                <a:lnTo>
                  <a:pt x="2654176" y="590876"/>
                </a:lnTo>
                <a:lnTo>
                  <a:pt x="2678002" y="624232"/>
                </a:lnTo>
                <a:lnTo>
                  <a:pt x="2682768" y="614702"/>
                </a:lnTo>
                <a:lnTo>
                  <a:pt x="2673236" y="538460"/>
                </a:lnTo>
                <a:lnTo>
                  <a:pt x="2658942" y="509869"/>
                </a:lnTo>
                <a:lnTo>
                  <a:pt x="2625586" y="495573"/>
                </a:lnTo>
                <a:lnTo>
                  <a:pt x="2596996" y="457452"/>
                </a:lnTo>
                <a:lnTo>
                  <a:pt x="2587464" y="443157"/>
                </a:lnTo>
                <a:lnTo>
                  <a:pt x="2587464" y="428862"/>
                </a:lnTo>
                <a:lnTo>
                  <a:pt x="2616056" y="419331"/>
                </a:lnTo>
                <a:lnTo>
                  <a:pt x="2654176" y="433627"/>
                </a:lnTo>
                <a:lnTo>
                  <a:pt x="2687532" y="405036"/>
                </a:lnTo>
                <a:lnTo>
                  <a:pt x="2697062" y="409801"/>
                </a:lnTo>
                <a:lnTo>
                  <a:pt x="2720888" y="395506"/>
                </a:lnTo>
                <a:lnTo>
                  <a:pt x="2739948" y="419331"/>
                </a:lnTo>
                <a:lnTo>
                  <a:pt x="2749480" y="409801"/>
                </a:lnTo>
                <a:lnTo>
                  <a:pt x="2754244" y="381210"/>
                </a:lnTo>
                <a:lnTo>
                  <a:pt x="2797130" y="366915"/>
                </a:lnTo>
                <a:lnTo>
                  <a:pt x="2820956" y="381210"/>
                </a:lnTo>
                <a:lnTo>
                  <a:pt x="2835252" y="400271"/>
                </a:lnTo>
                <a:lnTo>
                  <a:pt x="2840016" y="428862"/>
                </a:lnTo>
                <a:lnTo>
                  <a:pt x="2849546" y="490808"/>
                </a:lnTo>
                <a:lnTo>
                  <a:pt x="2873372" y="524164"/>
                </a:lnTo>
                <a:lnTo>
                  <a:pt x="2882902" y="543225"/>
                </a:lnTo>
                <a:lnTo>
                  <a:pt x="2897198" y="547990"/>
                </a:lnTo>
                <a:lnTo>
                  <a:pt x="2906728" y="528929"/>
                </a:lnTo>
                <a:lnTo>
                  <a:pt x="2892432" y="509869"/>
                </a:lnTo>
                <a:lnTo>
                  <a:pt x="2887668" y="490808"/>
                </a:lnTo>
                <a:lnTo>
                  <a:pt x="2897198" y="443157"/>
                </a:lnTo>
                <a:lnTo>
                  <a:pt x="2901964" y="424097"/>
                </a:lnTo>
                <a:lnTo>
                  <a:pt x="2949614" y="352620"/>
                </a:lnTo>
                <a:lnTo>
                  <a:pt x="2982970" y="319264"/>
                </a:lnTo>
                <a:lnTo>
                  <a:pt x="3006796" y="314499"/>
                </a:lnTo>
                <a:lnTo>
                  <a:pt x="3044916" y="233491"/>
                </a:lnTo>
                <a:lnTo>
                  <a:pt x="3054448" y="214431"/>
                </a:lnTo>
                <a:lnTo>
                  <a:pt x="3068742" y="214431"/>
                </a:lnTo>
                <a:lnTo>
                  <a:pt x="3063978" y="190605"/>
                </a:lnTo>
                <a:lnTo>
                  <a:pt x="3044916" y="181075"/>
                </a:lnTo>
                <a:lnTo>
                  <a:pt x="3040152" y="152484"/>
                </a:lnTo>
                <a:lnTo>
                  <a:pt x="3068742" y="123894"/>
                </a:lnTo>
                <a:lnTo>
                  <a:pt x="3102098" y="71477"/>
                </a:lnTo>
                <a:lnTo>
                  <a:pt x="3121160" y="66712"/>
                </a:lnTo>
                <a:lnTo>
                  <a:pt x="3130690" y="81007"/>
                </a:lnTo>
                <a:lnTo>
                  <a:pt x="3164046" y="104833"/>
                </a:lnTo>
                <a:lnTo>
                  <a:pt x="3183106" y="133424"/>
                </a:lnTo>
                <a:lnTo>
                  <a:pt x="3197402" y="147719"/>
                </a:lnTo>
                <a:lnTo>
                  <a:pt x="3206932" y="142954"/>
                </a:lnTo>
                <a:lnTo>
                  <a:pt x="3216462" y="123894"/>
                </a:lnTo>
                <a:lnTo>
                  <a:pt x="3225992" y="114363"/>
                </a:lnTo>
                <a:lnTo>
                  <a:pt x="3245052" y="119128"/>
                </a:lnTo>
                <a:lnTo>
                  <a:pt x="3259348" y="133424"/>
                </a:lnTo>
                <a:lnTo>
                  <a:pt x="3268878" y="133424"/>
                </a:lnTo>
                <a:lnTo>
                  <a:pt x="3278408" y="142954"/>
                </a:lnTo>
                <a:lnTo>
                  <a:pt x="3278408" y="157249"/>
                </a:lnTo>
                <a:lnTo>
                  <a:pt x="3259348" y="176310"/>
                </a:lnTo>
                <a:lnTo>
                  <a:pt x="3230756" y="228726"/>
                </a:lnTo>
                <a:lnTo>
                  <a:pt x="3202166" y="281143"/>
                </a:lnTo>
                <a:lnTo>
                  <a:pt x="3187872" y="314499"/>
                </a:lnTo>
                <a:lnTo>
                  <a:pt x="3178340" y="390741"/>
                </a:lnTo>
                <a:lnTo>
                  <a:pt x="3154516" y="438392"/>
                </a:lnTo>
                <a:lnTo>
                  <a:pt x="3154516" y="471748"/>
                </a:lnTo>
                <a:lnTo>
                  <a:pt x="3164046" y="490808"/>
                </a:lnTo>
                <a:lnTo>
                  <a:pt x="3187872" y="476513"/>
                </a:lnTo>
                <a:lnTo>
                  <a:pt x="3221226" y="428862"/>
                </a:lnTo>
                <a:lnTo>
                  <a:pt x="3230756" y="381210"/>
                </a:lnTo>
                <a:lnTo>
                  <a:pt x="3311764" y="247787"/>
                </a:lnTo>
                <a:lnTo>
                  <a:pt x="3349886" y="176310"/>
                </a:lnTo>
                <a:lnTo>
                  <a:pt x="3392772" y="114363"/>
                </a:lnTo>
                <a:lnTo>
                  <a:pt x="3416596" y="100068"/>
                </a:lnTo>
                <a:lnTo>
                  <a:pt x="3426128" y="142954"/>
                </a:lnTo>
                <a:lnTo>
                  <a:pt x="3416596" y="195370"/>
                </a:lnTo>
                <a:lnTo>
                  <a:pt x="3402302" y="228726"/>
                </a:lnTo>
                <a:lnTo>
                  <a:pt x="3411832" y="243022"/>
                </a:lnTo>
                <a:lnTo>
                  <a:pt x="3411832" y="285908"/>
                </a:lnTo>
                <a:lnTo>
                  <a:pt x="3407066" y="304968"/>
                </a:lnTo>
                <a:lnTo>
                  <a:pt x="3402302" y="328794"/>
                </a:lnTo>
                <a:lnTo>
                  <a:pt x="3402302" y="347854"/>
                </a:lnTo>
                <a:lnTo>
                  <a:pt x="3416596" y="343089"/>
                </a:lnTo>
                <a:lnTo>
                  <a:pt x="3469014" y="300203"/>
                </a:lnTo>
                <a:lnTo>
                  <a:pt x="3478544" y="257317"/>
                </a:lnTo>
                <a:lnTo>
                  <a:pt x="3492840" y="223961"/>
                </a:lnTo>
                <a:lnTo>
                  <a:pt x="3497604" y="190605"/>
                </a:lnTo>
                <a:lnTo>
                  <a:pt x="3516664" y="166780"/>
                </a:lnTo>
                <a:lnTo>
                  <a:pt x="3554786" y="162015"/>
                </a:lnTo>
                <a:lnTo>
                  <a:pt x="3554786" y="152484"/>
                </a:lnTo>
                <a:lnTo>
                  <a:pt x="3511900" y="114363"/>
                </a:lnTo>
                <a:lnTo>
                  <a:pt x="3507134" y="95303"/>
                </a:lnTo>
                <a:lnTo>
                  <a:pt x="3521430" y="71477"/>
                </a:lnTo>
                <a:close/>
                <a:moveTo>
                  <a:pt x="3249816" y="0"/>
                </a:moveTo>
                <a:lnTo>
                  <a:pt x="3287938" y="19060"/>
                </a:lnTo>
                <a:lnTo>
                  <a:pt x="3302234" y="19060"/>
                </a:lnTo>
                <a:lnTo>
                  <a:pt x="3326058" y="52416"/>
                </a:lnTo>
                <a:lnTo>
                  <a:pt x="3335588" y="52416"/>
                </a:lnTo>
                <a:lnTo>
                  <a:pt x="3335588" y="71477"/>
                </a:lnTo>
                <a:lnTo>
                  <a:pt x="3311764" y="81007"/>
                </a:lnTo>
                <a:lnTo>
                  <a:pt x="3278408" y="90537"/>
                </a:lnTo>
                <a:lnTo>
                  <a:pt x="3273642" y="90537"/>
                </a:lnTo>
                <a:lnTo>
                  <a:pt x="3249816" y="90537"/>
                </a:lnTo>
                <a:lnTo>
                  <a:pt x="3230756" y="61946"/>
                </a:lnTo>
                <a:lnTo>
                  <a:pt x="3206932" y="52416"/>
                </a:lnTo>
                <a:lnTo>
                  <a:pt x="3206932" y="47651"/>
                </a:lnTo>
                <a:lnTo>
                  <a:pt x="3221226" y="23826"/>
                </a:lnTo>
                <a:close/>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48" name="CustomShape 73"/>
          <p:cNvSpPr/>
          <p:nvPr/>
        </p:nvSpPr>
        <p:spPr>
          <a:xfrm>
            <a:off x="3582000" y="4246200"/>
            <a:ext cx="658440" cy="624240"/>
          </a:xfrm>
          <a:custGeom>
            <a:avLst/>
            <a:gdLst/>
            <a:ahLst/>
            <a:cxnLst/>
            <a:rect l="l" t="t" r="r" b="b"/>
            <a:pathLst>
              <a:path w="654" h="620">
                <a:moveTo>
                  <a:pt x="360" y="42"/>
                </a:moveTo>
                <a:lnTo>
                  <a:pt x="356" y="46"/>
                </a:lnTo>
                <a:lnTo>
                  <a:pt x="346" y="50"/>
                </a:lnTo>
                <a:lnTo>
                  <a:pt x="318" y="54"/>
                </a:lnTo>
                <a:lnTo>
                  <a:pt x="308" y="52"/>
                </a:lnTo>
                <a:lnTo>
                  <a:pt x="298" y="46"/>
                </a:lnTo>
                <a:lnTo>
                  <a:pt x="292" y="36"/>
                </a:lnTo>
                <a:lnTo>
                  <a:pt x="282" y="10"/>
                </a:lnTo>
                <a:lnTo>
                  <a:pt x="288" y="10"/>
                </a:lnTo>
                <a:lnTo>
                  <a:pt x="298" y="20"/>
                </a:lnTo>
                <a:lnTo>
                  <a:pt x="306" y="22"/>
                </a:lnTo>
                <a:lnTo>
                  <a:pt x="304" y="16"/>
                </a:lnTo>
                <a:lnTo>
                  <a:pt x="290" y="8"/>
                </a:lnTo>
                <a:lnTo>
                  <a:pt x="276" y="0"/>
                </a:lnTo>
                <a:lnTo>
                  <a:pt x="260" y="0"/>
                </a:lnTo>
                <a:lnTo>
                  <a:pt x="244" y="2"/>
                </a:lnTo>
                <a:lnTo>
                  <a:pt x="206" y="12"/>
                </a:lnTo>
                <a:lnTo>
                  <a:pt x="190" y="20"/>
                </a:lnTo>
                <a:lnTo>
                  <a:pt x="182" y="26"/>
                </a:lnTo>
                <a:lnTo>
                  <a:pt x="160" y="32"/>
                </a:lnTo>
                <a:lnTo>
                  <a:pt x="148" y="44"/>
                </a:lnTo>
                <a:lnTo>
                  <a:pt x="142" y="54"/>
                </a:lnTo>
                <a:lnTo>
                  <a:pt x="138" y="56"/>
                </a:lnTo>
                <a:lnTo>
                  <a:pt x="136" y="62"/>
                </a:lnTo>
                <a:lnTo>
                  <a:pt x="126" y="64"/>
                </a:lnTo>
                <a:lnTo>
                  <a:pt x="116" y="66"/>
                </a:lnTo>
                <a:lnTo>
                  <a:pt x="76" y="78"/>
                </a:lnTo>
                <a:lnTo>
                  <a:pt x="38" y="92"/>
                </a:lnTo>
                <a:lnTo>
                  <a:pt x="18" y="102"/>
                </a:lnTo>
                <a:lnTo>
                  <a:pt x="8" y="102"/>
                </a:lnTo>
                <a:lnTo>
                  <a:pt x="6" y="100"/>
                </a:lnTo>
                <a:lnTo>
                  <a:pt x="4" y="104"/>
                </a:lnTo>
                <a:lnTo>
                  <a:pt x="6" y="108"/>
                </a:lnTo>
                <a:lnTo>
                  <a:pt x="16" y="110"/>
                </a:lnTo>
                <a:lnTo>
                  <a:pt x="28" y="114"/>
                </a:lnTo>
                <a:lnTo>
                  <a:pt x="28" y="122"/>
                </a:lnTo>
                <a:lnTo>
                  <a:pt x="28" y="126"/>
                </a:lnTo>
                <a:lnTo>
                  <a:pt x="30" y="130"/>
                </a:lnTo>
                <a:lnTo>
                  <a:pt x="30" y="134"/>
                </a:lnTo>
                <a:lnTo>
                  <a:pt x="24" y="130"/>
                </a:lnTo>
                <a:lnTo>
                  <a:pt x="8" y="124"/>
                </a:lnTo>
                <a:lnTo>
                  <a:pt x="10" y="126"/>
                </a:lnTo>
                <a:lnTo>
                  <a:pt x="10" y="136"/>
                </a:lnTo>
                <a:lnTo>
                  <a:pt x="12" y="144"/>
                </a:lnTo>
                <a:lnTo>
                  <a:pt x="20" y="174"/>
                </a:lnTo>
                <a:lnTo>
                  <a:pt x="18" y="180"/>
                </a:lnTo>
                <a:lnTo>
                  <a:pt x="18" y="182"/>
                </a:lnTo>
                <a:lnTo>
                  <a:pt x="16" y="192"/>
                </a:lnTo>
                <a:lnTo>
                  <a:pt x="12" y="202"/>
                </a:lnTo>
                <a:lnTo>
                  <a:pt x="4" y="206"/>
                </a:lnTo>
                <a:lnTo>
                  <a:pt x="2" y="212"/>
                </a:lnTo>
                <a:lnTo>
                  <a:pt x="0" y="218"/>
                </a:lnTo>
                <a:lnTo>
                  <a:pt x="8" y="228"/>
                </a:lnTo>
                <a:lnTo>
                  <a:pt x="26" y="242"/>
                </a:lnTo>
                <a:lnTo>
                  <a:pt x="32" y="256"/>
                </a:lnTo>
                <a:lnTo>
                  <a:pt x="30" y="266"/>
                </a:lnTo>
                <a:lnTo>
                  <a:pt x="28" y="274"/>
                </a:lnTo>
                <a:lnTo>
                  <a:pt x="30" y="278"/>
                </a:lnTo>
                <a:lnTo>
                  <a:pt x="32" y="282"/>
                </a:lnTo>
                <a:lnTo>
                  <a:pt x="36" y="286"/>
                </a:lnTo>
                <a:lnTo>
                  <a:pt x="38" y="290"/>
                </a:lnTo>
                <a:lnTo>
                  <a:pt x="38" y="296"/>
                </a:lnTo>
                <a:lnTo>
                  <a:pt x="38" y="300"/>
                </a:lnTo>
                <a:lnTo>
                  <a:pt x="42" y="304"/>
                </a:lnTo>
                <a:lnTo>
                  <a:pt x="42" y="304"/>
                </a:lnTo>
                <a:lnTo>
                  <a:pt x="40" y="308"/>
                </a:lnTo>
                <a:lnTo>
                  <a:pt x="38" y="316"/>
                </a:lnTo>
                <a:lnTo>
                  <a:pt x="36" y="322"/>
                </a:lnTo>
                <a:lnTo>
                  <a:pt x="32" y="330"/>
                </a:lnTo>
                <a:lnTo>
                  <a:pt x="32" y="336"/>
                </a:lnTo>
                <a:lnTo>
                  <a:pt x="36" y="344"/>
                </a:lnTo>
                <a:lnTo>
                  <a:pt x="40" y="348"/>
                </a:lnTo>
                <a:lnTo>
                  <a:pt x="40" y="352"/>
                </a:lnTo>
                <a:lnTo>
                  <a:pt x="38" y="360"/>
                </a:lnTo>
                <a:lnTo>
                  <a:pt x="40" y="362"/>
                </a:lnTo>
                <a:lnTo>
                  <a:pt x="52" y="368"/>
                </a:lnTo>
                <a:lnTo>
                  <a:pt x="54" y="372"/>
                </a:lnTo>
                <a:lnTo>
                  <a:pt x="54" y="378"/>
                </a:lnTo>
                <a:lnTo>
                  <a:pt x="58" y="390"/>
                </a:lnTo>
                <a:lnTo>
                  <a:pt x="56" y="408"/>
                </a:lnTo>
                <a:lnTo>
                  <a:pt x="52" y="416"/>
                </a:lnTo>
                <a:lnTo>
                  <a:pt x="46" y="430"/>
                </a:lnTo>
                <a:lnTo>
                  <a:pt x="44" y="432"/>
                </a:lnTo>
                <a:lnTo>
                  <a:pt x="50" y="432"/>
                </a:lnTo>
                <a:lnTo>
                  <a:pt x="56" y="428"/>
                </a:lnTo>
                <a:lnTo>
                  <a:pt x="56" y="424"/>
                </a:lnTo>
                <a:lnTo>
                  <a:pt x="56" y="416"/>
                </a:lnTo>
                <a:lnTo>
                  <a:pt x="58" y="416"/>
                </a:lnTo>
                <a:lnTo>
                  <a:pt x="66" y="418"/>
                </a:lnTo>
                <a:lnTo>
                  <a:pt x="74" y="422"/>
                </a:lnTo>
                <a:lnTo>
                  <a:pt x="76" y="430"/>
                </a:lnTo>
                <a:lnTo>
                  <a:pt x="78" y="434"/>
                </a:lnTo>
                <a:lnTo>
                  <a:pt x="80" y="436"/>
                </a:lnTo>
                <a:lnTo>
                  <a:pt x="84" y="438"/>
                </a:lnTo>
                <a:lnTo>
                  <a:pt x="88" y="438"/>
                </a:lnTo>
                <a:lnTo>
                  <a:pt x="100" y="444"/>
                </a:lnTo>
                <a:lnTo>
                  <a:pt x="106" y="444"/>
                </a:lnTo>
                <a:lnTo>
                  <a:pt x="112" y="448"/>
                </a:lnTo>
                <a:lnTo>
                  <a:pt x="116" y="450"/>
                </a:lnTo>
                <a:lnTo>
                  <a:pt x="120" y="452"/>
                </a:lnTo>
                <a:lnTo>
                  <a:pt x="122" y="454"/>
                </a:lnTo>
                <a:lnTo>
                  <a:pt x="124" y="458"/>
                </a:lnTo>
                <a:lnTo>
                  <a:pt x="128" y="456"/>
                </a:lnTo>
                <a:lnTo>
                  <a:pt x="142" y="452"/>
                </a:lnTo>
                <a:lnTo>
                  <a:pt x="146" y="456"/>
                </a:lnTo>
                <a:lnTo>
                  <a:pt x="150" y="460"/>
                </a:lnTo>
                <a:lnTo>
                  <a:pt x="150" y="462"/>
                </a:lnTo>
                <a:lnTo>
                  <a:pt x="148" y="464"/>
                </a:lnTo>
                <a:lnTo>
                  <a:pt x="148" y="468"/>
                </a:lnTo>
                <a:lnTo>
                  <a:pt x="146" y="468"/>
                </a:lnTo>
                <a:lnTo>
                  <a:pt x="142" y="470"/>
                </a:lnTo>
                <a:lnTo>
                  <a:pt x="138" y="474"/>
                </a:lnTo>
                <a:lnTo>
                  <a:pt x="136" y="476"/>
                </a:lnTo>
                <a:lnTo>
                  <a:pt x="138" y="480"/>
                </a:lnTo>
                <a:lnTo>
                  <a:pt x="142" y="482"/>
                </a:lnTo>
                <a:lnTo>
                  <a:pt x="144" y="482"/>
                </a:lnTo>
                <a:lnTo>
                  <a:pt x="146" y="484"/>
                </a:lnTo>
                <a:lnTo>
                  <a:pt x="156" y="494"/>
                </a:lnTo>
                <a:lnTo>
                  <a:pt x="162" y="508"/>
                </a:lnTo>
                <a:lnTo>
                  <a:pt x="164" y="510"/>
                </a:lnTo>
                <a:lnTo>
                  <a:pt x="168" y="510"/>
                </a:lnTo>
                <a:lnTo>
                  <a:pt x="170" y="508"/>
                </a:lnTo>
                <a:lnTo>
                  <a:pt x="174" y="504"/>
                </a:lnTo>
                <a:lnTo>
                  <a:pt x="178" y="502"/>
                </a:lnTo>
                <a:lnTo>
                  <a:pt x="182" y="500"/>
                </a:lnTo>
                <a:lnTo>
                  <a:pt x="188" y="496"/>
                </a:lnTo>
                <a:lnTo>
                  <a:pt x="188" y="494"/>
                </a:lnTo>
                <a:lnTo>
                  <a:pt x="182" y="484"/>
                </a:lnTo>
                <a:lnTo>
                  <a:pt x="180" y="478"/>
                </a:lnTo>
                <a:lnTo>
                  <a:pt x="180" y="476"/>
                </a:lnTo>
                <a:lnTo>
                  <a:pt x="188" y="478"/>
                </a:lnTo>
                <a:lnTo>
                  <a:pt x="198" y="482"/>
                </a:lnTo>
                <a:lnTo>
                  <a:pt x="216" y="494"/>
                </a:lnTo>
                <a:lnTo>
                  <a:pt x="220" y="494"/>
                </a:lnTo>
                <a:lnTo>
                  <a:pt x="224" y="494"/>
                </a:lnTo>
                <a:lnTo>
                  <a:pt x="232" y="492"/>
                </a:lnTo>
                <a:lnTo>
                  <a:pt x="234" y="488"/>
                </a:lnTo>
                <a:lnTo>
                  <a:pt x="236" y="490"/>
                </a:lnTo>
                <a:lnTo>
                  <a:pt x="236" y="496"/>
                </a:lnTo>
                <a:lnTo>
                  <a:pt x="236" y="500"/>
                </a:lnTo>
                <a:lnTo>
                  <a:pt x="228" y="504"/>
                </a:lnTo>
                <a:lnTo>
                  <a:pt x="228" y="506"/>
                </a:lnTo>
                <a:lnTo>
                  <a:pt x="230" y="508"/>
                </a:lnTo>
                <a:lnTo>
                  <a:pt x="234" y="510"/>
                </a:lnTo>
                <a:lnTo>
                  <a:pt x="238" y="514"/>
                </a:lnTo>
                <a:lnTo>
                  <a:pt x="240" y="520"/>
                </a:lnTo>
                <a:lnTo>
                  <a:pt x="242" y="522"/>
                </a:lnTo>
                <a:lnTo>
                  <a:pt x="246" y="524"/>
                </a:lnTo>
                <a:lnTo>
                  <a:pt x="254" y="520"/>
                </a:lnTo>
                <a:lnTo>
                  <a:pt x="256" y="518"/>
                </a:lnTo>
                <a:lnTo>
                  <a:pt x="256" y="516"/>
                </a:lnTo>
                <a:lnTo>
                  <a:pt x="258" y="518"/>
                </a:lnTo>
                <a:lnTo>
                  <a:pt x="260" y="520"/>
                </a:lnTo>
                <a:lnTo>
                  <a:pt x="260" y="520"/>
                </a:lnTo>
                <a:lnTo>
                  <a:pt x="268" y="524"/>
                </a:lnTo>
                <a:lnTo>
                  <a:pt x="272" y="528"/>
                </a:lnTo>
                <a:lnTo>
                  <a:pt x="274" y="528"/>
                </a:lnTo>
                <a:lnTo>
                  <a:pt x="276" y="528"/>
                </a:lnTo>
                <a:lnTo>
                  <a:pt x="288" y="530"/>
                </a:lnTo>
                <a:lnTo>
                  <a:pt x="290" y="532"/>
                </a:lnTo>
                <a:lnTo>
                  <a:pt x="292" y="536"/>
                </a:lnTo>
                <a:lnTo>
                  <a:pt x="292" y="538"/>
                </a:lnTo>
                <a:lnTo>
                  <a:pt x="292" y="544"/>
                </a:lnTo>
                <a:lnTo>
                  <a:pt x="306" y="560"/>
                </a:lnTo>
                <a:lnTo>
                  <a:pt x="308" y="566"/>
                </a:lnTo>
                <a:lnTo>
                  <a:pt x="308" y="570"/>
                </a:lnTo>
                <a:lnTo>
                  <a:pt x="316" y="572"/>
                </a:lnTo>
                <a:lnTo>
                  <a:pt x="316" y="576"/>
                </a:lnTo>
                <a:lnTo>
                  <a:pt x="318" y="582"/>
                </a:lnTo>
                <a:lnTo>
                  <a:pt x="330" y="582"/>
                </a:lnTo>
                <a:lnTo>
                  <a:pt x="336" y="570"/>
                </a:lnTo>
                <a:lnTo>
                  <a:pt x="340" y="568"/>
                </a:lnTo>
                <a:lnTo>
                  <a:pt x="346" y="564"/>
                </a:lnTo>
                <a:lnTo>
                  <a:pt x="348" y="562"/>
                </a:lnTo>
                <a:lnTo>
                  <a:pt x="352" y="564"/>
                </a:lnTo>
                <a:lnTo>
                  <a:pt x="354" y="570"/>
                </a:lnTo>
                <a:lnTo>
                  <a:pt x="358" y="576"/>
                </a:lnTo>
                <a:lnTo>
                  <a:pt x="360" y="578"/>
                </a:lnTo>
                <a:lnTo>
                  <a:pt x="362" y="580"/>
                </a:lnTo>
                <a:lnTo>
                  <a:pt x="364" y="582"/>
                </a:lnTo>
                <a:lnTo>
                  <a:pt x="368" y="582"/>
                </a:lnTo>
                <a:lnTo>
                  <a:pt x="370" y="584"/>
                </a:lnTo>
                <a:lnTo>
                  <a:pt x="372" y="590"/>
                </a:lnTo>
                <a:lnTo>
                  <a:pt x="372" y="594"/>
                </a:lnTo>
                <a:lnTo>
                  <a:pt x="370" y="598"/>
                </a:lnTo>
                <a:lnTo>
                  <a:pt x="370" y="600"/>
                </a:lnTo>
                <a:lnTo>
                  <a:pt x="372" y="602"/>
                </a:lnTo>
                <a:lnTo>
                  <a:pt x="376" y="600"/>
                </a:lnTo>
                <a:lnTo>
                  <a:pt x="380" y="600"/>
                </a:lnTo>
                <a:lnTo>
                  <a:pt x="388" y="602"/>
                </a:lnTo>
                <a:lnTo>
                  <a:pt x="392" y="594"/>
                </a:lnTo>
                <a:lnTo>
                  <a:pt x="396" y="590"/>
                </a:lnTo>
                <a:lnTo>
                  <a:pt x="400" y="588"/>
                </a:lnTo>
                <a:lnTo>
                  <a:pt x="406" y="584"/>
                </a:lnTo>
                <a:lnTo>
                  <a:pt x="408" y="582"/>
                </a:lnTo>
                <a:lnTo>
                  <a:pt x="412" y="582"/>
                </a:lnTo>
                <a:lnTo>
                  <a:pt x="412" y="582"/>
                </a:lnTo>
                <a:lnTo>
                  <a:pt x="416" y="582"/>
                </a:lnTo>
                <a:lnTo>
                  <a:pt x="420" y="582"/>
                </a:lnTo>
                <a:lnTo>
                  <a:pt x="426" y="582"/>
                </a:lnTo>
                <a:lnTo>
                  <a:pt x="434" y="584"/>
                </a:lnTo>
                <a:lnTo>
                  <a:pt x="438" y="588"/>
                </a:lnTo>
                <a:lnTo>
                  <a:pt x="442" y="590"/>
                </a:lnTo>
                <a:lnTo>
                  <a:pt x="448" y="590"/>
                </a:lnTo>
                <a:lnTo>
                  <a:pt x="450" y="586"/>
                </a:lnTo>
                <a:lnTo>
                  <a:pt x="456" y="580"/>
                </a:lnTo>
                <a:lnTo>
                  <a:pt x="460" y="580"/>
                </a:lnTo>
                <a:lnTo>
                  <a:pt x="466" y="578"/>
                </a:lnTo>
                <a:lnTo>
                  <a:pt x="474" y="578"/>
                </a:lnTo>
                <a:lnTo>
                  <a:pt x="492" y="580"/>
                </a:lnTo>
                <a:lnTo>
                  <a:pt x="498" y="582"/>
                </a:lnTo>
                <a:lnTo>
                  <a:pt x="510" y="586"/>
                </a:lnTo>
                <a:lnTo>
                  <a:pt x="514" y="592"/>
                </a:lnTo>
                <a:lnTo>
                  <a:pt x="516" y="596"/>
                </a:lnTo>
                <a:lnTo>
                  <a:pt x="518" y="600"/>
                </a:lnTo>
                <a:lnTo>
                  <a:pt x="530" y="606"/>
                </a:lnTo>
                <a:lnTo>
                  <a:pt x="548" y="614"/>
                </a:lnTo>
                <a:lnTo>
                  <a:pt x="552" y="614"/>
                </a:lnTo>
                <a:lnTo>
                  <a:pt x="554" y="614"/>
                </a:lnTo>
                <a:lnTo>
                  <a:pt x="562" y="618"/>
                </a:lnTo>
                <a:lnTo>
                  <a:pt x="570" y="620"/>
                </a:lnTo>
                <a:lnTo>
                  <a:pt x="572" y="618"/>
                </a:lnTo>
                <a:lnTo>
                  <a:pt x="572" y="614"/>
                </a:lnTo>
                <a:lnTo>
                  <a:pt x="572" y="614"/>
                </a:lnTo>
                <a:lnTo>
                  <a:pt x="566" y="608"/>
                </a:lnTo>
                <a:lnTo>
                  <a:pt x="562" y="604"/>
                </a:lnTo>
                <a:lnTo>
                  <a:pt x="562" y="602"/>
                </a:lnTo>
                <a:lnTo>
                  <a:pt x="564" y="598"/>
                </a:lnTo>
                <a:lnTo>
                  <a:pt x="564" y="592"/>
                </a:lnTo>
                <a:lnTo>
                  <a:pt x="564" y="586"/>
                </a:lnTo>
                <a:lnTo>
                  <a:pt x="560" y="572"/>
                </a:lnTo>
                <a:lnTo>
                  <a:pt x="558" y="568"/>
                </a:lnTo>
                <a:lnTo>
                  <a:pt x="562" y="560"/>
                </a:lnTo>
                <a:lnTo>
                  <a:pt x="574" y="544"/>
                </a:lnTo>
                <a:lnTo>
                  <a:pt x="578" y="538"/>
                </a:lnTo>
                <a:lnTo>
                  <a:pt x="584" y="530"/>
                </a:lnTo>
                <a:lnTo>
                  <a:pt x="600" y="512"/>
                </a:lnTo>
                <a:lnTo>
                  <a:pt x="608" y="502"/>
                </a:lnTo>
                <a:lnTo>
                  <a:pt x="616" y="496"/>
                </a:lnTo>
                <a:lnTo>
                  <a:pt x="624" y="486"/>
                </a:lnTo>
                <a:lnTo>
                  <a:pt x="628" y="482"/>
                </a:lnTo>
                <a:lnTo>
                  <a:pt x="646" y="478"/>
                </a:lnTo>
                <a:lnTo>
                  <a:pt x="648" y="474"/>
                </a:lnTo>
                <a:lnTo>
                  <a:pt x="650" y="468"/>
                </a:lnTo>
                <a:lnTo>
                  <a:pt x="654" y="466"/>
                </a:lnTo>
                <a:lnTo>
                  <a:pt x="654" y="456"/>
                </a:lnTo>
                <a:lnTo>
                  <a:pt x="650" y="446"/>
                </a:lnTo>
                <a:lnTo>
                  <a:pt x="648" y="442"/>
                </a:lnTo>
                <a:lnTo>
                  <a:pt x="646" y="440"/>
                </a:lnTo>
                <a:lnTo>
                  <a:pt x="648" y="436"/>
                </a:lnTo>
                <a:lnTo>
                  <a:pt x="650" y="436"/>
                </a:lnTo>
                <a:lnTo>
                  <a:pt x="652" y="436"/>
                </a:lnTo>
                <a:lnTo>
                  <a:pt x="654" y="434"/>
                </a:lnTo>
                <a:lnTo>
                  <a:pt x="654" y="430"/>
                </a:lnTo>
                <a:lnTo>
                  <a:pt x="646" y="424"/>
                </a:lnTo>
                <a:lnTo>
                  <a:pt x="644" y="418"/>
                </a:lnTo>
                <a:lnTo>
                  <a:pt x="638" y="404"/>
                </a:lnTo>
                <a:lnTo>
                  <a:pt x="628" y="390"/>
                </a:lnTo>
                <a:lnTo>
                  <a:pt x="626" y="384"/>
                </a:lnTo>
                <a:lnTo>
                  <a:pt x="626" y="380"/>
                </a:lnTo>
                <a:lnTo>
                  <a:pt x="626" y="376"/>
                </a:lnTo>
                <a:lnTo>
                  <a:pt x="626" y="370"/>
                </a:lnTo>
                <a:lnTo>
                  <a:pt x="622" y="362"/>
                </a:lnTo>
                <a:lnTo>
                  <a:pt x="618" y="352"/>
                </a:lnTo>
                <a:lnTo>
                  <a:pt x="618" y="342"/>
                </a:lnTo>
                <a:lnTo>
                  <a:pt x="620" y="338"/>
                </a:lnTo>
                <a:lnTo>
                  <a:pt x="624" y="332"/>
                </a:lnTo>
                <a:lnTo>
                  <a:pt x="622" y="324"/>
                </a:lnTo>
                <a:lnTo>
                  <a:pt x="624" y="314"/>
                </a:lnTo>
                <a:lnTo>
                  <a:pt x="624" y="308"/>
                </a:lnTo>
                <a:lnTo>
                  <a:pt x="624" y="304"/>
                </a:lnTo>
                <a:lnTo>
                  <a:pt x="620" y="300"/>
                </a:lnTo>
                <a:lnTo>
                  <a:pt x="614" y="296"/>
                </a:lnTo>
                <a:lnTo>
                  <a:pt x="612" y="294"/>
                </a:lnTo>
                <a:lnTo>
                  <a:pt x="604" y="290"/>
                </a:lnTo>
                <a:lnTo>
                  <a:pt x="594" y="284"/>
                </a:lnTo>
                <a:lnTo>
                  <a:pt x="594" y="282"/>
                </a:lnTo>
                <a:lnTo>
                  <a:pt x="594" y="280"/>
                </a:lnTo>
                <a:lnTo>
                  <a:pt x="596" y="276"/>
                </a:lnTo>
                <a:lnTo>
                  <a:pt x="602" y="266"/>
                </a:lnTo>
                <a:lnTo>
                  <a:pt x="608" y="256"/>
                </a:lnTo>
                <a:lnTo>
                  <a:pt x="614" y="252"/>
                </a:lnTo>
                <a:lnTo>
                  <a:pt x="638" y="240"/>
                </a:lnTo>
                <a:lnTo>
                  <a:pt x="642" y="236"/>
                </a:lnTo>
                <a:lnTo>
                  <a:pt x="642" y="230"/>
                </a:lnTo>
                <a:lnTo>
                  <a:pt x="642" y="224"/>
                </a:lnTo>
                <a:lnTo>
                  <a:pt x="642" y="214"/>
                </a:lnTo>
                <a:lnTo>
                  <a:pt x="640" y="202"/>
                </a:lnTo>
                <a:lnTo>
                  <a:pt x="638" y="192"/>
                </a:lnTo>
                <a:lnTo>
                  <a:pt x="634" y="174"/>
                </a:lnTo>
                <a:lnTo>
                  <a:pt x="622" y="138"/>
                </a:lnTo>
                <a:lnTo>
                  <a:pt x="614" y="100"/>
                </a:lnTo>
                <a:lnTo>
                  <a:pt x="614" y="98"/>
                </a:lnTo>
                <a:lnTo>
                  <a:pt x="614" y="94"/>
                </a:lnTo>
                <a:lnTo>
                  <a:pt x="614" y="86"/>
                </a:lnTo>
                <a:lnTo>
                  <a:pt x="612" y="78"/>
                </a:lnTo>
                <a:lnTo>
                  <a:pt x="606" y="72"/>
                </a:lnTo>
                <a:lnTo>
                  <a:pt x="600" y="68"/>
                </a:lnTo>
                <a:lnTo>
                  <a:pt x="594" y="62"/>
                </a:lnTo>
                <a:lnTo>
                  <a:pt x="588" y="60"/>
                </a:lnTo>
                <a:lnTo>
                  <a:pt x="584" y="60"/>
                </a:lnTo>
                <a:lnTo>
                  <a:pt x="584" y="58"/>
                </a:lnTo>
                <a:lnTo>
                  <a:pt x="582" y="56"/>
                </a:lnTo>
                <a:lnTo>
                  <a:pt x="580" y="52"/>
                </a:lnTo>
                <a:lnTo>
                  <a:pt x="576" y="50"/>
                </a:lnTo>
                <a:lnTo>
                  <a:pt x="570" y="50"/>
                </a:lnTo>
                <a:lnTo>
                  <a:pt x="566" y="54"/>
                </a:lnTo>
                <a:lnTo>
                  <a:pt x="564" y="54"/>
                </a:lnTo>
                <a:lnTo>
                  <a:pt x="528" y="54"/>
                </a:lnTo>
                <a:lnTo>
                  <a:pt x="492" y="52"/>
                </a:lnTo>
                <a:lnTo>
                  <a:pt x="460" y="50"/>
                </a:lnTo>
                <a:lnTo>
                  <a:pt x="428" y="48"/>
                </a:lnTo>
                <a:lnTo>
                  <a:pt x="398" y="46"/>
                </a:lnTo>
                <a:lnTo>
                  <a:pt x="380" y="46"/>
                </a:lnTo>
                <a:lnTo>
                  <a:pt x="362" y="44"/>
                </a:lnTo>
                <a:lnTo>
                  <a:pt x="360" y="42"/>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49" name="CustomShape 74"/>
          <p:cNvSpPr/>
          <p:nvPr/>
        </p:nvSpPr>
        <p:spPr>
          <a:xfrm>
            <a:off x="3988080" y="4947480"/>
            <a:ext cx="624240" cy="436320"/>
          </a:xfrm>
          <a:custGeom>
            <a:avLst/>
            <a:gdLst/>
            <a:ahLst/>
            <a:cxnLst/>
            <a:rect l="l" t="t" r="r" b="b"/>
            <a:pathLst>
              <a:path w="620" h="434">
                <a:moveTo>
                  <a:pt x="522" y="270"/>
                </a:moveTo>
                <a:lnTo>
                  <a:pt x="518" y="264"/>
                </a:lnTo>
                <a:lnTo>
                  <a:pt x="516" y="258"/>
                </a:lnTo>
                <a:lnTo>
                  <a:pt x="512" y="256"/>
                </a:lnTo>
                <a:lnTo>
                  <a:pt x="514" y="254"/>
                </a:lnTo>
                <a:lnTo>
                  <a:pt x="516" y="254"/>
                </a:lnTo>
                <a:lnTo>
                  <a:pt x="518" y="252"/>
                </a:lnTo>
                <a:lnTo>
                  <a:pt x="518" y="246"/>
                </a:lnTo>
                <a:lnTo>
                  <a:pt x="516" y="238"/>
                </a:lnTo>
                <a:lnTo>
                  <a:pt x="516" y="234"/>
                </a:lnTo>
                <a:lnTo>
                  <a:pt x="516" y="230"/>
                </a:lnTo>
                <a:lnTo>
                  <a:pt x="514" y="220"/>
                </a:lnTo>
                <a:lnTo>
                  <a:pt x="516" y="206"/>
                </a:lnTo>
                <a:lnTo>
                  <a:pt x="520" y="186"/>
                </a:lnTo>
                <a:lnTo>
                  <a:pt x="524" y="176"/>
                </a:lnTo>
                <a:lnTo>
                  <a:pt x="522" y="170"/>
                </a:lnTo>
                <a:lnTo>
                  <a:pt x="524" y="158"/>
                </a:lnTo>
                <a:lnTo>
                  <a:pt x="522" y="152"/>
                </a:lnTo>
                <a:lnTo>
                  <a:pt x="518" y="144"/>
                </a:lnTo>
                <a:lnTo>
                  <a:pt x="512" y="126"/>
                </a:lnTo>
                <a:lnTo>
                  <a:pt x="506" y="120"/>
                </a:lnTo>
                <a:lnTo>
                  <a:pt x="498" y="112"/>
                </a:lnTo>
                <a:lnTo>
                  <a:pt x="494" y="108"/>
                </a:lnTo>
                <a:lnTo>
                  <a:pt x="492" y="102"/>
                </a:lnTo>
                <a:lnTo>
                  <a:pt x="488" y="96"/>
                </a:lnTo>
                <a:lnTo>
                  <a:pt x="482" y="90"/>
                </a:lnTo>
                <a:lnTo>
                  <a:pt x="476" y="78"/>
                </a:lnTo>
                <a:lnTo>
                  <a:pt x="472" y="72"/>
                </a:lnTo>
                <a:lnTo>
                  <a:pt x="472" y="70"/>
                </a:lnTo>
                <a:lnTo>
                  <a:pt x="464" y="62"/>
                </a:lnTo>
                <a:lnTo>
                  <a:pt x="460" y="54"/>
                </a:lnTo>
                <a:lnTo>
                  <a:pt x="458" y="48"/>
                </a:lnTo>
                <a:lnTo>
                  <a:pt x="458" y="42"/>
                </a:lnTo>
                <a:lnTo>
                  <a:pt x="452" y="30"/>
                </a:lnTo>
                <a:lnTo>
                  <a:pt x="448" y="22"/>
                </a:lnTo>
                <a:lnTo>
                  <a:pt x="444" y="16"/>
                </a:lnTo>
                <a:lnTo>
                  <a:pt x="440" y="10"/>
                </a:lnTo>
                <a:lnTo>
                  <a:pt x="436" y="6"/>
                </a:lnTo>
                <a:lnTo>
                  <a:pt x="428" y="2"/>
                </a:lnTo>
                <a:lnTo>
                  <a:pt x="424" y="0"/>
                </a:lnTo>
                <a:lnTo>
                  <a:pt x="418" y="0"/>
                </a:lnTo>
                <a:lnTo>
                  <a:pt x="414" y="2"/>
                </a:lnTo>
                <a:lnTo>
                  <a:pt x="406" y="4"/>
                </a:lnTo>
                <a:lnTo>
                  <a:pt x="396" y="6"/>
                </a:lnTo>
                <a:lnTo>
                  <a:pt x="394" y="14"/>
                </a:lnTo>
                <a:lnTo>
                  <a:pt x="392" y="20"/>
                </a:lnTo>
                <a:lnTo>
                  <a:pt x="388" y="26"/>
                </a:lnTo>
                <a:lnTo>
                  <a:pt x="370" y="30"/>
                </a:lnTo>
                <a:lnTo>
                  <a:pt x="356" y="32"/>
                </a:lnTo>
                <a:lnTo>
                  <a:pt x="342" y="34"/>
                </a:lnTo>
                <a:lnTo>
                  <a:pt x="322" y="44"/>
                </a:lnTo>
                <a:lnTo>
                  <a:pt x="316" y="52"/>
                </a:lnTo>
                <a:lnTo>
                  <a:pt x="310" y="54"/>
                </a:lnTo>
                <a:lnTo>
                  <a:pt x="304" y="54"/>
                </a:lnTo>
                <a:lnTo>
                  <a:pt x="300" y="50"/>
                </a:lnTo>
                <a:lnTo>
                  <a:pt x="288" y="38"/>
                </a:lnTo>
                <a:lnTo>
                  <a:pt x="284" y="32"/>
                </a:lnTo>
                <a:lnTo>
                  <a:pt x="278" y="32"/>
                </a:lnTo>
                <a:lnTo>
                  <a:pt x="270" y="32"/>
                </a:lnTo>
                <a:lnTo>
                  <a:pt x="264" y="34"/>
                </a:lnTo>
                <a:lnTo>
                  <a:pt x="258" y="36"/>
                </a:lnTo>
                <a:lnTo>
                  <a:pt x="250" y="32"/>
                </a:lnTo>
                <a:lnTo>
                  <a:pt x="248" y="32"/>
                </a:lnTo>
                <a:lnTo>
                  <a:pt x="246" y="32"/>
                </a:lnTo>
                <a:lnTo>
                  <a:pt x="226" y="28"/>
                </a:lnTo>
                <a:lnTo>
                  <a:pt x="224" y="28"/>
                </a:lnTo>
                <a:lnTo>
                  <a:pt x="224" y="26"/>
                </a:lnTo>
                <a:lnTo>
                  <a:pt x="222" y="26"/>
                </a:lnTo>
                <a:lnTo>
                  <a:pt x="206" y="28"/>
                </a:lnTo>
                <a:lnTo>
                  <a:pt x="194" y="18"/>
                </a:lnTo>
                <a:lnTo>
                  <a:pt x="190" y="18"/>
                </a:lnTo>
                <a:lnTo>
                  <a:pt x="186" y="22"/>
                </a:lnTo>
                <a:lnTo>
                  <a:pt x="184" y="26"/>
                </a:lnTo>
                <a:lnTo>
                  <a:pt x="174" y="30"/>
                </a:lnTo>
                <a:lnTo>
                  <a:pt x="172" y="32"/>
                </a:lnTo>
                <a:lnTo>
                  <a:pt x="170" y="34"/>
                </a:lnTo>
                <a:lnTo>
                  <a:pt x="158" y="46"/>
                </a:lnTo>
                <a:lnTo>
                  <a:pt x="154" y="48"/>
                </a:lnTo>
                <a:lnTo>
                  <a:pt x="152" y="50"/>
                </a:lnTo>
                <a:lnTo>
                  <a:pt x="146" y="48"/>
                </a:lnTo>
                <a:lnTo>
                  <a:pt x="142" y="50"/>
                </a:lnTo>
                <a:lnTo>
                  <a:pt x="138" y="52"/>
                </a:lnTo>
                <a:lnTo>
                  <a:pt x="134" y="52"/>
                </a:lnTo>
                <a:lnTo>
                  <a:pt x="130" y="56"/>
                </a:lnTo>
                <a:lnTo>
                  <a:pt x="126" y="62"/>
                </a:lnTo>
                <a:lnTo>
                  <a:pt x="122" y="68"/>
                </a:lnTo>
                <a:lnTo>
                  <a:pt x="116" y="72"/>
                </a:lnTo>
                <a:lnTo>
                  <a:pt x="114" y="74"/>
                </a:lnTo>
                <a:lnTo>
                  <a:pt x="114" y="86"/>
                </a:lnTo>
                <a:lnTo>
                  <a:pt x="112" y="88"/>
                </a:lnTo>
                <a:lnTo>
                  <a:pt x="108" y="92"/>
                </a:lnTo>
                <a:lnTo>
                  <a:pt x="106" y="94"/>
                </a:lnTo>
                <a:lnTo>
                  <a:pt x="100" y="110"/>
                </a:lnTo>
                <a:lnTo>
                  <a:pt x="96" y="114"/>
                </a:lnTo>
                <a:lnTo>
                  <a:pt x="92" y="118"/>
                </a:lnTo>
                <a:lnTo>
                  <a:pt x="92" y="122"/>
                </a:lnTo>
                <a:lnTo>
                  <a:pt x="92" y="126"/>
                </a:lnTo>
                <a:lnTo>
                  <a:pt x="86" y="134"/>
                </a:lnTo>
                <a:lnTo>
                  <a:pt x="82" y="144"/>
                </a:lnTo>
                <a:lnTo>
                  <a:pt x="80" y="146"/>
                </a:lnTo>
                <a:lnTo>
                  <a:pt x="82" y="152"/>
                </a:lnTo>
                <a:lnTo>
                  <a:pt x="76" y="158"/>
                </a:lnTo>
                <a:lnTo>
                  <a:pt x="72" y="160"/>
                </a:lnTo>
                <a:lnTo>
                  <a:pt x="70" y="160"/>
                </a:lnTo>
                <a:lnTo>
                  <a:pt x="68" y="164"/>
                </a:lnTo>
                <a:lnTo>
                  <a:pt x="66" y="172"/>
                </a:lnTo>
                <a:lnTo>
                  <a:pt x="66" y="176"/>
                </a:lnTo>
                <a:lnTo>
                  <a:pt x="66" y="180"/>
                </a:lnTo>
                <a:lnTo>
                  <a:pt x="62" y="182"/>
                </a:lnTo>
                <a:lnTo>
                  <a:pt x="60" y="186"/>
                </a:lnTo>
                <a:lnTo>
                  <a:pt x="58" y="190"/>
                </a:lnTo>
                <a:lnTo>
                  <a:pt x="56" y="192"/>
                </a:lnTo>
                <a:lnTo>
                  <a:pt x="52" y="196"/>
                </a:lnTo>
                <a:lnTo>
                  <a:pt x="38" y="194"/>
                </a:lnTo>
                <a:lnTo>
                  <a:pt x="34" y="196"/>
                </a:lnTo>
                <a:lnTo>
                  <a:pt x="32" y="198"/>
                </a:lnTo>
                <a:lnTo>
                  <a:pt x="32" y="200"/>
                </a:lnTo>
                <a:lnTo>
                  <a:pt x="30" y="202"/>
                </a:lnTo>
                <a:lnTo>
                  <a:pt x="26" y="204"/>
                </a:lnTo>
                <a:lnTo>
                  <a:pt x="24" y="206"/>
                </a:lnTo>
                <a:lnTo>
                  <a:pt x="16" y="202"/>
                </a:lnTo>
                <a:lnTo>
                  <a:pt x="2" y="206"/>
                </a:lnTo>
                <a:lnTo>
                  <a:pt x="0" y="208"/>
                </a:lnTo>
                <a:lnTo>
                  <a:pt x="2" y="214"/>
                </a:lnTo>
                <a:lnTo>
                  <a:pt x="6" y="220"/>
                </a:lnTo>
                <a:lnTo>
                  <a:pt x="12" y="224"/>
                </a:lnTo>
                <a:lnTo>
                  <a:pt x="18" y="228"/>
                </a:lnTo>
                <a:lnTo>
                  <a:pt x="22" y="230"/>
                </a:lnTo>
                <a:lnTo>
                  <a:pt x="26" y="240"/>
                </a:lnTo>
                <a:lnTo>
                  <a:pt x="30" y="244"/>
                </a:lnTo>
                <a:lnTo>
                  <a:pt x="32" y="244"/>
                </a:lnTo>
                <a:lnTo>
                  <a:pt x="34" y="242"/>
                </a:lnTo>
                <a:lnTo>
                  <a:pt x="34" y="242"/>
                </a:lnTo>
                <a:lnTo>
                  <a:pt x="34" y="244"/>
                </a:lnTo>
                <a:lnTo>
                  <a:pt x="34" y="250"/>
                </a:lnTo>
                <a:lnTo>
                  <a:pt x="34" y="256"/>
                </a:lnTo>
                <a:lnTo>
                  <a:pt x="34" y="262"/>
                </a:lnTo>
                <a:lnTo>
                  <a:pt x="34" y="264"/>
                </a:lnTo>
                <a:lnTo>
                  <a:pt x="34" y="266"/>
                </a:lnTo>
                <a:lnTo>
                  <a:pt x="34" y="266"/>
                </a:lnTo>
                <a:lnTo>
                  <a:pt x="36" y="268"/>
                </a:lnTo>
                <a:lnTo>
                  <a:pt x="40" y="272"/>
                </a:lnTo>
                <a:lnTo>
                  <a:pt x="44" y="278"/>
                </a:lnTo>
                <a:lnTo>
                  <a:pt x="50" y="282"/>
                </a:lnTo>
                <a:lnTo>
                  <a:pt x="56" y="284"/>
                </a:lnTo>
                <a:lnTo>
                  <a:pt x="58" y="284"/>
                </a:lnTo>
                <a:lnTo>
                  <a:pt x="64" y="290"/>
                </a:lnTo>
                <a:lnTo>
                  <a:pt x="74" y="292"/>
                </a:lnTo>
                <a:lnTo>
                  <a:pt x="78" y="294"/>
                </a:lnTo>
                <a:lnTo>
                  <a:pt x="80" y="296"/>
                </a:lnTo>
                <a:lnTo>
                  <a:pt x="82" y="298"/>
                </a:lnTo>
                <a:lnTo>
                  <a:pt x="82" y="300"/>
                </a:lnTo>
                <a:lnTo>
                  <a:pt x="80" y="302"/>
                </a:lnTo>
                <a:lnTo>
                  <a:pt x="78" y="306"/>
                </a:lnTo>
                <a:lnTo>
                  <a:pt x="76" y="308"/>
                </a:lnTo>
                <a:lnTo>
                  <a:pt x="74" y="310"/>
                </a:lnTo>
                <a:lnTo>
                  <a:pt x="74" y="310"/>
                </a:lnTo>
                <a:lnTo>
                  <a:pt x="72" y="312"/>
                </a:lnTo>
                <a:lnTo>
                  <a:pt x="72" y="312"/>
                </a:lnTo>
                <a:lnTo>
                  <a:pt x="74" y="314"/>
                </a:lnTo>
                <a:lnTo>
                  <a:pt x="76" y="316"/>
                </a:lnTo>
                <a:lnTo>
                  <a:pt x="80" y="318"/>
                </a:lnTo>
                <a:lnTo>
                  <a:pt x="84" y="320"/>
                </a:lnTo>
                <a:lnTo>
                  <a:pt x="84" y="322"/>
                </a:lnTo>
                <a:lnTo>
                  <a:pt x="82" y="324"/>
                </a:lnTo>
                <a:lnTo>
                  <a:pt x="78" y="324"/>
                </a:lnTo>
                <a:lnTo>
                  <a:pt x="74" y="324"/>
                </a:lnTo>
                <a:lnTo>
                  <a:pt x="72" y="324"/>
                </a:lnTo>
                <a:lnTo>
                  <a:pt x="72" y="328"/>
                </a:lnTo>
                <a:lnTo>
                  <a:pt x="84" y="332"/>
                </a:lnTo>
                <a:lnTo>
                  <a:pt x="88" y="334"/>
                </a:lnTo>
                <a:lnTo>
                  <a:pt x="90" y="338"/>
                </a:lnTo>
                <a:lnTo>
                  <a:pt x="98" y="342"/>
                </a:lnTo>
                <a:lnTo>
                  <a:pt x="108" y="342"/>
                </a:lnTo>
                <a:lnTo>
                  <a:pt x="116" y="348"/>
                </a:lnTo>
                <a:lnTo>
                  <a:pt x="120" y="354"/>
                </a:lnTo>
                <a:lnTo>
                  <a:pt x="128" y="352"/>
                </a:lnTo>
                <a:lnTo>
                  <a:pt x="138" y="342"/>
                </a:lnTo>
                <a:lnTo>
                  <a:pt x="148" y="340"/>
                </a:lnTo>
                <a:lnTo>
                  <a:pt x="156" y="344"/>
                </a:lnTo>
                <a:lnTo>
                  <a:pt x="162" y="348"/>
                </a:lnTo>
                <a:lnTo>
                  <a:pt x="162" y="352"/>
                </a:lnTo>
                <a:lnTo>
                  <a:pt x="160" y="354"/>
                </a:lnTo>
                <a:lnTo>
                  <a:pt x="156" y="352"/>
                </a:lnTo>
                <a:lnTo>
                  <a:pt x="150" y="354"/>
                </a:lnTo>
                <a:lnTo>
                  <a:pt x="148" y="360"/>
                </a:lnTo>
                <a:lnTo>
                  <a:pt x="146" y="364"/>
                </a:lnTo>
                <a:lnTo>
                  <a:pt x="150" y="370"/>
                </a:lnTo>
                <a:lnTo>
                  <a:pt x="152" y="372"/>
                </a:lnTo>
                <a:lnTo>
                  <a:pt x="156" y="374"/>
                </a:lnTo>
                <a:lnTo>
                  <a:pt x="160" y="378"/>
                </a:lnTo>
                <a:lnTo>
                  <a:pt x="160" y="382"/>
                </a:lnTo>
                <a:lnTo>
                  <a:pt x="160" y="382"/>
                </a:lnTo>
                <a:lnTo>
                  <a:pt x="166" y="386"/>
                </a:lnTo>
                <a:lnTo>
                  <a:pt x="176" y="392"/>
                </a:lnTo>
                <a:lnTo>
                  <a:pt x="182" y="396"/>
                </a:lnTo>
                <a:lnTo>
                  <a:pt x="182" y="400"/>
                </a:lnTo>
                <a:lnTo>
                  <a:pt x="180" y="402"/>
                </a:lnTo>
                <a:lnTo>
                  <a:pt x="174" y="406"/>
                </a:lnTo>
                <a:lnTo>
                  <a:pt x="172" y="408"/>
                </a:lnTo>
                <a:lnTo>
                  <a:pt x="170" y="414"/>
                </a:lnTo>
                <a:lnTo>
                  <a:pt x="172" y="416"/>
                </a:lnTo>
                <a:lnTo>
                  <a:pt x="174" y="420"/>
                </a:lnTo>
                <a:lnTo>
                  <a:pt x="194" y="416"/>
                </a:lnTo>
                <a:lnTo>
                  <a:pt x="214" y="418"/>
                </a:lnTo>
                <a:lnTo>
                  <a:pt x="242" y="424"/>
                </a:lnTo>
                <a:lnTo>
                  <a:pt x="260" y="426"/>
                </a:lnTo>
                <a:lnTo>
                  <a:pt x="274" y="422"/>
                </a:lnTo>
                <a:lnTo>
                  <a:pt x="298" y="428"/>
                </a:lnTo>
                <a:lnTo>
                  <a:pt x="322" y="432"/>
                </a:lnTo>
                <a:lnTo>
                  <a:pt x="344" y="434"/>
                </a:lnTo>
                <a:lnTo>
                  <a:pt x="356" y="430"/>
                </a:lnTo>
                <a:lnTo>
                  <a:pt x="364" y="426"/>
                </a:lnTo>
                <a:lnTo>
                  <a:pt x="372" y="416"/>
                </a:lnTo>
                <a:lnTo>
                  <a:pt x="390" y="404"/>
                </a:lnTo>
                <a:lnTo>
                  <a:pt x="408" y="396"/>
                </a:lnTo>
                <a:lnTo>
                  <a:pt x="432" y="390"/>
                </a:lnTo>
                <a:lnTo>
                  <a:pt x="448" y="388"/>
                </a:lnTo>
                <a:lnTo>
                  <a:pt x="450" y="390"/>
                </a:lnTo>
                <a:lnTo>
                  <a:pt x="470" y="402"/>
                </a:lnTo>
                <a:lnTo>
                  <a:pt x="478" y="402"/>
                </a:lnTo>
                <a:lnTo>
                  <a:pt x="486" y="404"/>
                </a:lnTo>
                <a:lnTo>
                  <a:pt x="488" y="408"/>
                </a:lnTo>
                <a:lnTo>
                  <a:pt x="490" y="408"/>
                </a:lnTo>
                <a:lnTo>
                  <a:pt x="500" y="406"/>
                </a:lnTo>
                <a:lnTo>
                  <a:pt x="504" y="412"/>
                </a:lnTo>
                <a:lnTo>
                  <a:pt x="510" y="420"/>
                </a:lnTo>
                <a:lnTo>
                  <a:pt x="522" y="424"/>
                </a:lnTo>
                <a:lnTo>
                  <a:pt x="532" y="426"/>
                </a:lnTo>
                <a:lnTo>
                  <a:pt x="536" y="428"/>
                </a:lnTo>
                <a:lnTo>
                  <a:pt x="546" y="428"/>
                </a:lnTo>
                <a:lnTo>
                  <a:pt x="546" y="422"/>
                </a:lnTo>
                <a:lnTo>
                  <a:pt x="550" y="406"/>
                </a:lnTo>
                <a:lnTo>
                  <a:pt x="550" y="376"/>
                </a:lnTo>
                <a:lnTo>
                  <a:pt x="554" y="370"/>
                </a:lnTo>
                <a:lnTo>
                  <a:pt x="564" y="358"/>
                </a:lnTo>
                <a:lnTo>
                  <a:pt x="566" y="352"/>
                </a:lnTo>
                <a:lnTo>
                  <a:pt x="560" y="352"/>
                </a:lnTo>
                <a:lnTo>
                  <a:pt x="562" y="348"/>
                </a:lnTo>
                <a:lnTo>
                  <a:pt x="564" y="346"/>
                </a:lnTo>
                <a:lnTo>
                  <a:pt x="564" y="338"/>
                </a:lnTo>
                <a:lnTo>
                  <a:pt x="564" y="336"/>
                </a:lnTo>
                <a:lnTo>
                  <a:pt x="568" y="330"/>
                </a:lnTo>
                <a:lnTo>
                  <a:pt x="566" y="320"/>
                </a:lnTo>
                <a:lnTo>
                  <a:pt x="568" y="316"/>
                </a:lnTo>
                <a:lnTo>
                  <a:pt x="572" y="312"/>
                </a:lnTo>
                <a:lnTo>
                  <a:pt x="580" y="314"/>
                </a:lnTo>
                <a:lnTo>
                  <a:pt x="576" y="318"/>
                </a:lnTo>
                <a:lnTo>
                  <a:pt x="578" y="324"/>
                </a:lnTo>
                <a:lnTo>
                  <a:pt x="578" y="330"/>
                </a:lnTo>
                <a:lnTo>
                  <a:pt x="576" y="334"/>
                </a:lnTo>
                <a:lnTo>
                  <a:pt x="610" y="326"/>
                </a:lnTo>
                <a:lnTo>
                  <a:pt x="614" y="320"/>
                </a:lnTo>
                <a:lnTo>
                  <a:pt x="616" y="314"/>
                </a:lnTo>
                <a:lnTo>
                  <a:pt x="618" y="298"/>
                </a:lnTo>
                <a:lnTo>
                  <a:pt x="618" y="294"/>
                </a:lnTo>
                <a:lnTo>
                  <a:pt x="620" y="288"/>
                </a:lnTo>
                <a:lnTo>
                  <a:pt x="616" y="282"/>
                </a:lnTo>
                <a:lnTo>
                  <a:pt x="610" y="278"/>
                </a:lnTo>
                <a:lnTo>
                  <a:pt x="600" y="272"/>
                </a:lnTo>
                <a:lnTo>
                  <a:pt x="588" y="274"/>
                </a:lnTo>
                <a:lnTo>
                  <a:pt x="576" y="282"/>
                </a:lnTo>
                <a:lnTo>
                  <a:pt x="566" y="284"/>
                </a:lnTo>
                <a:lnTo>
                  <a:pt x="562" y="284"/>
                </a:lnTo>
                <a:lnTo>
                  <a:pt x="558" y="284"/>
                </a:lnTo>
                <a:lnTo>
                  <a:pt x="558" y="286"/>
                </a:lnTo>
                <a:lnTo>
                  <a:pt x="558" y="288"/>
                </a:lnTo>
                <a:lnTo>
                  <a:pt x="560" y="288"/>
                </a:lnTo>
                <a:lnTo>
                  <a:pt x="560" y="290"/>
                </a:lnTo>
                <a:lnTo>
                  <a:pt x="558" y="290"/>
                </a:lnTo>
                <a:lnTo>
                  <a:pt x="538" y="284"/>
                </a:lnTo>
                <a:lnTo>
                  <a:pt x="528" y="280"/>
                </a:lnTo>
                <a:lnTo>
                  <a:pt x="522" y="270"/>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50" name="CustomShape 75"/>
          <p:cNvSpPr/>
          <p:nvPr/>
        </p:nvSpPr>
        <p:spPr>
          <a:xfrm>
            <a:off x="3895200" y="5151600"/>
            <a:ext cx="270720" cy="361440"/>
          </a:xfrm>
          <a:custGeom>
            <a:avLst/>
            <a:gdLst/>
            <a:ahLst/>
            <a:cxnLst/>
            <a:rect l="l" t="t" r="r" b="b"/>
            <a:pathLst>
              <a:path w="270" h="360">
                <a:moveTo>
                  <a:pt x="92" y="6"/>
                </a:moveTo>
                <a:lnTo>
                  <a:pt x="88" y="4"/>
                </a:lnTo>
                <a:lnTo>
                  <a:pt x="86" y="4"/>
                </a:lnTo>
                <a:lnTo>
                  <a:pt x="70" y="2"/>
                </a:lnTo>
                <a:lnTo>
                  <a:pt x="64" y="2"/>
                </a:lnTo>
                <a:lnTo>
                  <a:pt x="58" y="2"/>
                </a:lnTo>
                <a:lnTo>
                  <a:pt x="50" y="0"/>
                </a:lnTo>
                <a:lnTo>
                  <a:pt x="44" y="2"/>
                </a:lnTo>
                <a:lnTo>
                  <a:pt x="40" y="8"/>
                </a:lnTo>
                <a:lnTo>
                  <a:pt x="38" y="10"/>
                </a:lnTo>
                <a:lnTo>
                  <a:pt x="36" y="12"/>
                </a:lnTo>
                <a:lnTo>
                  <a:pt x="32" y="14"/>
                </a:lnTo>
                <a:lnTo>
                  <a:pt x="28" y="16"/>
                </a:lnTo>
                <a:lnTo>
                  <a:pt x="24" y="18"/>
                </a:lnTo>
                <a:lnTo>
                  <a:pt x="20" y="18"/>
                </a:lnTo>
                <a:lnTo>
                  <a:pt x="16" y="14"/>
                </a:lnTo>
                <a:lnTo>
                  <a:pt x="14" y="16"/>
                </a:lnTo>
                <a:lnTo>
                  <a:pt x="12" y="18"/>
                </a:lnTo>
                <a:lnTo>
                  <a:pt x="10" y="20"/>
                </a:lnTo>
                <a:lnTo>
                  <a:pt x="4" y="22"/>
                </a:lnTo>
                <a:lnTo>
                  <a:pt x="4" y="22"/>
                </a:lnTo>
                <a:lnTo>
                  <a:pt x="4" y="26"/>
                </a:lnTo>
                <a:lnTo>
                  <a:pt x="2" y="30"/>
                </a:lnTo>
                <a:lnTo>
                  <a:pt x="0" y="32"/>
                </a:lnTo>
                <a:lnTo>
                  <a:pt x="2" y="38"/>
                </a:lnTo>
                <a:lnTo>
                  <a:pt x="6" y="48"/>
                </a:lnTo>
                <a:lnTo>
                  <a:pt x="4" y="54"/>
                </a:lnTo>
                <a:lnTo>
                  <a:pt x="6" y="58"/>
                </a:lnTo>
                <a:lnTo>
                  <a:pt x="14" y="60"/>
                </a:lnTo>
                <a:lnTo>
                  <a:pt x="14" y="62"/>
                </a:lnTo>
                <a:lnTo>
                  <a:pt x="12" y="64"/>
                </a:lnTo>
                <a:lnTo>
                  <a:pt x="10" y="66"/>
                </a:lnTo>
                <a:lnTo>
                  <a:pt x="10" y="72"/>
                </a:lnTo>
                <a:lnTo>
                  <a:pt x="16" y="78"/>
                </a:lnTo>
                <a:lnTo>
                  <a:pt x="28" y="84"/>
                </a:lnTo>
                <a:lnTo>
                  <a:pt x="32" y="86"/>
                </a:lnTo>
                <a:lnTo>
                  <a:pt x="32" y="88"/>
                </a:lnTo>
                <a:lnTo>
                  <a:pt x="34" y="88"/>
                </a:lnTo>
                <a:lnTo>
                  <a:pt x="36" y="90"/>
                </a:lnTo>
                <a:lnTo>
                  <a:pt x="36" y="92"/>
                </a:lnTo>
                <a:lnTo>
                  <a:pt x="36" y="94"/>
                </a:lnTo>
                <a:lnTo>
                  <a:pt x="30" y="94"/>
                </a:lnTo>
                <a:lnTo>
                  <a:pt x="24" y="94"/>
                </a:lnTo>
                <a:lnTo>
                  <a:pt x="18" y="92"/>
                </a:lnTo>
                <a:lnTo>
                  <a:pt x="18" y="94"/>
                </a:lnTo>
                <a:lnTo>
                  <a:pt x="18" y="96"/>
                </a:lnTo>
                <a:lnTo>
                  <a:pt x="14" y="98"/>
                </a:lnTo>
                <a:lnTo>
                  <a:pt x="16" y="112"/>
                </a:lnTo>
                <a:lnTo>
                  <a:pt x="16" y="116"/>
                </a:lnTo>
                <a:lnTo>
                  <a:pt x="14" y="118"/>
                </a:lnTo>
                <a:lnTo>
                  <a:pt x="12" y="118"/>
                </a:lnTo>
                <a:lnTo>
                  <a:pt x="10" y="118"/>
                </a:lnTo>
                <a:lnTo>
                  <a:pt x="10" y="118"/>
                </a:lnTo>
                <a:lnTo>
                  <a:pt x="10" y="122"/>
                </a:lnTo>
                <a:lnTo>
                  <a:pt x="12" y="122"/>
                </a:lnTo>
                <a:lnTo>
                  <a:pt x="18" y="120"/>
                </a:lnTo>
                <a:lnTo>
                  <a:pt x="26" y="118"/>
                </a:lnTo>
                <a:lnTo>
                  <a:pt x="30" y="120"/>
                </a:lnTo>
                <a:lnTo>
                  <a:pt x="32" y="122"/>
                </a:lnTo>
                <a:lnTo>
                  <a:pt x="32" y="124"/>
                </a:lnTo>
                <a:lnTo>
                  <a:pt x="32" y="130"/>
                </a:lnTo>
                <a:lnTo>
                  <a:pt x="28" y="138"/>
                </a:lnTo>
                <a:lnTo>
                  <a:pt x="24" y="146"/>
                </a:lnTo>
                <a:lnTo>
                  <a:pt x="20" y="154"/>
                </a:lnTo>
                <a:lnTo>
                  <a:pt x="18" y="158"/>
                </a:lnTo>
                <a:lnTo>
                  <a:pt x="18" y="164"/>
                </a:lnTo>
                <a:lnTo>
                  <a:pt x="18" y="170"/>
                </a:lnTo>
                <a:lnTo>
                  <a:pt x="18" y="172"/>
                </a:lnTo>
                <a:lnTo>
                  <a:pt x="20" y="174"/>
                </a:lnTo>
                <a:lnTo>
                  <a:pt x="24" y="176"/>
                </a:lnTo>
                <a:lnTo>
                  <a:pt x="32" y="182"/>
                </a:lnTo>
                <a:lnTo>
                  <a:pt x="38" y="188"/>
                </a:lnTo>
                <a:lnTo>
                  <a:pt x="46" y="196"/>
                </a:lnTo>
                <a:lnTo>
                  <a:pt x="48" y="198"/>
                </a:lnTo>
                <a:lnTo>
                  <a:pt x="48" y="200"/>
                </a:lnTo>
                <a:lnTo>
                  <a:pt x="46" y="204"/>
                </a:lnTo>
                <a:lnTo>
                  <a:pt x="40" y="204"/>
                </a:lnTo>
                <a:lnTo>
                  <a:pt x="32" y="204"/>
                </a:lnTo>
                <a:lnTo>
                  <a:pt x="30" y="202"/>
                </a:lnTo>
                <a:lnTo>
                  <a:pt x="28" y="204"/>
                </a:lnTo>
                <a:lnTo>
                  <a:pt x="26" y="206"/>
                </a:lnTo>
                <a:lnTo>
                  <a:pt x="26" y="206"/>
                </a:lnTo>
                <a:lnTo>
                  <a:pt x="34" y="216"/>
                </a:lnTo>
                <a:lnTo>
                  <a:pt x="42" y="228"/>
                </a:lnTo>
                <a:lnTo>
                  <a:pt x="42" y="234"/>
                </a:lnTo>
                <a:lnTo>
                  <a:pt x="42" y="238"/>
                </a:lnTo>
                <a:lnTo>
                  <a:pt x="40" y="242"/>
                </a:lnTo>
                <a:lnTo>
                  <a:pt x="36" y="242"/>
                </a:lnTo>
                <a:lnTo>
                  <a:pt x="34" y="238"/>
                </a:lnTo>
                <a:lnTo>
                  <a:pt x="30" y="238"/>
                </a:lnTo>
                <a:lnTo>
                  <a:pt x="26" y="240"/>
                </a:lnTo>
                <a:lnTo>
                  <a:pt x="22" y="244"/>
                </a:lnTo>
                <a:lnTo>
                  <a:pt x="22" y="246"/>
                </a:lnTo>
                <a:lnTo>
                  <a:pt x="22" y="248"/>
                </a:lnTo>
                <a:lnTo>
                  <a:pt x="24" y="252"/>
                </a:lnTo>
                <a:lnTo>
                  <a:pt x="30" y="254"/>
                </a:lnTo>
                <a:lnTo>
                  <a:pt x="36" y="262"/>
                </a:lnTo>
                <a:lnTo>
                  <a:pt x="46" y="274"/>
                </a:lnTo>
                <a:lnTo>
                  <a:pt x="50" y="276"/>
                </a:lnTo>
                <a:lnTo>
                  <a:pt x="54" y="278"/>
                </a:lnTo>
                <a:lnTo>
                  <a:pt x="60" y="282"/>
                </a:lnTo>
                <a:lnTo>
                  <a:pt x="66" y="284"/>
                </a:lnTo>
                <a:lnTo>
                  <a:pt x="72" y="284"/>
                </a:lnTo>
                <a:lnTo>
                  <a:pt x="86" y="296"/>
                </a:lnTo>
                <a:lnTo>
                  <a:pt x="92" y="298"/>
                </a:lnTo>
                <a:lnTo>
                  <a:pt x="98" y="302"/>
                </a:lnTo>
                <a:lnTo>
                  <a:pt x="98" y="306"/>
                </a:lnTo>
                <a:lnTo>
                  <a:pt x="98" y="308"/>
                </a:lnTo>
                <a:lnTo>
                  <a:pt x="106" y="304"/>
                </a:lnTo>
                <a:lnTo>
                  <a:pt x="108" y="304"/>
                </a:lnTo>
                <a:lnTo>
                  <a:pt x="106" y="300"/>
                </a:lnTo>
                <a:lnTo>
                  <a:pt x="106" y="296"/>
                </a:lnTo>
                <a:lnTo>
                  <a:pt x="116" y="290"/>
                </a:lnTo>
                <a:lnTo>
                  <a:pt x="118" y="286"/>
                </a:lnTo>
                <a:lnTo>
                  <a:pt x="118" y="284"/>
                </a:lnTo>
                <a:lnTo>
                  <a:pt x="118" y="280"/>
                </a:lnTo>
                <a:lnTo>
                  <a:pt x="116" y="276"/>
                </a:lnTo>
                <a:lnTo>
                  <a:pt x="116" y="274"/>
                </a:lnTo>
                <a:lnTo>
                  <a:pt x="122" y="272"/>
                </a:lnTo>
                <a:lnTo>
                  <a:pt x="126" y="270"/>
                </a:lnTo>
                <a:lnTo>
                  <a:pt x="128" y="268"/>
                </a:lnTo>
                <a:lnTo>
                  <a:pt x="130" y="270"/>
                </a:lnTo>
                <a:lnTo>
                  <a:pt x="130" y="272"/>
                </a:lnTo>
                <a:lnTo>
                  <a:pt x="130" y="276"/>
                </a:lnTo>
                <a:lnTo>
                  <a:pt x="134" y="278"/>
                </a:lnTo>
                <a:lnTo>
                  <a:pt x="138" y="282"/>
                </a:lnTo>
                <a:lnTo>
                  <a:pt x="144" y="284"/>
                </a:lnTo>
                <a:lnTo>
                  <a:pt x="150" y="288"/>
                </a:lnTo>
                <a:lnTo>
                  <a:pt x="156" y="296"/>
                </a:lnTo>
                <a:lnTo>
                  <a:pt x="156" y="300"/>
                </a:lnTo>
                <a:lnTo>
                  <a:pt x="162" y="304"/>
                </a:lnTo>
                <a:lnTo>
                  <a:pt x="168" y="308"/>
                </a:lnTo>
                <a:lnTo>
                  <a:pt x="166" y="314"/>
                </a:lnTo>
                <a:lnTo>
                  <a:pt x="184" y="320"/>
                </a:lnTo>
                <a:lnTo>
                  <a:pt x="188" y="320"/>
                </a:lnTo>
                <a:lnTo>
                  <a:pt x="190" y="322"/>
                </a:lnTo>
                <a:lnTo>
                  <a:pt x="190" y="324"/>
                </a:lnTo>
                <a:lnTo>
                  <a:pt x="188" y="328"/>
                </a:lnTo>
                <a:lnTo>
                  <a:pt x="182" y="344"/>
                </a:lnTo>
                <a:lnTo>
                  <a:pt x="180" y="346"/>
                </a:lnTo>
                <a:lnTo>
                  <a:pt x="176" y="350"/>
                </a:lnTo>
                <a:lnTo>
                  <a:pt x="174" y="352"/>
                </a:lnTo>
                <a:lnTo>
                  <a:pt x="176" y="356"/>
                </a:lnTo>
                <a:lnTo>
                  <a:pt x="178" y="360"/>
                </a:lnTo>
                <a:lnTo>
                  <a:pt x="182" y="360"/>
                </a:lnTo>
                <a:lnTo>
                  <a:pt x="190" y="358"/>
                </a:lnTo>
                <a:lnTo>
                  <a:pt x="194" y="354"/>
                </a:lnTo>
                <a:lnTo>
                  <a:pt x="196" y="354"/>
                </a:lnTo>
                <a:lnTo>
                  <a:pt x="200" y="352"/>
                </a:lnTo>
                <a:lnTo>
                  <a:pt x="206" y="352"/>
                </a:lnTo>
                <a:lnTo>
                  <a:pt x="210" y="354"/>
                </a:lnTo>
                <a:lnTo>
                  <a:pt x="216" y="352"/>
                </a:lnTo>
                <a:lnTo>
                  <a:pt x="222" y="350"/>
                </a:lnTo>
                <a:lnTo>
                  <a:pt x="224" y="350"/>
                </a:lnTo>
                <a:lnTo>
                  <a:pt x="228" y="352"/>
                </a:lnTo>
                <a:lnTo>
                  <a:pt x="228" y="354"/>
                </a:lnTo>
                <a:lnTo>
                  <a:pt x="234" y="352"/>
                </a:lnTo>
                <a:lnTo>
                  <a:pt x="236" y="350"/>
                </a:lnTo>
                <a:lnTo>
                  <a:pt x="240" y="342"/>
                </a:lnTo>
                <a:lnTo>
                  <a:pt x="242" y="338"/>
                </a:lnTo>
                <a:lnTo>
                  <a:pt x="240" y="336"/>
                </a:lnTo>
                <a:lnTo>
                  <a:pt x="238" y="334"/>
                </a:lnTo>
                <a:lnTo>
                  <a:pt x="234" y="326"/>
                </a:lnTo>
                <a:lnTo>
                  <a:pt x="236" y="318"/>
                </a:lnTo>
                <a:lnTo>
                  <a:pt x="236" y="314"/>
                </a:lnTo>
                <a:lnTo>
                  <a:pt x="236" y="310"/>
                </a:lnTo>
                <a:lnTo>
                  <a:pt x="236" y="306"/>
                </a:lnTo>
                <a:lnTo>
                  <a:pt x="240" y="304"/>
                </a:lnTo>
                <a:lnTo>
                  <a:pt x="242" y="304"/>
                </a:lnTo>
                <a:lnTo>
                  <a:pt x="252" y="302"/>
                </a:lnTo>
                <a:lnTo>
                  <a:pt x="258" y="294"/>
                </a:lnTo>
                <a:lnTo>
                  <a:pt x="262" y="290"/>
                </a:lnTo>
                <a:lnTo>
                  <a:pt x="266" y="286"/>
                </a:lnTo>
                <a:lnTo>
                  <a:pt x="268" y="284"/>
                </a:lnTo>
                <a:lnTo>
                  <a:pt x="270" y="280"/>
                </a:lnTo>
                <a:lnTo>
                  <a:pt x="270" y="276"/>
                </a:lnTo>
                <a:lnTo>
                  <a:pt x="262" y="270"/>
                </a:lnTo>
                <a:lnTo>
                  <a:pt x="260" y="266"/>
                </a:lnTo>
                <a:lnTo>
                  <a:pt x="256" y="260"/>
                </a:lnTo>
                <a:lnTo>
                  <a:pt x="252" y="256"/>
                </a:lnTo>
                <a:lnTo>
                  <a:pt x="242" y="252"/>
                </a:lnTo>
                <a:lnTo>
                  <a:pt x="240" y="246"/>
                </a:lnTo>
                <a:lnTo>
                  <a:pt x="238" y="238"/>
                </a:lnTo>
                <a:lnTo>
                  <a:pt x="234" y="232"/>
                </a:lnTo>
                <a:lnTo>
                  <a:pt x="232" y="228"/>
                </a:lnTo>
                <a:lnTo>
                  <a:pt x="232" y="226"/>
                </a:lnTo>
                <a:lnTo>
                  <a:pt x="230" y="222"/>
                </a:lnTo>
                <a:lnTo>
                  <a:pt x="230" y="214"/>
                </a:lnTo>
                <a:lnTo>
                  <a:pt x="232" y="204"/>
                </a:lnTo>
                <a:lnTo>
                  <a:pt x="234" y="202"/>
                </a:lnTo>
                <a:lnTo>
                  <a:pt x="236" y="200"/>
                </a:lnTo>
                <a:lnTo>
                  <a:pt x="246" y="196"/>
                </a:lnTo>
                <a:lnTo>
                  <a:pt x="246" y="188"/>
                </a:lnTo>
                <a:lnTo>
                  <a:pt x="248" y="184"/>
                </a:lnTo>
                <a:lnTo>
                  <a:pt x="250" y="182"/>
                </a:lnTo>
                <a:lnTo>
                  <a:pt x="252" y="180"/>
                </a:lnTo>
                <a:lnTo>
                  <a:pt x="252" y="180"/>
                </a:lnTo>
                <a:lnTo>
                  <a:pt x="252" y="176"/>
                </a:lnTo>
                <a:lnTo>
                  <a:pt x="248" y="172"/>
                </a:lnTo>
                <a:lnTo>
                  <a:pt x="244" y="170"/>
                </a:lnTo>
                <a:lnTo>
                  <a:pt x="242" y="168"/>
                </a:lnTo>
                <a:lnTo>
                  <a:pt x="238" y="162"/>
                </a:lnTo>
                <a:lnTo>
                  <a:pt x="240" y="158"/>
                </a:lnTo>
                <a:lnTo>
                  <a:pt x="242" y="152"/>
                </a:lnTo>
                <a:lnTo>
                  <a:pt x="248" y="150"/>
                </a:lnTo>
                <a:lnTo>
                  <a:pt x="252" y="152"/>
                </a:lnTo>
                <a:lnTo>
                  <a:pt x="254" y="150"/>
                </a:lnTo>
                <a:lnTo>
                  <a:pt x="254" y="146"/>
                </a:lnTo>
                <a:lnTo>
                  <a:pt x="248" y="142"/>
                </a:lnTo>
                <a:lnTo>
                  <a:pt x="240" y="138"/>
                </a:lnTo>
                <a:lnTo>
                  <a:pt x="230" y="140"/>
                </a:lnTo>
                <a:lnTo>
                  <a:pt x="220" y="150"/>
                </a:lnTo>
                <a:lnTo>
                  <a:pt x="212" y="152"/>
                </a:lnTo>
                <a:lnTo>
                  <a:pt x="208" y="146"/>
                </a:lnTo>
                <a:lnTo>
                  <a:pt x="200" y="140"/>
                </a:lnTo>
                <a:lnTo>
                  <a:pt x="190" y="140"/>
                </a:lnTo>
                <a:lnTo>
                  <a:pt x="182" y="136"/>
                </a:lnTo>
                <a:lnTo>
                  <a:pt x="180" y="132"/>
                </a:lnTo>
                <a:lnTo>
                  <a:pt x="176" y="130"/>
                </a:lnTo>
                <a:lnTo>
                  <a:pt x="164" y="126"/>
                </a:lnTo>
                <a:lnTo>
                  <a:pt x="164" y="122"/>
                </a:lnTo>
                <a:lnTo>
                  <a:pt x="166" y="122"/>
                </a:lnTo>
                <a:lnTo>
                  <a:pt x="170" y="122"/>
                </a:lnTo>
                <a:lnTo>
                  <a:pt x="174" y="122"/>
                </a:lnTo>
                <a:lnTo>
                  <a:pt x="176" y="120"/>
                </a:lnTo>
                <a:lnTo>
                  <a:pt x="176" y="118"/>
                </a:lnTo>
                <a:lnTo>
                  <a:pt x="172" y="116"/>
                </a:lnTo>
                <a:lnTo>
                  <a:pt x="168" y="114"/>
                </a:lnTo>
                <a:lnTo>
                  <a:pt x="166" y="112"/>
                </a:lnTo>
                <a:lnTo>
                  <a:pt x="164" y="110"/>
                </a:lnTo>
                <a:lnTo>
                  <a:pt x="164" y="110"/>
                </a:lnTo>
                <a:lnTo>
                  <a:pt x="166" y="108"/>
                </a:lnTo>
                <a:lnTo>
                  <a:pt x="166" y="108"/>
                </a:lnTo>
                <a:lnTo>
                  <a:pt x="168" y="106"/>
                </a:lnTo>
                <a:lnTo>
                  <a:pt x="170" y="104"/>
                </a:lnTo>
                <a:lnTo>
                  <a:pt x="172" y="100"/>
                </a:lnTo>
                <a:lnTo>
                  <a:pt x="174" y="98"/>
                </a:lnTo>
                <a:lnTo>
                  <a:pt x="174" y="96"/>
                </a:lnTo>
                <a:lnTo>
                  <a:pt x="172" y="94"/>
                </a:lnTo>
                <a:lnTo>
                  <a:pt x="170" y="92"/>
                </a:lnTo>
                <a:lnTo>
                  <a:pt x="166" y="90"/>
                </a:lnTo>
                <a:lnTo>
                  <a:pt x="156" y="88"/>
                </a:lnTo>
                <a:lnTo>
                  <a:pt x="150" y="82"/>
                </a:lnTo>
                <a:lnTo>
                  <a:pt x="148" y="82"/>
                </a:lnTo>
                <a:lnTo>
                  <a:pt x="142" y="80"/>
                </a:lnTo>
                <a:lnTo>
                  <a:pt x="136" y="76"/>
                </a:lnTo>
                <a:lnTo>
                  <a:pt x="132" y="70"/>
                </a:lnTo>
                <a:lnTo>
                  <a:pt x="128" y="66"/>
                </a:lnTo>
                <a:lnTo>
                  <a:pt x="126" y="64"/>
                </a:lnTo>
                <a:lnTo>
                  <a:pt x="126" y="64"/>
                </a:lnTo>
                <a:lnTo>
                  <a:pt x="126" y="62"/>
                </a:lnTo>
                <a:lnTo>
                  <a:pt x="126" y="60"/>
                </a:lnTo>
                <a:lnTo>
                  <a:pt x="126" y="54"/>
                </a:lnTo>
                <a:lnTo>
                  <a:pt x="126" y="48"/>
                </a:lnTo>
                <a:lnTo>
                  <a:pt x="126" y="42"/>
                </a:lnTo>
                <a:lnTo>
                  <a:pt x="126" y="40"/>
                </a:lnTo>
                <a:lnTo>
                  <a:pt x="126" y="40"/>
                </a:lnTo>
                <a:lnTo>
                  <a:pt x="124" y="42"/>
                </a:lnTo>
                <a:lnTo>
                  <a:pt x="122" y="42"/>
                </a:lnTo>
                <a:lnTo>
                  <a:pt x="118" y="38"/>
                </a:lnTo>
                <a:lnTo>
                  <a:pt x="114" y="28"/>
                </a:lnTo>
                <a:lnTo>
                  <a:pt x="110" y="26"/>
                </a:lnTo>
                <a:lnTo>
                  <a:pt x="104" y="22"/>
                </a:lnTo>
                <a:lnTo>
                  <a:pt x="98" y="18"/>
                </a:lnTo>
                <a:lnTo>
                  <a:pt x="94" y="12"/>
                </a:lnTo>
                <a:lnTo>
                  <a:pt x="92" y="6"/>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51" name="CustomShape 76"/>
          <p:cNvSpPr/>
          <p:nvPr/>
        </p:nvSpPr>
        <p:spPr>
          <a:xfrm>
            <a:off x="3763800" y="4813920"/>
            <a:ext cx="373680" cy="181800"/>
          </a:xfrm>
          <a:custGeom>
            <a:avLst/>
            <a:gdLst/>
            <a:ahLst/>
            <a:cxnLst/>
            <a:rect l="l" t="t" r="r" b="b"/>
            <a:pathLst>
              <a:path w="372" h="182">
                <a:moveTo>
                  <a:pt x="372" y="52"/>
                </a:moveTo>
                <a:lnTo>
                  <a:pt x="368" y="52"/>
                </a:lnTo>
                <a:lnTo>
                  <a:pt x="350" y="44"/>
                </a:lnTo>
                <a:lnTo>
                  <a:pt x="338" y="38"/>
                </a:lnTo>
                <a:lnTo>
                  <a:pt x="336" y="34"/>
                </a:lnTo>
                <a:lnTo>
                  <a:pt x="334" y="30"/>
                </a:lnTo>
                <a:lnTo>
                  <a:pt x="330" y="24"/>
                </a:lnTo>
                <a:lnTo>
                  <a:pt x="318" y="20"/>
                </a:lnTo>
                <a:lnTo>
                  <a:pt x="312" y="18"/>
                </a:lnTo>
                <a:lnTo>
                  <a:pt x="294" y="16"/>
                </a:lnTo>
                <a:lnTo>
                  <a:pt x="286" y="16"/>
                </a:lnTo>
                <a:lnTo>
                  <a:pt x="280" y="18"/>
                </a:lnTo>
                <a:lnTo>
                  <a:pt x="276" y="18"/>
                </a:lnTo>
                <a:lnTo>
                  <a:pt x="270" y="24"/>
                </a:lnTo>
                <a:lnTo>
                  <a:pt x="268" y="28"/>
                </a:lnTo>
                <a:lnTo>
                  <a:pt x="262" y="28"/>
                </a:lnTo>
                <a:lnTo>
                  <a:pt x="258" y="26"/>
                </a:lnTo>
                <a:lnTo>
                  <a:pt x="254" y="22"/>
                </a:lnTo>
                <a:lnTo>
                  <a:pt x="246" y="20"/>
                </a:lnTo>
                <a:lnTo>
                  <a:pt x="240" y="20"/>
                </a:lnTo>
                <a:lnTo>
                  <a:pt x="236" y="20"/>
                </a:lnTo>
                <a:lnTo>
                  <a:pt x="232" y="20"/>
                </a:lnTo>
                <a:lnTo>
                  <a:pt x="232" y="20"/>
                </a:lnTo>
                <a:lnTo>
                  <a:pt x="228" y="20"/>
                </a:lnTo>
                <a:lnTo>
                  <a:pt x="226" y="22"/>
                </a:lnTo>
                <a:lnTo>
                  <a:pt x="220" y="26"/>
                </a:lnTo>
                <a:lnTo>
                  <a:pt x="216" y="28"/>
                </a:lnTo>
                <a:lnTo>
                  <a:pt x="212" y="32"/>
                </a:lnTo>
                <a:lnTo>
                  <a:pt x="208" y="40"/>
                </a:lnTo>
                <a:lnTo>
                  <a:pt x="200" y="38"/>
                </a:lnTo>
                <a:lnTo>
                  <a:pt x="196" y="38"/>
                </a:lnTo>
                <a:lnTo>
                  <a:pt x="192" y="40"/>
                </a:lnTo>
                <a:lnTo>
                  <a:pt x="190" y="38"/>
                </a:lnTo>
                <a:lnTo>
                  <a:pt x="190" y="36"/>
                </a:lnTo>
                <a:lnTo>
                  <a:pt x="192" y="32"/>
                </a:lnTo>
                <a:lnTo>
                  <a:pt x="192" y="28"/>
                </a:lnTo>
                <a:lnTo>
                  <a:pt x="190" y="22"/>
                </a:lnTo>
                <a:lnTo>
                  <a:pt x="188" y="20"/>
                </a:lnTo>
                <a:lnTo>
                  <a:pt x="184" y="20"/>
                </a:lnTo>
                <a:lnTo>
                  <a:pt x="182" y="18"/>
                </a:lnTo>
                <a:lnTo>
                  <a:pt x="180" y="16"/>
                </a:lnTo>
                <a:lnTo>
                  <a:pt x="178" y="14"/>
                </a:lnTo>
                <a:lnTo>
                  <a:pt x="174" y="8"/>
                </a:lnTo>
                <a:lnTo>
                  <a:pt x="172" y="2"/>
                </a:lnTo>
                <a:lnTo>
                  <a:pt x="168" y="0"/>
                </a:lnTo>
                <a:lnTo>
                  <a:pt x="166" y="2"/>
                </a:lnTo>
                <a:lnTo>
                  <a:pt x="160" y="6"/>
                </a:lnTo>
                <a:lnTo>
                  <a:pt x="156" y="8"/>
                </a:lnTo>
                <a:lnTo>
                  <a:pt x="150" y="20"/>
                </a:lnTo>
                <a:lnTo>
                  <a:pt x="138" y="20"/>
                </a:lnTo>
                <a:lnTo>
                  <a:pt x="136" y="14"/>
                </a:lnTo>
                <a:lnTo>
                  <a:pt x="136" y="10"/>
                </a:lnTo>
                <a:lnTo>
                  <a:pt x="128" y="8"/>
                </a:lnTo>
                <a:lnTo>
                  <a:pt x="126" y="8"/>
                </a:lnTo>
                <a:lnTo>
                  <a:pt x="124" y="10"/>
                </a:lnTo>
                <a:lnTo>
                  <a:pt x="118" y="10"/>
                </a:lnTo>
                <a:lnTo>
                  <a:pt x="114" y="10"/>
                </a:lnTo>
                <a:lnTo>
                  <a:pt x="110" y="12"/>
                </a:lnTo>
                <a:lnTo>
                  <a:pt x="106" y="16"/>
                </a:lnTo>
                <a:lnTo>
                  <a:pt x="102" y="20"/>
                </a:lnTo>
                <a:lnTo>
                  <a:pt x="100" y="22"/>
                </a:lnTo>
                <a:lnTo>
                  <a:pt x="98" y="26"/>
                </a:lnTo>
                <a:lnTo>
                  <a:pt x="84" y="34"/>
                </a:lnTo>
                <a:lnTo>
                  <a:pt x="82" y="36"/>
                </a:lnTo>
                <a:lnTo>
                  <a:pt x="82" y="42"/>
                </a:lnTo>
                <a:lnTo>
                  <a:pt x="80" y="48"/>
                </a:lnTo>
                <a:lnTo>
                  <a:pt x="80" y="52"/>
                </a:lnTo>
                <a:lnTo>
                  <a:pt x="78" y="56"/>
                </a:lnTo>
                <a:lnTo>
                  <a:pt x="70" y="58"/>
                </a:lnTo>
                <a:lnTo>
                  <a:pt x="68" y="60"/>
                </a:lnTo>
                <a:lnTo>
                  <a:pt x="68" y="62"/>
                </a:lnTo>
                <a:lnTo>
                  <a:pt x="62" y="66"/>
                </a:lnTo>
                <a:lnTo>
                  <a:pt x="58" y="70"/>
                </a:lnTo>
                <a:lnTo>
                  <a:pt x="50" y="74"/>
                </a:lnTo>
                <a:lnTo>
                  <a:pt x="40" y="76"/>
                </a:lnTo>
                <a:lnTo>
                  <a:pt x="28" y="74"/>
                </a:lnTo>
                <a:lnTo>
                  <a:pt x="20" y="72"/>
                </a:lnTo>
                <a:lnTo>
                  <a:pt x="18" y="74"/>
                </a:lnTo>
                <a:lnTo>
                  <a:pt x="12" y="80"/>
                </a:lnTo>
                <a:lnTo>
                  <a:pt x="8" y="92"/>
                </a:lnTo>
                <a:lnTo>
                  <a:pt x="6" y="98"/>
                </a:lnTo>
                <a:lnTo>
                  <a:pt x="6" y="100"/>
                </a:lnTo>
                <a:lnTo>
                  <a:pt x="4" y="104"/>
                </a:lnTo>
                <a:lnTo>
                  <a:pt x="2" y="108"/>
                </a:lnTo>
                <a:lnTo>
                  <a:pt x="0" y="114"/>
                </a:lnTo>
                <a:lnTo>
                  <a:pt x="0" y="120"/>
                </a:lnTo>
                <a:lnTo>
                  <a:pt x="6" y="138"/>
                </a:lnTo>
                <a:lnTo>
                  <a:pt x="12" y="150"/>
                </a:lnTo>
                <a:lnTo>
                  <a:pt x="14" y="154"/>
                </a:lnTo>
                <a:lnTo>
                  <a:pt x="18" y="158"/>
                </a:lnTo>
                <a:lnTo>
                  <a:pt x="20" y="158"/>
                </a:lnTo>
                <a:lnTo>
                  <a:pt x="26" y="158"/>
                </a:lnTo>
                <a:lnTo>
                  <a:pt x="28" y="158"/>
                </a:lnTo>
                <a:lnTo>
                  <a:pt x="30" y="160"/>
                </a:lnTo>
                <a:lnTo>
                  <a:pt x="40" y="170"/>
                </a:lnTo>
                <a:lnTo>
                  <a:pt x="50" y="176"/>
                </a:lnTo>
                <a:lnTo>
                  <a:pt x="58" y="180"/>
                </a:lnTo>
                <a:lnTo>
                  <a:pt x="70" y="180"/>
                </a:lnTo>
                <a:lnTo>
                  <a:pt x="84" y="182"/>
                </a:lnTo>
                <a:lnTo>
                  <a:pt x="106" y="180"/>
                </a:lnTo>
                <a:lnTo>
                  <a:pt x="122" y="178"/>
                </a:lnTo>
                <a:lnTo>
                  <a:pt x="122" y="178"/>
                </a:lnTo>
                <a:lnTo>
                  <a:pt x="126" y="172"/>
                </a:lnTo>
                <a:lnTo>
                  <a:pt x="124" y="168"/>
                </a:lnTo>
                <a:lnTo>
                  <a:pt x="124" y="164"/>
                </a:lnTo>
                <a:lnTo>
                  <a:pt x="126" y="158"/>
                </a:lnTo>
                <a:lnTo>
                  <a:pt x="134" y="154"/>
                </a:lnTo>
                <a:lnTo>
                  <a:pt x="158" y="152"/>
                </a:lnTo>
                <a:lnTo>
                  <a:pt x="170" y="148"/>
                </a:lnTo>
                <a:lnTo>
                  <a:pt x="172" y="142"/>
                </a:lnTo>
                <a:lnTo>
                  <a:pt x="176" y="138"/>
                </a:lnTo>
                <a:lnTo>
                  <a:pt x="180" y="136"/>
                </a:lnTo>
                <a:lnTo>
                  <a:pt x="186" y="138"/>
                </a:lnTo>
                <a:lnTo>
                  <a:pt x="192" y="142"/>
                </a:lnTo>
                <a:lnTo>
                  <a:pt x="198" y="146"/>
                </a:lnTo>
                <a:lnTo>
                  <a:pt x="202" y="144"/>
                </a:lnTo>
                <a:lnTo>
                  <a:pt x="214" y="136"/>
                </a:lnTo>
                <a:lnTo>
                  <a:pt x="228" y="130"/>
                </a:lnTo>
                <a:lnTo>
                  <a:pt x="236" y="110"/>
                </a:lnTo>
                <a:lnTo>
                  <a:pt x="238" y="106"/>
                </a:lnTo>
                <a:lnTo>
                  <a:pt x="248" y="104"/>
                </a:lnTo>
                <a:lnTo>
                  <a:pt x="262" y="104"/>
                </a:lnTo>
                <a:lnTo>
                  <a:pt x="270" y="106"/>
                </a:lnTo>
                <a:lnTo>
                  <a:pt x="276" y="108"/>
                </a:lnTo>
                <a:lnTo>
                  <a:pt x="284" y="108"/>
                </a:lnTo>
                <a:lnTo>
                  <a:pt x="296" y="104"/>
                </a:lnTo>
                <a:lnTo>
                  <a:pt x="300" y="104"/>
                </a:lnTo>
                <a:lnTo>
                  <a:pt x="304" y="106"/>
                </a:lnTo>
                <a:lnTo>
                  <a:pt x="308" y="110"/>
                </a:lnTo>
                <a:lnTo>
                  <a:pt x="310" y="112"/>
                </a:lnTo>
                <a:lnTo>
                  <a:pt x="312" y="118"/>
                </a:lnTo>
                <a:lnTo>
                  <a:pt x="314" y="118"/>
                </a:lnTo>
                <a:lnTo>
                  <a:pt x="314" y="120"/>
                </a:lnTo>
                <a:lnTo>
                  <a:pt x="318" y="124"/>
                </a:lnTo>
                <a:lnTo>
                  <a:pt x="322" y="126"/>
                </a:lnTo>
                <a:lnTo>
                  <a:pt x="344" y="120"/>
                </a:lnTo>
                <a:lnTo>
                  <a:pt x="346" y="118"/>
                </a:lnTo>
                <a:lnTo>
                  <a:pt x="346" y="102"/>
                </a:lnTo>
                <a:lnTo>
                  <a:pt x="356" y="90"/>
                </a:lnTo>
                <a:lnTo>
                  <a:pt x="358" y="84"/>
                </a:lnTo>
                <a:lnTo>
                  <a:pt x="362" y="72"/>
                </a:lnTo>
                <a:lnTo>
                  <a:pt x="364" y="66"/>
                </a:lnTo>
                <a:lnTo>
                  <a:pt x="368" y="60"/>
                </a:lnTo>
                <a:lnTo>
                  <a:pt x="370" y="56"/>
                </a:lnTo>
                <a:lnTo>
                  <a:pt x="372" y="52"/>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52" name="CustomShape 77"/>
          <p:cNvSpPr/>
          <p:nvPr/>
        </p:nvSpPr>
        <p:spPr>
          <a:xfrm>
            <a:off x="3533400" y="5084640"/>
            <a:ext cx="203760" cy="135360"/>
          </a:xfrm>
          <a:custGeom>
            <a:avLst/>
            <a:gdLst/>
            <a:ahLst/>
            <a:cxnLst/>
            <a:rect l="l" t="t" r="r" b="b"/>
            <a:pathLst>
              <a:path w="204" h="136">
                <a:moveTo>
                  <a:pt x="204" y="34"/>
                </a:moveTo>
                <a:lnTo>
                  <a:pt x="204" y="32"/>
                </a:lnTo>
                <a:lnTo>
                  <a:pt x="198" y="24"/>
                </a:lnTo>
                <a:lnTo>
                  <a:pt x="196" y="22"/>
                </a:lnTo>
                <a:lnTo>
                  <a:pt x="196" y="18"/>
                </a:lnTo>
                <a:lnTo>
                  <a:pt x="196" y="16"/>
                </a:lnTo>
                <a:lnTo>
                  <a:pt x="192" y="14"/>
                </a:lnTo>
                <a:lnTo>
                  <a:pt x="192" y="8"/>
                </a:lnTo>
                <a:lnTo>
                  <a:pt x="192" y="4"/>
                </a:lnTo>
                <a:lnTo>
                  <a:pt x="190" y="0"/>
                </a:lnTo>
                <a:lnTo>
                  <a:pt x="176" y="0"/>
                </a:lnTo>
                <a:lnTo>
                  <a:pt x="174" y="2"/>
                </a:lnTo>
                <a:lnTo>
                  <a:pt x="170" y="6"/>
                </a:lnTo>
                <a:lnTo>
                  <a:pt x="170" y="16"/>
                </a:lnTo>
                <a:lnTo>
                  <a:pt x="170" y="16"/>
                </a:lnTo>
                <a:lnTo>
                  <a:pt x="168" y="18"/>
                </a:lnTo>
                <a:lnTo>
                  <a:pt x="156" y="14"/>
                </a:lnTo>
                <a:lnTo>
                  <a:pt x="156" y="14"/>
                </a:lnTo>
                <a:lnTo>
                  <a:pt x="146" y="16"/>
                </a:lnTo>
                <a:lnTo>
                  <a:pt x="142" y="20"/>
                </a:lnTo>
                <a:lnTo>
                  <a:pt x="134" y="22"/>
                </a:lnTo>
                <a:lnTo>
                  <a:pt x="120" y="22"/>
                </a:lnTo>
                <a:lnTo>
                  <a:pt x="106" y="24"/>
                </a:lnTo>
                <a:lnTo>
                  <a:pt x="102" y="24"/>
                </a:lnTo>
                <a:lnTo>
                  <a:pt x="98" y="24"/>
                </a:lnTo>
                <a:lnTo>
                  <a:pt x="94" y="28"/>
                </a:lnTo>
                <a:lnTo>
                  <a:pt x="92" y="30"/>
                </a:lnTo>
                <a:lnTo>
                  <a:pt x="90" y="36"/>
                </a:lnTo>
                <a:lnTo>
                  <a:pt x="84" y="38"/>
                </a:lnTo>
                <a:lnTo>
                  <a:pt x="80" y="42"/>
                </a:lnTo>
                <a:lnTo>
                  <a:pt x="78" y="44"/>
                </a:lnTo>
                <a:lnTo>
                  <a:pt x="76" y="44"/>
                </a:lnTo>
                <a:lnTo>
                  <a:pt x="72" y="42"/>
                </a:lnTo>
                <a:lnTo>
                  <a:pt x="70" y="42"/>
                </a:lnTo>
                <a:lnTo>
                  <a:pt x="68" y="42"/>
                </a:lnTo>
                <a:lnTo>
                  <a:pt x="58" y="40"/>
                </a:lnTo>
                <a:lnTo>
                  <a:pt x="46" y="38"/>
                </a:lnTo>
                <a:lnTo>
                  <a:pt x="42" y="36"/>
                </a:lnTo>
                <a:lnTo>
                  <a:pt x="36" y="36"/>
                </a:lnTo>
                <a:lnTo>
                  <a:pt x="28" y="34"/>
                </a:lnTo>
                <a:lnTo>
                  <a:pt x="24" y="34"/>
                </a:lnTo>
                <a:lnTo>
                  <a:pt x="20" y="34"/>
                </a:lnTo>
                <a:lnTo>
                  <a:pt x="18" y="38"/>
                </a:lnTo>
                <a:lnTo>
                  <a:pt x="16" y="40"/>
                </a:lnTo>
                <a:lnTo>
                  <a:pt x="12" y="44"/>
                </a:lnTo>
                <a:lnTo>
                  <a:pt x="6" y="48"/>
                </a:lnTo>
                <a:lnTo>
                  <a:pt x="0" y="52"/>
                </a:lnTo>
                <a:lnTo>
                  <a:pt x="0" y="58"/>
                </a:lnTo>
                <a:lnTo>
                  <a:pt x="0" y="62"/>
                </a:lnTo>
                <a:lnTo>
                  <a:pt x="2" y="62"/>
                </a:lnTo>
                <a:lnTo>
                  <a:pt x="4" y="62"/>
                </a:lnTo>
                <a:lnTo>
                  <a:pt x="6" y="62"/>
                </a:lnTo>
                <a:lnTo>
                  <a:pt x="10" y="64"/>
                </a:lnTo>
                <a:lnTo>
                  <a:pt x="16" y="66"/>
                </a:lnTo>
                <a:lnTo>
                  <a:pt x="16" y="68"/>
                </a:lnTo>
                <a:lnTo>
                  <a:pt x="14" y="70"/>
                </a:lnTo>
                <a:lnTo>
                  <a:pt x="10" y="74"/>
                </a:lnTo>
                <a:lnTo>
                  <a:pt x="6" y="78"/>
                </a:lnTo>
                <a:lnTo>
                  <a:pt x="6" y="82"/>
                </a:lnTo>
                <a:lnTo>
                  <a:pt x="6" y="84"/>
                </a:lnTo>
                <a:lnTo>
                  <a:pt x="8" y="84"/>
                </a:lnTo>
                <a:lnTo>
                  <a:pt x="14" y="84"/>
                </a:lnTo>
                <a:lnTo>
                  <a:pt x="14" y="86"/>
                </a:lnTo>
                <a:lnTo>
                  <a:pt x="12" y="98"/>
                </a:lnTo>
                <a:lnTo>
                  <a:pt x="12" y="100"/>
                </a:lnTo>
                <a:lnTo>
                  <a:pt x="18" y="102"/>
                </a:lnTo>
                <a:lnTo>
                  <a:pt x="22" y="104"/>
                </a:lnTo>
                <a:lnTo>
                  <a:pt x="28" y="112"/>
                </a:lnTo>
                <a:lnTo>
                  <a:pt x="32" y="118"/>
                </a:lnTo>
                <a:lnTo>
                  <a:pt x="30" y="120"/>
                </a:lnTo>
                <a:lnTo>
                  <a:pt x="26" y="122"/>
                </a:lnTo>
                <a:lnTo>
                  <a:pt x="22" y="122"/>
                </a:lnTo>
                <a:lnTo>
                  <a:pt x="16" y="126"/>
                </a:lnTo>
                <a:lnTo>
                  <a:pt x="12" y="128"/>
                </a:lnTo>
                <a:lnTo>
                  <a:pt x="14" y="132"/>
                </a:lnTo>
                <a:lnTo>
                  <a:pt x="32" y="136"/>
                </a:lnTo>
                <a:lnTo>
                  <a:pt x="36" y="134"/>
                </a:lnTo>
                <a:lnTo>
                  <a:pt x="38" y="132"/>
                </a:lnTo>
                <a:lnTo>
                  <a:pt x="38" y="130"/>
                </a:lnTo>
                <a:lnTo>
                  <a:pt x="40" y="128"/>
                </a:lnTo>
                <a:lnTo>
                  <a:pt x="46" y="132"/>
                </a:lnTo>
                <a:lnTo>
                  <a:pt x="50" y="130"/>
                </a:lnTo>
                <a:lnTo>
                  <a:pt x="58" y="130"/>
                </a:lnTo>
                <a:lnTo>
                  <a:pt x="64" y="132"/>
                </a:lnTo>
                <a:lnTo>
                  <a:pt x="68" y="128"/>
                </a:lnTo>
                <a:lnTo>
                  <a:pt x="74" y="120"/>
                </a:lnTo>
                <a:lnTo>
                  <a:pt x="74" y="116"/>
                </a:lnTo>
                <a:lnTo>
                  <a:pt x="78" y="114"/>
                </a:lnTo>
                <a:lnTo>
                  <a:pt x="78" y="116"/>
                </a:lnTo>
                <a:lnTo>
                  <a:pt x="80" y="120"/>
                </a:lnTo>
                <a:lnTo>
                  <a:pt x="82" y="122"/>
                </a:lnTo>
                <a:lnTo>
                  <a:pt x="88" y="128"/>
                </a:lnTo>
                <a:lnTo>
                  <a:pt x="92" y="132"/>
                </a:lnTo>
                <a:lnTo>
                  <a:pt x="96" y="132"/>
                </a:lnTo>
                <a:lnTo>
                  <a:pt x="98" y="130"/>
                </a:lnTo>
                <a:lnTo>
                  <a:pt x="102" y="130"/>
                </a:lnTo>
                <a:lnTo>
                  <a:pt x="112" y="134"/>
                </a:lnTo>
                <a:lnTo>
                  <a:pt x="122" y="136"/>
                </a:lnTo>
                <a:lnTo>
                  <a:pt x="128" y="132"/>
                </a:lnTo>
                <a:lnTo>
                  <a:pt x="126" y="130"/>
                </a:lnTo>
                <a:lnTo>
                  <a:pt x="124" y="126"/>
                </a:lnTo>
                <a:lnTo>
                  <a:pt x="124" y="122"/>
                </a:lnTo>
                <a:lnTo>
                  <a:pt x="124" y="118"/>
                </a:lnTo>
                <a:lnTo>
                  <a:pt x="128" y="116"/>
                </a:lnTo>
                <a:lnTo>
                  <a:pt x="128" y="114"/>
                </a:lnTo>
                <a:lnTo>
                  <a:pt x="124" y="108"/>
                </a:lnTo>
                <a:lnTo>
                  <a:pt x="124" y="108"/>
                </a:lnTo>
                <a:lnTo>
                  <a:pt x="136" y="102"/>
                </a:lnTo>
                <a:lnTo>
                  <a:pt x="146" y="98"/>
                </a:lnTo>
                <a:lnTo>
                  <a:pt x="148" y="96"/>
                </a:lnTo>
                <a:lnTo>
                  <a:pt x="150" y="92"/>
                </a:lnTo>
                <a:lnTo>
                  <a:pt x="150" y="84"/>
                </a:lnTo>
                <a:lnTo>
                  <a:pt x="150" y="78"/>
                </a:lnTo>
                <a:lnTo>
                  <a:pt x="144" y="72"/>
                </a:lnTo>
                <a:lnTo>
                  <a:pt x="144" y="70"/>
                </a:lnTo>
                <a:lnTo>
                  <a:pt x="146" y="66"/>
                </a:lnTo>
                <a:lnTo>
                  <a:pt x="148" y="64"/>
                </a:lnTo>
                <a:lnTo>
                  <a:pt x="152" y="62"/>
                </a:lnTo>
                <a:lnTo>
                  <a:pt x="156" y="60"/>
                </a:lnTo>
                <a:lnTo>
                  <a:pt x="160" y="58"/>
                </a:lnTo>
                <a:lnTo>
                  <a:pt x="166" y="56"/>
                </a:lnTo>
                <a:lnTo>
                  <a:pt x="172" y="54"/>
                </a:lnTo>
                <a:lnTo>
                  <a:pt x="176" y="48"/>
                </a:lnTo>
                <a:lnTo>
                  <a:pt x="178" y="46"/>
                </a:lnTo>
                <a:lnTo>
                  <a:pt x="186" y="48"/>
                </a:lnTo>
                <a:lnTo>
                  <a:pt x="188" y="46"/>
                </a:lnTo>
                <a:lnTo>
                  <a:pt x="186" y="36"/>
                </a:lnTo>
                <a:lnTo>
                  <a:pt x="188" y="34"/>
                </a:lnTo>
                <a:lnTo>
                  <a:pt x="190" y="32"/>
                </a:lnTo>
                <a:lnTo>
                  <a:pt x="192" y="32"/>
                </a:lnTo>
                <a:lnTo>
                  <a:pt x="198" y="32"/>
                </a:lnTo>
                <a:lnTo>
                  <a:pt x="204" y="34"/>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53" name="CustomShape 78"/>
          <p:cNvSpPr/>
          <p:nvPr/>
        </p:nvSpPr>
        <p:spPr>
          <a:xfrm>
            <a:off x="3384000" y="2203560"/>
            <a:ext cx="860400" cy="1981800"/>
          </a:xfrm>
          <a:custGeom>
            <a:avLst/>
            <a:gdLst/>
            <a:ahLst/>
            <a:cxnLst/>
            <a:rect l="l" t="t" r="r" b="b"/>
            <a:pathLst>
              <a:path w="2034708" h="4679355">
                <a:moveTo>
                  <a:pt x="919668" y="4112305"/>
                </a:moveTo>
                <a:lnTo>
                  <a:pt x="929198" y="4117070"/>
                </a:lnTo>
                <a:lnTo>
                  <a:pt x="933964" y="4121835"/>
                </a:lnTo>
                <a:lnTo>
                  <a:pt x="924434" y="4131365"/>
                </a:lnTo>
                <a:lnTo>
                  <a:pt x="924434" y="4145661"/>
                </a:lnTo>
                <a:lnTo>
                  <a:pt x="924434" y="4155191"/>
                </a:lnTo>
                <a:lnTo>
                  <a:pt x="895844" y="4217138"/>
                </a:lnTo>
                <a:lnTo>
                  <a:pt x="891078" y="4260024"/>
                </a:lnTo>
                <a:lnTo>
                  <a:pt x="881548" y="4269554"/>
                </a:lnTo>
                <a:lnTo>
                  <a:pt x="843426" y="4417273"/>
                </a:lnTo>
                <a:lnTo>
                  <a:pt x="833896" y="4431568"/>
                </a:lnTo>
                <a:lnTo>
                  <a:pt x="829132" y="4426803"/>
                </a:lnTo>
                <a:lnTo>
                  <a:pt x="824366" y="4407742"/>
                </a:lnTo>
                <a:lnTo>
                  <a:pt x="819600" y="4360091"/>
                </a:lnTo>
                <a:lnTo>
                  <a:pt x="824366" y="4336266"/>
                </a:lnTo>
                <a:lnTo>
                  <a:pt x="857722" y="4250493"/>
                </a:lnTo>
                <a:lnTo>
                  <a:pt x="872018" y="4240963"/>
                </a:lnTo>
                <a:lnTo>
                  <a:pt x="895844" y="4188547"/>
                </a:lnTo>
                <a:lnTo>
                  <a:pt x="900608" y="4164721"/>
                </a:lnTo>
                <a:lnTo>
                  <a:pt x="910138" y="4140896"/>
                </a:lnTo>
                <a:lnTo>
                  <a:pt x="914904" y="4121835"/>
                </a:lnTo>
                <a:close/>
                <a:moveTo>
                  <a:pt x="1205576" y="3950290"/>
                </a:moveTo>
                <a:lnTo>
                  <a:pt x="1215104" y="3950290"/>
                </a:lnTo>
                <a:lnTo>
                  <a:pt x="1219872" y="3950290"/>
                </a:lnTo>
                <a:lnTo>
                  <a:pt x="1238932" y="3969351"/>
                </a:lnTo>
                <a:lnTo>
                  <a:pt x="1229400" y="3978881"/>
                </a:lnTo>
                <a:lnTo>
                  <a:pt x="1219872" y="3997941"/>
                </a:lnTo>
                <a:lnTo>
                  <a:pt x="1210340" y="4002706"/>
                </a:lnTo>
                <a:lnTo>
                  <a:pt x="1200812" y="4007472"/>
                </a:lnTo>
                <a:lnTo>
                  <a:pt x="1196044" y="4074183"/>
                </a:lnTo>
                <a:lnTo>
                  <a:pt x="1215104" y="4098009"/>
                </a:lnTo>
                <a:lnTo>
                  <a:pt x="1205576" y="4102774"/>
                </a:lnTo>
                <a:lnTo>
                  <a:pt x="1196044" y="4107539"/>
                </a:lnTo>
                <a:lnTo>
                  <a:pt x="1186516" y="4121835"/>
                </a:lnTo>
                <a:lnTo>
                  <a:pt x="1181748" y="4145660"/>
                </a:lnTo>
                <a:lnTo>
                  <a:pt x="1157924" y="4155191"/>
                </a:lnTo>
                <a:lnTo>
                  <a:pt x="1148392" y="4164721"/>
                </a:lnTo>
                <a:lnTo>
                  <a:pt x="1134100" y="4188547"/>
                </a:lnTo>
                <a:lnTo>
                  <a:pt x="1124568" y="4221903"/>
                </a:lnTo>
                <a:lnTo>
                  <a:pt x="1110272" y="4231433"/>
                </a:lnTo>
                <a:lnTo>
                  <a:pt x="1095976" y="4236198"/>
                </a:lnTo>
                <a:lnTo>
                  <a:pt x="1105508" y="4212372"/>
                </a:lnTo>
                <a:lnTo>
                  <a:pt x="1115036" y="4188547"/>
                </a:lnTo>
                <a:lnTo>
                  <a:pt x="1105508" y="4174251"/>
                </a:lnTo>
                <a:lnTo>
                  <a:pt x="1095976" y="4150426"/>
                </a:lnTo>
                <a:lnTo>
                  <a:pt x="1086448" y="4136130"/>
                </a:lnTo>
                <a:lnTo>
                  <a:pt x="1095976" y="4117070"/>
                </a:lnTo>
                <a:lnTo>
                  <a:pt x="1091212" y="4083714"/>
                </a:lnTo>
                <a:lnTo>
                  <a:pt x="1095976" y="4055123"/>
                </a:lnTo>
                <a:lnTo>
                  <a:pt x="1105508" y="4036062"/>
                </a:lnTo>
                <a:lnTo>
                  <a:pt x="1115036" y="4021767"/>
                </a:lnTo>
                <a:lnTo>
                  <a:pt x="1134100" y="3993176"/>
                </a:lnTo>
                <a:lnTo>
                  <a:pt x="1157924" y="3974116"/>
                </a:lnTo>
                <a:lnTo>
                  <a:pt x="1186516" y="3964585"/>
                </a:lnTo>
                <a:lnTo>
                  <a:pt x="1196044" y="3974116"/>
                </a:lnTo>
                <a:close/>
                <a:moveTo>
                  <a:pt x="1248460" y="3926465"/>
                </a:moveTo>
                <a:lnTo>
                  <a:pt x="1272288" y="3931230"/>
                </a:lnTo>
                <a:lnTo>
                  <a:pt x="1281816" y="3935995"/>
                </a:lnTo>
                <a:lnTo>
                  <a:pt x="1253228" y="3945526"/>
                </a:lnTo>
                <a:lnTo>
                  <a:pt x="1248460" y="3964586"/>
                </a:lnTo>
                <a:lnTo>
                  <a:pt x="1243696" y="3964586"/>
                </a:lnTo>
                <a:lnTo>
                  <a:pt x="1234168" y="3950291"/>
                </a:lnTo>
                <a:close/>
                <a:moveTo>
                  <a:pt x="1143630" y="3592906"/>
                </a:moveTo>
                <a:lnTo>
                  <a:pt x="1148396" y="3592906"/>
                </a:lnTo>
                <a:lnTo>
                  <a:pt x="1138864" y="3616732"/>
                </a:lnTo>
                <a:lnTo>
                  <a:pt x="1129334" y="3616732"/>
                </a:lnTo>
                <a:lnTo>
                  <a:pt x="1124568" y="3616732"/>
                </a:lnTo>
                <a:lnTo>
                  <a:pt x="1129334" y="3602436"/>
                </a:lnTo>
                <a:lnTo>
                  <a:pt x="1134100" y="3597671"/>
                </a:lnTo>
                <a:close/>
                <a:moveTo>
                  <a:pt x="1167456" y="3454717"/>
                </a:moveTo>
                <a:lnTo>
                  <a:pt x="1181752" y="3459482"/>
                </a:lnTo>
                <a:lnTo>
                  <a:pt x="1181752" y="3464247"/>
                </a:lnTo>
                <a:lnTo>
                  <a:pt x="1172220" y="3473778"/>
                </a:lnTo>
                <a:lnTo>
                  <a:pt x="1167456" y="3478543"/>
                </a:lnTo>
                <a:lnTo>
                  <a:pt x="1162690" y="3488073"/>
                </a:lnTo>
                <a:lnTo>
                  <a:pt x="1157924" y="3478543"/>
                </a:lnTo>
                <a:lnTo>
                  <a:pt x="1157924" y="3473778"/>
                </a:lnTo>
                <a:lnTo>
                  <a:pt x="1162690" y="3464247"/>
                </a:lnTo>
                <a:close/>
                <a:moveTo>
                  <a:pt x="1481954" y="0"/>
                </a:moveTo>
                <a:lnTo>
                  <a:pt x="1524840" y="23826"/>
                </a:lnTo>
                <a:lnTo>
                  <a:pt x="1524840" y="33356"/>
                </a:lnTo>
                <a:lnTo>
                  <a:pt x="1524840" y="42886"/>
                </a:lnTo>
                <a:lnTo>
                  <a:pt x="1529604" y="57182"/>
                </a:lnTo>
                <a:lnTo>
                  <a:pt x="1567726" y="90537"/>
                </a:lnTo>
                <a:lnTo>
                  <a:pt x="1582020" y="109598"/>
                </a:lnTo>
                <a:lnTo>
                  <a:pt x="1605846" y="138189"/>
                </a:lnTo>
                <a:lnTo>
                  <a:pt x="1615376" y="152484"/>
                </a:lnTo>
                <a:lnTo>
                  <a:pt x="1639202" y="166779"/>
                </a:lnTo>
                <a:lnTo>
                  <a:pt x="1653498" y="185840"/>
                </a:lnTo>
                <a:lnTo>
                  <a:pt x="1672558" y="200135"/>
                </a:lnTo>
                <a:lnTo>
                  <a:pt x="1696384" y="223961"/>
                </a:lnTo>
                <a:lnTo>
                  <a:pt x="1729740" y="243021"/>
                </a:lnTo>
                <a:lnTo>
                  <a:pt x="1753566" y="247787"/>
                </a:lnTo>
                <a:lnTo>
                  <a:pt x="1820278" y="281142"/>
                </a:lnTo>
                <a:lnTo>
                  <a:pt x="1829808" y="290673"/>
                </a:lnTo>
                <a:lnTo>
                  <a:pt x="1848868" y="309733"/>
                </a:lnTo>
                <a:lnTo>
                  <a:pt x="1867928" y="333559"/>
                </a:lnTo>
                <a:lnTo>
                  <a:pt x="1882224" y="385975"/>
                </a:lnTo>
                <a:lnTo>
                  <a:pt x="1901284" y="390740"/>
                </a:lnTo>
                <a:lnTo>
                  <a:pt x="1910814" y="405036"/>
                </a:lnTo>
                <a:lnTo>
                  <a:pt x="1925110" y="438392"/>
                </a:lnTo>
                <a:lnTo>
                  <a:pt x="1953700" y="462217"/>
                </a:lnTo>
                <a:lnTo>
                  <a:pt x="1953700" y="471748"/>
                </a:lnTo>
                <a:lnTo>
                  <a:pt x="1929876" y="495573"/>
                </a:lnTo>
                <a:lnTo>
                  <a:pt x="1929876" y="528929"/>
                </a:lnTo>
                <a:lnTo>
                  <a:pt x="1929876" y="571815"/>
                </a:lnTo>
                <a:lnTo>
                  <a:pt x="1939406" y="600406"/>
                </a:lnTo>
                <a:lnTo>
                  <a:pt x="1939406" y="614701"/>
                </a:lnTo>
                <a:lnTo>
                  <a:pt x="1934640" y="624232"/>
                </a:lnTo>
                <a:lnTo>
                  <a:pt x="1925110" y="643292"/>
                </a:lnTo>
                <a:lnTo>
                  <a:pt x="1925110" y="657588"/>
                </a:lnTo>
                <a:lnTo>
                  <a:pt x="1925110" y="667118"/>
                </a:lnTo>
                <a:lnTo>
                  <a:pt x="1925110" y="671883"/>
                </a:lnTo>
                <a:lnTo>
                  <a:pt x="1939406" y="671883"/>
                </a:lnTo>
                <a:lnTo>
                  <a:pt x="1958466" y="671883"/>
                </a:lnTo>
                <a:lnTo>
                  <a:pt x="1967996" y="681413"/>
                </a:lnTo>
                <a:lnTo>
                  <a:pt x="1972762" y="719534"/>
                </a:lnTo>
                <a:lnTo>
                  <a:pt x="1972762" y="729064"/>
                </a:lnTo>
                <a:lnTo>
                  <a:pt x="1953700" y="743360"/>
                </a:lnTo>
                <a:lnTo>
                  <a:pt x="1953700" y="757655"/>
                </a:lnTo>
                <a:lnTo>
                  <a:pt x="1948936" y="776716"/>
                </a:lnTo>
                <a:lnTo>
                  <a:pt x="1953700" y="800541"/>
                </a:lnTo>
                <a:lnTo>
                  <a:pt x="1958466" y="824367"/>
                </a:lnTo>
                <a:lnTo>
                  <a:pt x="1972762" y="852958"/>
                </a:lnTo>
                <a:lnTo>
                  <a:pt x="1991822" y="876783"/>
                </a:lnTo>
                <a:lnTo>
                  <a:pt x="2001352" y="900609"/>
                </a:lnTo>
                <a:lnTo>
                  <a:pt x="2006118" y="914904"/>
                </a:lnTo>
                <a:lnTo>
                  <a:pt x="2006118" y="929200"/>
                </a:lnTo>
                <a:lnTo>
                  <a:pt x="2001352" y="943495"/>
                </a:lnTo>
                <a:lnTo>
                  <a:pt x="1991822" y="967321"/>
                </a:lnTo>
                <a:lnTo>
                  <a:pt x="1991822" y="1000677"/>
                </a:lnTo>
                <a:lnTo>
                  <a:pt x="1987056" y="1019737"/>
                </a:lnTo>
                <a:lnTo>
                  <a:pt x="1972762" y="1048328"/>
                </a:lnTo>
                <a:lnTo>
                  <a:pt x="1963232" y="1057858"/>
                </a:lnTo>
                <a:lnTo>
                  <a:pt x="1958466" y="1072154"/>
                </a:lnTo>
                <a:lnTo>
                  <a:pt x="1958466" y="1095979"/>
                </a:lnTo>
                <a:lnTo>
                  <a:pt x="1963232" y="1124570"/>
                </a:lnTo>
                <a:lnTo>
                  <a:pt x="1963232" y="1143630"/>
                </a:lnTo>
                <a:lnTo>
                  <a:pt x="1967996" y="1162691"/>
                </a:lnTo>
                <a:lnTo>
                  <a:pt x="1972762" y="1167456"/>
                </a:lnTo>
                <a:lnTo>
                  <a:pt x="1996588" y="1186517"/>
                </a:lnTo>
                <a:lnTo>
                  <a:pt x="2010882" y="1219873"/>
                </a:lnTo>
                <a:lnTo>
                  <a:pt x="2015648" y="1248463"/>
                </a:lnTo>
                <a:lnTo>
                  <a:pt x="2034708" y="1319940"/>
                </a:lnTo>
                <a:lnTo>
                  <a:pt x="1991822" y="1324705"/>
                </a:lnTo>
                <a:lnTo>
                  <a:pt x="1963232" y="1310410"/>
                </a:lnTo>
                <a:lnTo>
                  <a:pt x="1944170" y="1319940"/>
                </a:lnTo>
                <a:lnTo>
                  <a:pt x="1920344" y="1319940"/>
                </a:lnTo>
                <a:lnTo>
                  <a:pt x="1886990" y="1324705"/>
                </a:lnTo>
                <a:lnTo>
                  <a:pt x="1877458" y="1339001"/>
                </a:lnTo>
                <a:lnTo>
                  <a:pt x="1867928" y="1343766"/>
                </a:lnTo>
                <a:lnTo>
                  <a:pt x="1839338" y="1324705"/>
                </a:lnTo>
                <a:lnTo>
                  <a:pt x="1815512" y="1291350"/>
                </a:lnTo>
                <a:lnTo>
                  <a:pt x="1796452" y="1319940"/>
                </a:lnTo>
                <a:lnTo>
                  <a:pt x="1782156" y="1319940"/>
                </a:lnTo>
                <a:lnTo>
                  <a:pt x="1767860" y="1300880"/>
                </a:lnTo>
                <a:lnTo>
                  <a:pt x="1758330" y="1296115"/>
                </a:lnTo>
                <a:lnTo>
                  <a:pt x="1753566" y="1305645"/>
                </a:lnTo>
                <a:lnTo>
                  <a:pt x="1748800" y="1324705"/>
                </a:lnTo>
                <a:lnTo>
                  <a:pt x="1744036" y="1339001"/>
                </a:lnTo>
                <a:lnTo>
                  <a:pt x="1739270" y="1348531"/>
                </a:lnTo>
                <a:lnTo>
                  <a:pt x="1739270" y="1386652"/>
                </a:lnTo>
                <a:lnTo>
                  <a:pt x="1739270" y="1396182"/>
                </a:lnTo>
                <a:lnTo>
                  <a:pt x="1710680" y="1391417"/>
                </a:lnTo>
                <a:lnTo>
                  <a:pt x="1710680" y="1400947"/>
                </a:lnTo>
                <a:lnTo>
                  <a:pt x="1720210" y="1405712"/>
                </a:lnTo>
                <a:lnTo>
                  <a:pt x="1720210" y="1415243"/>
                </a:lnTo>
                <a:lnTo>
                  <a:pt x="1710680" y="1424773"/>
                </a:lnTo>
                <a:lnTo>
                  <a:pt x="1686854" y="1420008"/>
                </a:lnTo>
                <a:lnTo>
                  <a:pt x="1682088" y="1429538"/>
                </a:lnTo>
                <a:lnTo>
                  <a:pt x="1686854" y="1443834"/>
                </a:lnTo>
                <a:lnTo>
                  <a:pt x="1682088" y="1458129"/>
                </a:lnTo>
                <a:lnTo>
                  <a:pt x="1677324" y="1462894"/>
                </a:lnTo>
                <a:lnTo>
                  <a:pt x="1648732" y="1472424"/>
                </a:lnTo>
                <a:lnTo>
                  <a:pt x="1629672" y="1467659"/>
                </a:lnTo>
                <a:lnTo>
                  <a:pt x="1624908" y="1477190"/>
                </a:lnTo>
                <a:lnTo>
                  <a:pt x="1624908" y="1486720"/>
                </a:lnTo>
                <a:lnTo>
                  <a:pt x="1624908" y="1496250"/>
                </a:lnTo>
                <a:lnTo>
                  <a:pt x="1634438" y="1501015"/>
                </a:lnTo>
                <a:lnTo>
                  <a:pt x="1639202" y="1510545"/>
                </a:lnTo>
                <a:lnTo>
                  <a:pt x="1634438" y="1524841"/>
                </a:lnTo>
                <a:lnTo>
                  <a:pt x="1629672" y="1524841"/>
                </a:lnTo>
                <a:lnTo>
                  <a:pt x="1610612" y="1501015"/>
                </a:lnTo>
                <a:lnTo>
                  <a:pt x="1605846" y="1501015"/>
                </a:lnTo>
                <a:lnTo>
                  <a:pt x="1610612" y="1515310"/>
                </a:lnTo>
                <a:lnTo>
                  <a:pt x="1620142" y="1529606"/>
                </a:lnTo>
                <a:lnTo>
                  <a:pt x="1624908" y="1543901"/>
                </a:lnTo>
                <a:lnTo>
                  <a:pt x="1629672" y="1558197"/>
                </a:lnTo>
                <a:lnTo>
                  <a:pt x="1629672" y="1572492"/>
                </a:lnTo>
                <a:lnTo>
                  <a:pt x="1605846" y="1615378"/>
                </a:lnTo>
                <a:lnTo>
                  <a:pt x="1586786" y="1643969"/>
                </a:lnTo>
                <a:lnTo>
                  <a:pt x="1572490" y="1667794"/>
                </a:lnTo>
                <a:lnTo>
                  <a:pt x="1562960" y="1691620"/>
                </a:lnTo>
                <a:lnTo>
                  <a:pt x="1572490" y="1701150"/>
                </a:lnTo>
                <a:lnTo>
                  <a:pt x="1586786" y="1720211"/>
                </a:lnTo>
                <a:lnTo>
                  <a:pt x="1591552" y="1758332"/>
                </a:lnTo>
                <a:lnTo>
                  <a:pt x="1601082" y="1786923"/>
                </a:lnTo>
                <a:lnTo>
                  <a:pt x="1620142" y="1815514"/>
                </a:lnTo>
                <a:lnTo>
                  <a:pt x="1620142" y="1834574"/>
                </a:lnTo>
                <a:lnTo>
                  <a:pt x="1615376" y="1848869"/>
                </a:lnTo>
                <a:lnTo>
                  <a:pt x="1582020" y="1877460"/>
                </a:lnTo>
                <a:lnTo>
                  <a:pt x="1543900" y="1920346"/>
                </a:lnTo>
                <a:lnTo>
                  <a:pt x="1505780" y="2029944"/>
                </a:lnTo>
                <a:lnTo>
                  <a:pt x="1491484" y="2044240"/>
                </a:lnTo>
                <a:lnTo>
                  <a:pt x="1453362" y="2063300"/>
                </a:lnTo>
                <a:lnTo>
                  <a:pt x="1443832" y="2082361"/>
                </a:lnTo>
                <a:lnTo>
                  <a:pt x="1415242" y="2101421"/>
                </a:lnTo>
                <a:lnTo>
                  <a:pt x="1372356" y="2120482"/>
                </a:lnTo>
                <a:lnTo>
                  <a:pt x="1348530" y="2144307"/>
                </a:lnTo>
                <a:lnTo>
                  <a:pt x="1343764" y="2172898"/>
                </a:lnTo>
                <a:lnTo>
                  <a:pt x="1329470" y="2172898"/>
                </a:lnTo>
                <a:lnTo>
                  <a:pt x="1319940" y="2163368"/>
                </a:lnTo>
                <a:lnTo>
                  <a:pt x="1305644" y="2158603"/>
                </a:lnTo>
                <a:lnTo>
                  <a:pt x="1305644" y="2172898"/>
                </a:lnTo>
                <a:lnTo>
                  <a:pt x="1305644" y="2187194"/>
                </a:lnTo>
                <a:lnTo>
                  <a:pt x="1281818" y="2168133"/>
                </a:lnTo>
                <a:lnTo>
                  <a:pt x="1272288" y="2182428"/>
                </a:lnTo>
                <a:lnTo>
                  <a:pt x="1267522" y="2211019"/>
                </a:lnTo>
                <a:lnTo>
                  <a:pt x="1234166" y="2249140"/>
                </a:lnTo>
                <a:lnTo>
                  <a:pt x="1200810" y="2244375"/>
                </a:lnTo>
                <a:lnTo>
                  <a:pt x="1196046" y="2249140"/>
                </a:lnTo>
                <a:lnTo>
                  <a:pt x="1205576" y="2253905"/>
                </a:lnTo>
                <a:lnTo>
                  <a:pt x="1205576" y="2263436"/>
                </a:lnTo>
                <a:lnTo>
                  <a:pt x="1200810" y="2263436"/>
                </a:lnTo>
                <a:lnTo>
                  <a:pt x="1191280" y="2263436"/>
                </a:lnTo>
                <a:lnTo>
                  <a:pt x="1176986" y="2272966"/>
                </a:lnTo>
                <a:lnTo>
                  <a:pt x="1167456" y="2272966"/>
                </a:lnTo>
                <a:lnTo>
                  <a:pt x="1162690" y="2292026"/>
                </a:lnTo>
                <a:lnTo>
                  <a:pt x="1153160" y="2311087"/>
                </a:lnTo>
                <a:lnTo>
                  <a:pt x="1134100" y="2320617"/>
                </a:lnTo>
                <a:lnTo>
                  <a:pt x="1124568" y="2320617"/>
                </a:lnTo>
                <a:lnTo>
                  <a:pt x="1119804" y="2334912"/>
                </a:lnTo>
                <a:lnTo>
                  <a:pt x="1153160" y="2334912"/>
                </a:lnTo>
                <a:lnTo>
                  <a:pt x="1148394" y="2349208"/>
                </a:lnTo>
                <a:lnTo>
                  <a:pt x="1148394" y="2358738"/>
                </a:lnTo>
                <a:lnTo>
                  <a:pt x="1143630" y="2368268"/>
                </a:lnTo>
                <a:lnTo>
                  <a:pt x="1110274" y="2387329"/>
                </a:lnTo>
                <a:lnTo>
                  <a:pt x="1105508" y="2396859"/>
                </a:lnTo>
                <a:lnTo>
                  <a:pt x="1100744" y="2406389"/>
                </a:lnTo>
                <a:lnTo>
                  <a:pt x="1081682" y="2406389"/>
                </a:lnTo>
                <a:lnTo>
                  <a:pt x="1086448" y="2396859"/>
                </a:lnTo>
                <a:lnTo>
                  <a:pt x="1086448" y="2387329"/>
                </a:lnTo>
                <a:lnTo>
                  <a:pt x="1062622" y="2392094"/>
                </a:lnTo>
                <a:lnTo>
                  <a:pt x="1057858" y="2373034"/>
                </a:lnTo>
                <a:lnTo>
                  <a:pt x="1053092" y="2377798"/>
                </a:lnTo>
                <a:lnTo>
                  <a:pt x="1057858" y="2392094"/>
                </a:lnTo>
                <a:lnTo>
                  <a:pt x="1062622" y="2406389"/>
                </a:lnTo>
                <a:lnTo>
                  <a:pt x="1067388" y="2430215"/>
                </a:lnTo>
                <a:lnTo>
                  <a:pt x="1062622" y="2444510"/>
                </a:lnTo>
                <a:lnTo>
                  <a:pt x="1057858" y="2449276"/>
                </a:lnTo>
                <a:lnTo>
                  <a:pt x="1062622" y="2454040"/>
                </a:lnTo>
                <a:lnTo>
                  <a:pt x="1072152" y="2458806"/>
                </a:lnTo>
                <a:lnTo>
                  <a:pt x="1076918" y="2468336"/>
                </a:lnTo>
                <a:lnTo>
                  <a:pt x="1062622" y="2477866"/>
                </a:lnTo>
                <a:lnTo>
                  <a:pt x="1048326" y="2501692"/>
                </a:lnTo>
                <a:lnTo>
                  <a:pt x="1029266" y="2501692"/>
                </a:lnTo>
                <a:lnTo>
                  <a:pt x="1014970" y="2520752"/>
                </a:lnTo>
                <a:lnTo>
                  <a:pt x="1005440" y="2520752"/>
                </a:lnTo>
                <a:lnTo>
                  <a:pt x="995910" y="2511222"/>
                </a:lnTo>
                <a:lnTo>
                  <a:pt x="981616" y="2501692"/>
                </a:lnTo>
                <a:lnTo>
                  <a:pt x="976850" y="2515987"/>
                </a:lnTo>
                <a:lnTo>
                  <a:pt x="976850" y="2530282"/>
                </a:lnTo>
                <a:lnTo>
                  <a:pt x="981616" y="2558873"/>
                </a:lnTo>
                <a:lnTo>
                  <a:pt x="1000676" y="2582699"/>
                </a:lnTo>
                <a:lnTo>
                  <a:pt x="1014970" y="2592229"/>
                </a:lnTo>
                <a:lnTo>
                  <a:pt x="1005440" y="2601760"/>
                </a:lnTo>
                <a:lnTo>
                  <a:pt x="995910" y="2616055"/>
                </a:lnTo>
                <a:lnTo>
                  <a:pt x="986380" y="2663706"/>
                </a:lnTo>
                <a:lnTo>
                  <a:pt x="981616" y="2682767"/>
                </a:lnTo>
                <a:lnTo>
                  <a:pt x="976850" y="2716122"/>
                </a:lnTo>
                <a:lnTo>
                  <a:pt x="976850" y="2744713"/>
                </a:lnTo>
                <a:lnTo>
                  <a:pt x="981616" y="2759009"/>
                </a:lnTo>
                <a:lnTo>
                  <a:pt x="991146" y="2778069"/>
                </a:lnTo>
                <a:lnTo>
                  <a:pt x="967320" y="2773304"/>
                </a:lnTo>
                <a:lnTo>
                  <a:pt x="948260" y="2763774"/>
                </a:lnTo>
                <a:lnTo>
                  <a:pt x="948260" y="2782834"/>
                </a:lnTo>
                <a:lnTo>
                  <a:pt x="938728" y="2811425"/>
                </a:lnTo>
                <a:lnTo>
                  <a:pt x="938728" y="2835251"/>
                </a:lnTo>
                <a:lnTo>
                  <a:pt x="943494" y="2849546"/>
                </a:lnTo>
                <a:lnTo>
                  <a:pt x="938728" y="2873372"/>
                </a:lnTo>
                <a:lnTo>
                  <a:pt x="943494" y="2882902"/>
                </a:lnTo>
                <a:lnTo>
                  <a:pt x="948260" y="2897198"/>
                </a:lnTo>
                <a:lnTo>
                  <a:pt x="943494" y="2906728"/>
                </a:lnTo>
                <a:lnTo>
                  <a:pt x="943494" y="2916258"/>
                </a:lnTo>
                <a:lnTo>
                  <a:pt x="943494" y="2949614"/>
                </a:lnTo>
                <a:lnTo>
                  <a:pt x="948260" y="3002030"/>
                </a:lnTo>
                <a:lnTo>
                  <a:pt x="948260" y="3016326"/>
                </a:lnTo>
                <a:lnTo>
                  <a:pt x="957790" y="3059212"/>
                </a:lnTo>
                <a:lnTo>
                  <a:pt x="957790" y="3073507"/>
                </a:lnTo>
                <a:lnTo>
                  <a:pt x="957790" y="3092568"/>
                </a:lnTo>
                <a:lnTo>
                  <a:pt x="972084" y="3116393"/>
                </a:lnTo>
                <a:lnTo>
                  <a:pt x="986380" y="3111628"/>
                </a:lnTo>
                <a:lnTo>
                  <a:pt x="1000676" y="3111628"/>
                </a:lnTo>
                <a:lnTo>
                  <a:pt x="1010206" y="3116393"/>
                </a:lnTo>
                <a:lnTo>
                  <a:pt x="1014970" y="3130689"/>
                </a:lnTo>
                <a:lnTo>
                  <a:pt x="1019736" y="3149749"/>
                </a:lnTo>
                <a:lnTo>
                  <a:pt x="1034032" y="3144984"/>
                </a:lnTo>
                <a:lnTo>
                  <a:pt x="1053092" y="3135454"/>
                </a:lnTo>
                <a:lnTo>
                  <a:pt x="1067388" y="3130689"/>
                </a:lnTo>
                <a:lnTo>
                  <a:pt x="1072152" y="3154514"/>
                </a:lnTo>
                <a:lnTo>
                  <a:pt x="1095978" y="3187870"/>
                </a:lnTo>
                <a:lnTo>
                  <a:pt x="1110274" y="3202166"/>
                </a:lnTo>
                <a:lnTo>
                  <a:pt x="1134100" y="3211696"/>
                </a:lnTo>
                <a:lnTo>
                  <a:pt x="1157924" y="3235522"/>
                </a:lnTo>
                <a:lnTo>
                  <a:pt x="1157924" y="3268877"/>
                </a:lnTo>
                <a:lnTo>
                  <a:pt x="1167456" y="3278408"/>
                </a:lnTo>
                <a:lnTo>
                  <a:pt x="1196046" y="3292703"/>
                </a:lnTo>
                <a:lnTo>
                  <a:pt x="1205576" y="3306998"/>
                </a:lnTo>
                <a:lnTo>
                  <a:pt x="1210342" y="3321294"/>
                </a:lnTo>
                <a:lnTo>
                  <a:pt x="1219872" y="3335589"/>
                </a:lnTo>
                <a:lnTo>
                  <a:pt x="1229402" y="3368945"/>
                </a:lnTo>
                <a:lnTo>
                  <a:pt x="1224636" y="3392771"/>
                </a:lnTo>
                <a:lnTo>
                  <a:pt x="1210342" y="3397536"/>
                </a:lnTo>
                <a:lnTo>
                  <a:pt x="1186516" y="3421362"/>
                </a:lnTo>
                <a:lnTo>
                  <a:pt x="1172220" y="3440422"/>
                </a:lnTo>
                <a:lnTo>
                  <a:pt x="1162690" y="3449952"/>
                </a:lnTo>
                <a:lnTo>
                  <a:pt x="1134100" y="3473778"/>
                </a:lnTo>
                <a:lnTo>
                  <a:pt x="1124568" y="3478543"/>
                </a:lnTo>
                <a:lnTo>
                  <a:pt x="1115038" y="3488073"/>
                </a:lnTo>
                <a:lnTo>
                  <a:pt x="1105508" y="3497604"/>
                </a:lnTo>
                <a:lnTo>
                  <a:pt x="1095978" y="3492838"/>
                </a:lnTo>
                <a:lnTo>
                  <a:pt x="1067388" y="3511899"/>
                </a:lnTo>
                <a:lnTo>
                  <a:pt x="1067388" y="3521429"/>
                </a:lnTo>
                <a:lnTo>
                  <a:pt x="1091212" y="3526194"/>
                </a:lnTo>
                <a:lnTo>
                  <a:pt x="1105508" y="3521429"/>
                </a:lnTo>
                <a:lnTo>
                  <a:pt x="1115038" y="3511899"/>
                </a:lnTo>
                <a:lnTo>
                  <a:pt x="1124568" y="3507134"/>
                </a:lnTo>
                <a:lnTo>
                  <a:pt x="1134100" y="3511899"/>
                </a:lnTo>
                <a:lnTo>
                  <a:pt x="1143630" y="3502368"/>
                </a:lnTo>
                <a:lnTo>
                  <a:pt x="1153160" y="3497604"/>
                </a:lnTo>
                <a:lnTo>
                  <a:pt x="1157924" y="3502368"/>
                </a:lnTo>
                <a:lnTo>
                  <a:pt x="1167456" y="3526194"/>
                </a:lnTo>
                <a:lnTo>
                  <a:pt x="1148394" y="3535724"/>
                </a:lnTo>
                <a:lnTo>
                  <a:pt x="1138864" y="3535724"/>
                </a:lnTo>
                <a:lnTo>
                  <a:pt x="1129334" y="3569080"/>
                </a:lnTo>
                <a:lnTo>
                  <a:pt x="1124568" y="3583376"/>
                </a:lnTo>
                <a:lnTo>
                  <a:pt x="1115038" y="3592906"/>
                </a:lnTo>
                <a:lnTo>
                  <a:pt x="1086448" y="3607201"/>
                </a:lnTo>
                <a:lnTo>
                  <a:pt x="1067388" y="3621497"/>
                </a:lnTo>
                <a:lnTo>
                  <a:pt x="1043562" y="3635792"/>
                </a:lnTo>
                <a:lnTo>
                  <a:pt x="1034032" y="3635792"/>
                </a:lnTo>
                <a:lnTo>
                  <a:pt x="1019736" y="3650088"/>
                </a:lnTo>
                <a:lnTo>
                  <a:pt x="986380" y="3664383"/>
                </a:lnTo>
                <a:lnTo>
                  <a:pt x="972084" y="3688208"/>
                </a:lnTo>
                <a:lnTo>
                  <a:pt x="933964" y="3712034"/>
                </a:lnTo>
                <a:lnTo>
                  <a:pt x="914904" y="3726330"/>
                </a:lnTo>
                <a:lnTo>
                  <a:pt x="857722" y="3731095"/>
                </a:lnTo>
                <a:lnTo>
                  <a:pt x="810070" y="3726330"/>
                </a:lnTo>
                <a:lnTo>
                  <a:pt x="795776" y="3731095"/>
                </a:lnTo>
                <a:lnTo>
                  <a:pt x="810070" y="3735860"/>
                </a:lnTo>
                <a:lnTo>
                  <a:pt x="819600" y="3745390"/>
                </a:lnTo>
                <a:lnTo>
                  <a:pt x="833896" y="3740625"/>
                </a:lnTo>
                <a:lnTo>
                  <a:pt x="867252" y="3745390"/>
                </a:lnTo>
                <a:lnTo>
                  <a:pt x="881548" y="3750155"/>
                </a:lnTo>
                <a:lnTo>
                  <a:pt x="905372" y="3778746"/>
                </a:lnTo>
                <a:lnTo>
                  <a:pt x="886312" y="3788276"/>
                </a:lnTo>
                <a:lnTo>
                  <a:pt x="862486" y="3793041"/>
                </a:lnTo>
                <a:lnTo>
                  <a:pt x="872018" y="3831162"/>
                </a:lnTo>
                <a:lnTo>
                  <a:pt x="881548" y="3859753"/>
                </a:lnTo>
                <a:lnTo>
                  <a:pt x="867252" y="3874048"/>
                </a:lnTo>
                <a:lnTo>
                  <a:pt x="867252" y="3945526"/>
                </a:lnTo>
                <a:lnTo>
                  <a:pt x="852956" y="3950290"/>
                </a:lnTo>
                <a:lnTo>
                  <a:pt x="848192" y="3978881"/>
                </a:lnTo>
                <a:lnTo>
                  <a:pt x="852956" y="3993177"/>
                </a:lnTo>
                <a:lnTo>
                  <a:pt x="852956" y="4026532"/>
                </a:lnTo>
                <a:lnTo>
                  <a:pt x="852956" y="4050358"/>
                </a:lnTo>
                <a:lnTo>
                  <a:pt x="862486" y="4069419"/>
                </a:lnTo>
                <a:lnTo>
                  <a:pt x="857722" y="4088479"/>
                </a:lnTo>
                <a:lnTo>
                  <a:pt x="833896" y="4136130"/>
                </a:lnTo>
                <a:lnTo>
                  <a:pt x="833896" y="4159956"/>
                </a:lnTo>
                <a:lnTo>
                  <a:pt x="838662" y="4174252"/>
                </a:lnTo>
                <a:lnTo>
                  <a:pt x="843426" y="4193312"/>
                </a:lnTo>
                <a:lnTo>
                  <a:pt x="833896" y="4236198"/>
                </a:lnTo>
                <a:lnTo>
                  <a:pt x="824366" y="4269554"/>
                </a:lnTo>
                <a:lnTo>
                  <a:pt x="814836" y="4298145"/>
                </a:lnTo>
                <a:lnTo>
                  <a:pt x="795776" y="4331500"/>
                </a:lnTo>
                <a:lnTo>
                  <a:pt x="781480" y="4355326"/>
                </a:lnTo>
                <a:lnTo>
                  <a:pt x="757654" y="4436334"/>
                </a:lnTo>
                <a:lnTo>
                  <a:pt x="748124" y="4450629"/>
                </a:lnTo>
                <a:lnTo>
                  <a:pt x="733828" y="4460159"/>
                </a:lnTo>
                <a:lnTo>
                  <a:pt x="714768" y="4450629"/>
                </a:lnTo>
                <a:lnTo>
                  <a:pt x="700472" y="4445864"/>
                </a:lnTo>
                <a:lnTo>
                  <a:pt x="681412" y="4445864"/>
                </a:lnTo>
                <a:lnTo>
                  <a:pt x="652822" y="4455394"/>
                </a:lnTo>
                <a:lnTo>
                  <a:pt x="609936" y="4450629"/>
                </a:lnTo>
                <a:lnTo>
                  <a:pt x="571814" y="4450629"/>
                </a:lnTo>
                <a:lnTo>
                  <a:pt x="557518" y="4460159"/>
                </a:lnTo>
                <a:lnTo>
                  <a:pt x="567050" y="4488750"/>
                </a:lnTo>
                <a:lnTo>
                  <a:pt x="547988" y="4488750"/>
                </a:lnTo>
                <a:lnTo>
                  <a:pt x="533694" y="4483985"/>
                </a:lnTo>
                <a:lnTo>
                  <a:pt x="524162" y="4493515"/>
                </a:lnTo>
                <a:lnTo>
                  <a:pt x="509868" y="4503046"/>
                </a:lnTo>
                <a:lnTo>
                  <a:pt x="490808" y="4526871"/>
                </a:lnTo>
                <a:lnTo>
                  <a:pt x="481276" y="4541166"/>
                </a:lnTo>
                <a:lnTo>
                  <a:pt x="481276" y="4569757"/>
                </a:lnTo>
                <a:lnTo>
                  <a:pt x="490808" y="4598348"/>
                </a:lnTo>
                <a:lnTo>
                  <a:pt x="500338" y="4626938"/>
                </a:lnTo>
                <a:lnTo>
                  <a:pt x="476512" y="4665060"/>
                </a:lnTo>
                <a:lnTo>
                  <a:pt x="462216" y="4665060"/>
                </a:lnTo>
                <a:lnTo>
                  <a:pt x="419330" y="4655530"/>
                </a:lnTo>
                <a:lnTo>
                  <a:pt x="343088" y="4679355"/>
                </a:lnTo>
                <a:lnTo>
                  <a:pt x="271612" y="4660294"/>
                </a:lnTo>
                <a:lnTo>
                  <a:pt x="281142" y="4641234"/>
                </a:lnTo>
                <a:lnTo>
                  <a:pt x="281142" y="4626938"/>
                </a:lnTo>
                <a:lnTo>
                  <a:pt x="285906" y="4603113"/>
                </a:lnTo>
                <a:lnTo>
                  <a:pt x="285906" y="4584052"/>
                </a:lnTo>
                <a:lnTo>
                  <a:pt x="285906" y="4564992"/>
                </a:lnTo>
                <a:lnTo>
                  <a:pt x="281142" y="4550696"/>
                </a:lnTo>
                <a:lnTo>
                  <a:pt x="266846" y="4531636"/>
                </a:lnTo>
                <a:lnTo>
                  <a:pt x="228726" y="4460159"/>
                </a:lnTo>
                <a:lnTo>
                  <a:pt x="214430" y="4426804"/>
                </a:lnTo>
                <a:lnTo>
                  <a:pt x="209664" y="4417273"/>
                </a:lnTo>
                <a:lnTo>
                  <a:pt x="214430" y="4412508"/>
                </a:lnTo>
                <a:lnTo>
                  <a:pt x="247786" y="4431568"/>
                </a:lnTo>
                <a:lnTo>
                  <a:pt x="252550" y="4426804"/>
                </a:lnTo>
                <a:lnTo>
                  <a:pt x="262080" y="4422038"/>
                </a:lnTo>
                <a:lnTo>
                  <a:pt x="252550" y="4398212"/>
                </a:lnTo>
                <a:lnTo>
                  <a:pt x="243020" y="4388682"/>
                </a:lnTo>
                <a:lnTo>
                  <a:pt x="238256" y="4374387"/>
                </a:lnTo>
                <a:lnTo>
                  <a:pt x="257316" y="4369622"/>
                </a:lnTo>
                <a:lnTo>
                  <a:pt x="271612" y="4369622"/>
                </a:lnTo>
                <a:lnTo>
                  <a:pt x="281142" y="4350561"/>
                </a:lnTo>
                <a:lnTo>
                  <a:pt x="271612" y="4321970"/>
                </a:lnTo>
                <a:lnTo>
                  <a:pt x="257316" y="4312440"/>
                </a:lnTo>
                <a:lnTo>
                  <a:pt x="247786" y="4307675"/>
                </a:lnTo>
                <a:lnTo>
                  <a:pt x="223960" y="4264789"/>
                </a:lnTo>
                <a:lnTo>
                  <a:pt x="200134" y="4240964"/>
                </a:lnTo>
                <a:lnTo>
                  <a:pt x="157248" y="4150426"/>
                </a:lnTo>
                <a:lnTo>
                  <a:pt x="142952" y="4083714"/>
                </a:lnTo>
                <a:lnTo>
                  <a:pt x="128658" y="4088479"/>
                </a:lnTo>
                <a:lnTo>
                  <a:pt x="123892" y="4064654"/>
                </a:lnTo>
                <a:lnTo>
                  <a:pt x="119128" y="4036063"/>
                </a:lnTo>
                <a:lnTo>
                  <a:pt x="114362" y="4017002"/>
                </a:lnTo>
                <a:lnTo>
                  <a:pt x="95302" y="4007472"/>
                </a:lnTo>
                <a:lnTo>
                  <a:pt x="95302" y="3993177"/>
                </a:lnTo>
                <a:lnTo>
                  <a:pt x="90536" y="3931230"/>
                </a:lnTo>
                <a:lnTo>
                  <a:pt x="66710" y="3921700"/>
                </a:lnTo>
                <a:lnTo>
                  <a:pt x="47650" y="3888344"/>
                </a:lnTo>
                <a:lnTo>
                  <a:pt x="47650" y="3821632"/>
                </a:lnTo>
                <a:lnTo>
                  <a:pt x="33354" y="3812102"/>
                </a:lnTo>
                <a:lnTo>
                  <a:pt x="19060" y="3812102"/>
                </a:lnTo>
                <a:lnTo>
                  <a:pt x="19060" y="3797806"/>
                </a:lnTo>
                <a:lnTo>
                  <a:pt x="23824" y="3783511"/>
                </a:lnTo>
                <a:lnTo>
                  <a:pt x="14294" y="3721564"/>
                </a:lnTo>
                <a:lnTo>
                  <a:pt x="9530" y="3664383"/>
                </a:lnTo>
                <a:lnTo>
                  <a:pt x="4764" y="3645322"/>
                </a:lnTo>
                <a:lnTo>
                  <a:pt x="0" y="3626262"/>
                </a:lnTo>
                <a:lnTo>
                  <a:pt x="4764" y="3611966"/>
                </a:lnTo>
                <a:lnTo>
                  <a:pt x="9530" y="3602436"/>
                </a:lnTo>
                <a:lnTo>
                  <a:pt x="23824" y="3597671"/>
                </a:lnTo>
                <a:lnTo>
                  <a:pt x="38120" y="3611966"/>
                </a:lnTo>
                <a:lnTo>
                  <a:pt x="52416" y="3650088"/>
                </a:lnTo>
                <a:lnTo>
                  <a:pt x="61946" y="3654853"/>
                </a:lnTo>
                <a:lnTo>
                  <a:pt x="81006" y="3645322"/>
                </a:lnTo>
                <a:lnTo>
                  <a:pt x="90536" y="3616732"/>
                </a:lnTo>
                <a:lnTo>
                  <a:pt x="95302" y="3573846"/>
                </a:lnTo>
                <a:lnTo>
                  <a:pt x="104832" y="3535724"/>
                </a:lnTo>
                <a:lnTo>
                  <a:pt x="95302" y="3492838"/>
                </a:lnTo>
                <a:lnTo>
                  <a:pt x="85772" y="3454717"/>
                </a:lnTo>
                <a:lnTo>
                  <a:pt x="85772" y="3445187"/>
                </a:lnTo>
                <a:lnTo>
                  <a:pt x="109596" y="3411831"/>
                </a:lnTo>
                <a:lnTo>
                  <a:pt x="119128" y="3383240"/>
                </a:lnTo>
                <a:lnTo>
                  <a:pt x="123892" y="3359415"/>
                </a:lnTo>
                <a:lnTo>
                  <a:pt x="133422" y="3349884"/>
                </a:lnTo>
                <a:lnTo>
                  <a:pt x="147718" y="3349884"/>
                </a:lnTo>
                <a:lnTo>
                  <a:pt x="162014" y="3345119"/>
                </a:lnTo>
                <a:lnTo>
                  <a:pt x="181074" y="3326059"/>
                </a:lnTo>
                <a:lnTo>
                  <a:pt x="200134" y="3302233"/>
                </a:lnTo>
                <a:lnTo>
                  <a:pt x="209664" y="3283173"/>
                </a:lnTo>
                <a:lnTo>
                  <a:pt x="214430" y="3240286"/>
                </a:lnTo>
                <a:lnTo>
                  <a:pt x="214430" y="3221226"/>
                </a:lnTo>
                <a:lnTo>
                  <a:pt x="219194" y="3206931"/>
                </a:lnTo>
                <a:lnTo>
                  <a:pt x="228726" y="3173575"/>
                </a:lnTo>
                <a:lnTo>
                  <a:pt x="223960" y="3144984"/>
                </a:lnTo>
                <a:lnTo>
                  <a:pt x="204900" y="3097333"/>
                </a:lnTo>
                <a:lnTo>
                  <a:pt x="185838" y="3035386"/>
                </a:lnTo>
                <a:lnTo>
                  <a:pt x="181074" y="2997265"/>
                </a:lnTo>
                <a:lnTo>
                  <a:pt x="190604" y="2992500"/>
                </a:lnTo>
                <a:lnTo>
                  <a:pt x="209664" y="2982970"/>
                </a:lnTo>
                <a:lnTo>
                  <a:pt x="243020" y="2982970"/>
                </a:lnTo>
                <a:lnTo>
                  <a:pt x="247786" y="2978204"/>
                </a:lnTo>
                <a:lnTo>
                  <a:pt x="247786" y="2963909"/>
                </a:lnTo>
                <a:lnTo>
                  <a:pt x="257316" y="2944849"/>
                </a:lnTo>
                <a:lnTo>
                  <a:pt x="262080" y="2925788"/>
                </a:lnTo>
                <a:lnTo>
                  <a:pt x="271612" y="2906728"/>
                </a:lnTo>
                <a:lnTo>
                  <a:pt x="271612" y="2882902"/>
                </a:lnTo>
                <a:lnTo>
                  <a:pt x="252550" y="2854311"/>
                </a:lnTo>
                <a:lnTo>
                  <a:pt x="228726" y="2820955"/>
                </a:lnTo>
                <a:lnTo>
                  <a:pt x="209664" y="2811425"/>
                </a:lnTo>
                <a:lnTo>
                  <a:pt x="181074" y="2787600"/>
                </a:lnTo>
                <a:lnTo>
                  <a:pt x="157248" y="2763774"/>
                </a:lnTo>
                <a:lnTo>
                  <a:pt x="171544" y="2678002"/>
                </a:lnTo>
                <a:lnTo>
                  <a:pt x="181074" y="2616055"/>
                </a:lnTo>
                <a:lnTo>
                  <a:pt x="181074" y="2601760"/>
                </a:lnTo>
                <a:lnTo>
                  <a:pt x="181074" y="2577934"/>
                </a:lnTo>
                <a:lnTo>
                  <a:pt x="152484" y="2473101"/>
                </a:lnTo>
                <a:lnTo>
                  <a:pt x="152484" y="2449276"/>
                </a:lnTo>
                <a:lnTo>
                  <a:pt x="157248" y="2430215"/>
                </a:lnTo>
                <a:lnTo>
                  <a:pt x="152484" y="2392094"/>
                </a:lnTo>
                <a:lnTo>
                  <a:pt x="152484" y="2358738"/>
                </a:lnTo>
                <a:lnTo>
                  <a:pt x="157248" y="2349208"/>
                </a:lnTo>
                <a:lnTo>
                  <a:pt x="171544" y="2334912"/>
                </a:lnTo>
                <a:lnTo>
                  <a:pt x="157248" y="2306322"/>
                </a:lnTo>
                <a:lnTo>
                  <a:pt x="157248" y="2301556"/>
                </a:lnTo>
                <a:lnTo>
                  <a:pt x="133422" y="2234845"/>
                </a:lnTo>
                <a:lnTo>
                  <a:pt x="166778" y="2163368"/>
                </a:lnTo>
                <a:lnTo>
                  <a:pt x="162014" y="2125247"/>
                </a:lnTo>
                <a:lnTo>
                  <a:pt x="181074" y="2101421"/>
                </a:lnTo>
                <a:lnTo>
                  <a:pt x="219194" y="2039474"/>
                </a:lnTo>
                <a:lnTo>
                  <a:pt x="238256" y="2006119"/>
                </a:lnTo>
                <a:lnTo>
                  <a:pt x="243020" y="1996588"/>
                </a:lnTo>
                <a:lnTo>
                  <a:pt x="257316" y="1982293"/>
                </a:lnTo>
                <a:lnTo>
                  <a:pt x="290672" y="1963232"/>
                </a:lnTo>
                <a:lnTo>
                  <a:pt x="324028" y="1958467"/>
                </a:lnTo>
                <a:lnTo>
                  <a:pt x="338322" y="1958467"/>
                </a:lnTo>
                <a:lnTo>
                  <a:pt x="395504" y="1967998"/>
                </a:lnTo>
                <a:lnTo>
                  <a:pt x="443156" y="1977528"/>
                </a:lnTo>
                <a:lnTo>
                  <a:pt x="447920" y="1967998"/>
                </a:lnTo>
                <a:lnTo>
                  <a:pt x="457452" y="1948937"/>
                </a:lnTo>
                <a:lnTo>
                  <a:pt x="471746" y="1920346"/>
                </a:lnTo>
                <a:lnTo>
                  <a:pt x="471746" y="1891756"/>
                </a:lnTo>
                <a:lnTo>
                  <a:pt x="466982" y="1844104"/>
                </a:lnTo>
                <a:lnTo>
                  <a:pt x="457452" y="1815514"/>
                </a:lnTo>
                <a:lnTo>
                  <a:pt x="428860" y="1796453"/>
                </a:lnTo>
                <a:lnTo>
                  <a:pt x="390740" y="1772627"/>
                </a:lnTo>
                <a:lnTo>
                  <a:pt x="433626" y="1696385"/>
                </a:lnTo>
                <a:lnTo>
                  <a:pt x="466982" y="1639204"/>
                </a:lnTo>
                <a:lnTo>
                  <a:pt x="505102" y="1558197"/>
                </a:lnTo>
                <a:lnTo>
                  <a:pt x="514632" y="1520076"/>
                </a:lnTo>
                <a:lnTo>
                  <a:pt x="524162" y="1510545"/>
                </a:lnTo>
                <a:lnTo>
                  <a:pt x="533694" y="1377122"/>
                </a:lnTo>
                <a:lnTo>
                  <a:pt x="543224" y="1343766"/>
                </a:lnTo>
                <a:lnTo>
                  <a:pt x="547988" y="1324705"/>
                </a:lnTo>
                <a:lnTo>
                  <a:pt x="547988" y="1300880"/>
                </a:lnTo>
                <a:lnTo>
                  <a:pt x="543224" y="1267524"/>
                </a:lnTo>
                <a:lnTo>
                  <a:pt x="533694" y="1196047"/>
                </a:lnTo>
                <a:lnTo>
                  <a:pt x="590874" y="1186517"/>
                </a:lnTo>
                <a:lnTo>
                  <a:pt x="609936" y="1176986"/>
                </a:lnTo>
                <a:lnTo>
                  <a:pt x="628996" y="1167456"/>
                </a:lnTo>
                <a:lnTo>
                  <a:pt x="662352" y="1148396"/>
                </a:lnTo>
                <a:lnTo>
                  <a:pt x="681412" y="1124570"/>
                </a:lnTo>
                <a:lnTo>
                  <a:pt x="671882" y="1053093"/>
                </a:lnTo>
                <a:lnTo>
                  <a:pt x="690942" y="1029268"/>
                </a:lnTo>
                <a:lnTo>
                  <a:pt x="743358" y="943495"/>
                </a:lnTo>
                <a:lnTo>
                  <a:pt x="795776" y="862488"/>
                </a:lnTo>
                <a:lnTo>
                  <a:pt x="824366" y="829132"/>
                </a:lnTo>
                <a:lnTo>
                  <a:pt x="824366" y="814837"/>
                </a:lnTo>
                <a:lnTo>
                  <a:pt x="829132" y="791011"/>
                </a:lnTo>
                <a:lnTo>
                  <a:pt x="814836" y="752890"/>
                </a:lnTo>
                <a:lnTo>
                  <a:pt x="805306" y="724299"/>
                </a:lnTo>
                <a:lnTo>
                  <a:pt x="781480" y="681413"/>
                </a:lnTo>
                <a:lnTo>
                  <a:pt x="791010" y="648057"/>
                </a:lnTo>
                <a:lnTo>
                  <a:pt x="810070" y="643292"/>
                </a:lnTo>
                <a:lnTo>
                  <a:pt x="833896" y="628997"/>
                </a:lnTo>
                <a:lnTo>
                  <a:pt x="848192" y="600406"/>
                </a:lnTo>
                <a:lnTo>
                  <a:pt x="852956" y="595641"/>
                </a:lnTo>
                <a:lnTo>
                  <a:pt x="881548" y="486043"/>
                </a:lnTo>
                <a:lnTo>
                  <a:pt x="943494" y="428861"/>
                </a:lnTo>
                <a:lnTo>
                  <a:pt x="967320" y="400271"/>
                </a:lnTo>
                <a:lnTo>
                  <a:pt x="1005440" y="424096"/>
                </a:lnTo>
                <a:lnTo>
                  <a:pt x="1057858" y="457452"/>
                </a:lnTo>
                <a:lnTo>
                  <a:pt x="1081682" y="405036"/>
                </a:lnTo>
                <a:lnTo>
                  <a:pt x="1091212" y="385975"/>
                </a:lnTo>
                <a:lnTo>
                  <a:pt x="1100744" y="357385"/>
                </a:lnTo>
                <a:lnTo>
                  <a:pt x="1095978" y="309733"/>
                </a:lnTo>
                <a:lnTo>
                  <a:pt x="1095978" y="247787"/>
                </a:lnTo>
                <a:lnTo>
                  <a:pt x="1095978" y="219196"/>
                </a:lnTo>
                <a:lnTo>
                  <a:pt x="1119804" y="209666"/>
                </a:lnTo>
                <a:lnTo>
                  <a:pt x="1134100" y="204900"/>
                </a:lnTo>
                <a:lnTo>
                  <a:pt x="1191280" y="233491"/>
                </a:lnTo>
                <a:lnTo>
                  <a:pt x="1210342" y="233491"/>
                </a:lnTo>
                <a:lnTo>
                  <a:pt x="1238932" y="238256"/>
                </a:lnTo>
                <a:lnTo>
                  <a:pt x="1267522" y="247787"/>
                </a:lnTo>
                <a:lnTo>
                  <a:pt x="1334234" y="276377"/>
                </a:lnTo>
                <a:lnTo>
                  <a:pt x="1362826" y="290673"/>
                </a:lnTo>
                <a:lnTo>
                  <a:pt x="1381886" y="295438"/>
                </a:lnTo>
                <a:lnTo>
                  <a:pt x="1391416" y="281142"/>
                </a:lnTo>
                <a:lnTo>
                  <a:pt x="1424772" y="243021"/>
                </a:lnTo>
                <a:lnTo>
                  <a:pt x="1381886" y="214431"/>
                </a:lnTo>
                <a:lnTo>
                  <a:pt x="1405712" y="185840"/>
                </a:lnTo>
                <a:lnTo>
                  <a:pt x="1424772" y="157249"/>
                </a:lnTo>
                <a:lnTo>
                  <a:pt x="1434302" y="123893"/>
                </a:lnTo>
                <a:lnTo>
                  <a:pt x="1439068" y="81007"/>
                </a:lnTo>
                <a:lnTo>
                  <a:pt x="1439068" y="61947"/>
                </a:lnTo>
                <a:lnTo>
                  <a:pt x="1429536" y="47651"/>
                </a:lnTo>
                <a:lnTo>
                  <a:pt x="1400946" y="9530"/>
                </a:lnTo>
                <a:lnTo>
                  <a:pt x="1462892" y="4765"/>
                </a:lnTo>
                <a:close/>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54" name="CustomShape 79"/>
          <p:cNvSpPr/>
          <p:nvPr/>
        </p:nvSpPr>
        <p:spPr>
          <a:xfrm>
            <a:off x="4862880" y="4525200"/>
            <a:ext cx="360" cy="360"/>
          </a:xfrm>
          <a:custGeom>
            <a:avLst/>
            <a:gdLst/>
            <a:ahLst/>
            <a:cxnLst/>
            <a:rect l="l" t="t" r="r" b="b"/>
            <a:pathLst>
              <a:path w="21600" h="21600">
                <a:moveTo>
                  <a:pt x="0" y="0"/>
                </a:moveTo>
                <a:lnTo>
                  <a:pt x="21600" y="21600"/>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55" name="CustomShape 80"/>
          <p:cNvSpPr/>
          <p:nvPr/>
        </p:nvSpPr>
        <p:spPr>
          <a:xfrm>
            <a:off x="4113360" y="4523040"/>
            <a:ext cx="1188000" cy="793800"/>
          </a:xfrm>
          <a:custGeom>
            <a:avLst/>
            <a:gdLst/>
            <a:ahLst/>
            <a:cxnLst/>
            <a:rect l="l" t="t" r="r" b="b"/>
            <a:pathLst>
              <a:path w="2806662" h="1877460">
                <a:moveTo>
                  <a:pt x="1462894" y="1439068"/>
                </a:moveTo>
                <a:lnTo>
                  <a:pt x="1472426" y="1453364"/>
                </a:lnTo>
                <a:lnTo>
                  <a:pt x="1481954" y="1458128"/>
                </a:lnTo>
                <a:lnTo>
                  <a:pt x="1539138" y="1477188"/>
                </a:lnTo>
                <a:lnTo>
                  <a:pt x="1562962" y="1486720"/>
                </a:lnTo>
                <a:lnTo>
                  <a:pt x="1539138" y="1481954"/>
                </a:lnTo>
                <a:lnTo>
                  <a:pt x="1491486" y="1472424"/>
                </a:lnTo>
                <a:lnTo>
                  <a:pt x="1472426" y="1462894"/>
                </a:lnTo>
                <a:lnTo>
                  <a:pt x="1467660" y="1453364"/>
                </a:lnTo>
                <a:close/>
                <a:moveTo>
                  <a:pt x="1739270" y="0"/>
                </a:moveTo>
                <a:lnTo>
                  <a:pt x="1767862" y="4766"/>
                </a:lnTo>
                <a:lnTo>
                  <a:pt x="1791686" y="4766"/>
                </a:lnTo>
                <a:lnTo>
                  <a:pt x="1810750" y="0"/>
                </a:lnTo>
                <a:lnTo>
                  <a:pt x="1825042" y="9530"/>
                </a:lnTo>
                <a:lnTo>
                  <a:pt x="1839338" y="28590"/>
                </a:lnTo>
                <a:lnTo>
                  <a:pt x="1853634" y="52416"/>
                </a:lnTo>
                <a:lnTo>
                  <a:pt x="1867930" y="95302"/>
                </a:lnTo>
                <a:lnTo>
                  <a:pt x="1915582" y="147718"/>
                </a:lnTo>
                <a:lnTo>
                  <a:pt x="1915582" y="157250"/>
                </a:lnTo>
                <a:lnTo>
                  <a:pt x="1910814" y="162014"/>
                </a:lnTo>
                <a:lnTo>
                  <a:pt x="1886990" y="166780"/>
                </a:lnTo>
                <a:lnTo>
                  <a:pt x="1867930" y="171544"/>
                </a:lnTo>
                <a:lnTo>
                  <a:pt x="1867930" y="181074"/>
                </a:lnTo>
                <a:lnTo>
                  <a:pt x="1872694" y="190606"/>
                </a:lnTo>
                <a:lnTo>
                  <a:pt x="1882226" y="204900"/>
                </a:lnTo>
                <a:lnTo>
                  <a:pt x="1882226" y="219196"/>
                </a:lnTo>
                <a:lnTo>
                  <a:pt x="1882226" y="238256"/>
                </a:lnTo>
                <a:lnTo>
                  <a:pt x="1886990" y="252552"/>
                </a:lnTo>
                <a:lnTo>
                  <a:pt x="1896522" y="257316"/>
                </a:lnTo>
                <a:lnTo>
                  <a:pt x="1896522" y="262082"/>
                </a:lnTo>
                <a:lnTo>
                  <a:pt x="1886990" y="271612"/>
                </a:lnTo>
                <a:lnTo>
                  <a:pt x="1886990" y="276378"/>
                </a:lnTo>
                <a:lnTo>
                  <a:pt x="1886990" y="281142"/>
                </a:lnTo>
                <a:lnTo>
                  <a:pt x="1929878" y="281142"/>
                </a:lnTo>
                <a:lnTo>
                  <a:pt x="1948938" y="290672"/>
                </a:lnTo>
                <a:lnTo>
                  <a:pt x="1963234" y="300204"/>
                </a:lnTo>
                <a:lnTo>
                  <a:pt x="1972762" y="300204"/>
                </a:lnTo>
                <a:lnTo>
                  <a:pt x="1987058" y="295438"/>
                </a:lnTo>
                <a:lnTo>
                  <a:pt x="2006118" y="290672"/>
                </a:lnTo>
                <a:lnTo>
                  <a:pt x="2015650" y="290672"/>
                </a:lnTo>
                <a:lnTo>
                  <a:pt x="2020414" y="295438"/>
                </a:lnTo>
                <a:lnTo>
                  <a:pt x="2025178" y="309734"/>
                </a:lnTo>
                <a:lnTo>
                  <a:pt x="2034710" y="324028"/>
                </a:lnTo>
                <a:lnTo>
                  <a:pt x="2039474" y="328794"/>
                </a:lnTo>
                <a:lnTo>
                  <a:pt x="2049006" y="328794"/>
                </a:lnTo>
                <a:lnTo>
                  <a:pt x="2058534" y="328794"/>
                </a:lnTo>
                <a:lnTo>
                  <a:pt x="2058534" y="338324"/>
                </a:lnTo>
                <a:lnTo>
                  <a:pt x="2053770" y="343090"/>
                </a:lnTo>
                <a:lnTo>
                  <a:pt x="2058534" y="352620"/>
                </a:lnTo>
                <a:lnTo>
                  <a:pt x="2063302" y="366914"/>
                </a:lnTo>
                <a:lnTo>
                  <a:pt x="2068066" y="390740"/>
                </a:lnTo>
                <a:lnTo>
                  <a:pt x="2072830" y="400270"/>
                </a:lnTo>
                <a:lnTo>
                  <a:pt x="2077594" y="409800"/>
                </a:lnTo>
                <a:lnTo>
                  <a:pt x="2077594" y="419332"/>
                </a:lnTo>
                <a:lnTo>
                  <a:pt x="2072830" y="428862"/>
                </a:lnTo>
                <a:lnTo>
                  <a:pt x="2068066" y="438392"/>
                </a:lnTo>
                <a:lnTo>
                  <a:pt x="2072830" y="457452"/>
                </a:lnTo>
                <a:lnTo>
                  <a:pt x="2082362" y="471748"/>
                </a:lnTo>
                <a:lnTo>
                  <a:pt x="2091890" y="481278"/>
                </a:lnTo>
                <a:lnTo>
                  <a:pt x="2101422" y="495574"/>
                </a:lnTo>
                <a:lnTo>
                  <a:pt x="2110950" y="500338"/>
                </a:lnTo>
                <a:lnTo>
                  <a:pt x="2130014" y="486042"/>
                </a:lnTo>
                <a:lnTo>
                  <a:pt x="2149074" y="481278"/>
                </a:lnTo>
                <a:lnTo>
                  <a:pt x="2163366" y="486042"/>
                </a:lnTo>
                <a:lnTo>
                  <a:pt x="2182430" y="486042"/>
                </a:lnTo>
                <a:lnTo>
                  <a:pt x="2191958" y="495574"/>
                </a:lnTo>
                <a:lnTo>
                  <a:pt x="2201490" y="509868"/>
                </a:lnTo>
                <a:lnTo>
                  <a:pt x="2211018" y="519398"/>
                </a:lnTo>
                <a:lnTo>
                  <a:pt x="2220550" y="514634"/>
                </a:lnTo>
                <a:lnTo>
                  <a:pt x="2239610" y="519398"/>
                </a:lnTo>
                <a:lnTo>
                  <a:pt x="2249142" y="528930"/>
                </a:lnTo>
                <a:lnTo>
                  <a:pt x="2258670" y="533694"/>
                </a:lnTo>
                <a:lnTo>
                  <a:pt x="2272966" y="528930"/>
                </a:lnTo>
                <a:lnTo>
                  <a:pt x="2282494" y="514634"/>
                </a:lnTo>
                <a:lnTo>
                  <a:pt x="2315854" y="505104"/>
                </a:lnTo>
                <a:lnTo>
                  <a:pt x="2339678" y="500338"/>
                </a:lnTo>
                <a:lnTo>
                  <a:pt x="2344442" y="500338"/>
                </a:lnTo>
                <a:lnTo>
                  <a:pt x="2358738" y="490808"/>
                </a:lnTo>
                <a:lnTo>
                  <a:pt x="2373034" y="486042"/>
                </a:lnTo>
                <a:lnTo>
                  <a:pt x="2387330" y="486042"/>
                </a:lnTo>
                <a:lnTo>
                  <a:pt x="2396858" y="505104"/>
                </a:lnTo>
                <a:lnTo>
                  <a:pt x="2411154" y="514634"/>
                </a:lnTo>
                <a:lnTo>
                  <a:pt x="2415918" y="533694"/>
                </a:lnTo>
                <a:lnTo>
                  <a:pt x="2430214" y="562284"/>
                </a:lnTo>
                <a:lnTo>
                  <a:pt x="2468334" y="595640"/>
                </a:lnTo>
                <a:lnTo>
                  <a:pt x="2482630" y="605172"/>
                </a:lnTo>
                <a:lnTo>
                  <a:pt x="2492162" y="605172"/>
                </a:lnTo>
                <a:lnTo>
                  <a:pt x="2501690" y="600406"/>
                </a:lnTo>
                <a:lnTo>
                  <a:pt x="2501690" y="595640"/>
                </a:lnTo>
                <a:lnTo>
                  <a:pt x="2501690" y="581346"/>
                </a:lnTo>
                <a:lnTo>
                  <a:pt x="2506458" y="576580"/>
                </a:lnTo>
                <a:lnTo>
                  <a:pt x="2515986" y="576580"/>
                </a:lnTo>
                <a:lnTo>
                  <a:pt x="2544578" y="595640"/>
                </a:lnTo>
                <a:lnTo>
                  <a:pt x="2563638" y="595640"/>
                </a:lnTo>
                <a:lnTo>
                  <a:pt x="2577934" y="600406"/>
                </a:lnTo>
                <a:lnTo>
                  <a:pt x="2596994" y="614702"/>
                </a:lnTo>
                <a:lnTo>
                  <a:pt x="2620822" y="628996"/>
                </a:lnTo>
                <a:lnTo>
                  <a:pt x="2635114" y="628996"/>
                </a:lnTo>
                <a:lnTo>
                  <a:pt x="2649410" y="624232"/>
                </a:lnTo>
                <a:lnTo>
                  <a:pt x="2658942" y="619466"/>
                </a:lnTo>
                <a:lnTo>
                  <a:pt x="2663706" y="628996"/>
                </a:lnTo>
                <a:lnTo>
                  <a:pt x="2668470" y="638528"/>
                </a:lnTo>
                <a:lnTo>
                  <a:pt x="2678002" y="648058"/>
                </a:lnTo>
                <a:lnTo>
                  <a:pt x="2687530" y="652822"/>
                </a:lnTo>
                <a:lnTo>
                  <a:pt x="2706594" y="652822"/>
                </a:lnTo>
                <a:lnTo>
                  <a:pt x="2730418" y="671882"/>
                </a:lnTo>
                <a:lnTo>
                  <a:pt x="2754242" y="690944"/>
                </a:lnTo>
                <a:lnTo>
                  <a:pt x="2768538" y="690944"/>
                </a:lnTo>
                <a:lnTo>
                  <a:pt x="2782834" y="686178"/>
                </a:lnTo>
                <a:lnTo>
                  <a:pt x="2792366" y="686178"/>
                </a:lnTo>
                <a:lnTo>
                  <a:pt x="2801894" y="690944"/>
                </a:lnTo>
                <a:lnTo>
                  <a:pt x="2801894" y="695708"/>
                </a:lnTo>
                <a:lnTo>
                  <a:pt x="2797130" y="710004"/>
                </a:lnTo>
                <a:lnTo>
                  <a:pt x="2797130" y="724300"/>
                </a:lnTo>
                <a:lnTo>
                  <a:pt x="2806662" y="738594"/>
                </a:lnTo>
                <a:lnTo>
                  <a:pt x="2806662" y="752890"/>
                </a:lnTo>
                <a:lnTo>
                  <a:pt x="2806662" y="767186"/>
                </a:lnTo>
                <a:lnTo>
                  <a:pt x="2797130" y="781480"/>
                </a:lnTo>
                <a:lnTo>
                  <a:pt x="2782834" y="795776"/>
                </a:lnTo>
                <a:lnTo>
                  <a:pt x="2773302" y="810072"/>
                </a:lnTo>
                <a:lnTo>
                  <a:pt x="2749478" y="819602"/>
                </a:lnTo>
                <a:lnTo>
                  <a:pt x="2739950" y="824366"/>
                </a:lnTo>
                <a:lnTo>
                  <a:pt x="2744714" y="838662"/>
                </a:lnTo>
                <a:lnTo>
                  <a:pt x="2749478" y="848192"/>
                </a:lnTo>
                <a:lnTo>
                  <a:pt x="2768538" y="857722"/>
                </a:lnTo>
                <a:lnTo>
                  <a:pt x="2787598" y="862488"/>
                </a:lnTo>
                <a:lnTo>
                  <a:pt x="2787598" y="872018"/>
                </a:lnTo>
                <a:lnTo>
                  <a:pt x="2773302" y="876784"/>
                </a:lnTo>
                <a:lnTo>
                  <a:pt x="2754242" y="872018"/>
                </a:lnTo>
                <a:lnTo>
                  <a:pt x="2749478" y="876784"/>
                </a:lnTo>
                <a:lnTo>
                  <a:pt x="2744714" y="891078"/>
                </a:lnTo>
                <a:lnTo>
                  <a:pt x="2735182" y="905374"/>
                </a:lnTo>
                <a:lnTo>
                  <a:pt x="2730418" y="924434"/>
                </a:lnTo>
                <a:lnTo>
                  <a:pt x="2754242" y="929200"/>
                </a:lnTo>
                <a:lnTo>
                  <a:pt x="2763774" y="933964"/>
                </a:lnTo>
                <a:lnTo>
                  <a:pt x="2763774" y="948260"/>
                </a:lnTo>
                <a:lnTo>
                  <a:pt x="2768538" y="967320"/>
                </a:lnTo>
                <a:lnTo>
                  <a:pt x="2773302" y="976852"/>
                </a:lnTo>
                <a:lnTo>
                  <a:pt x="2763774" y="986382"/>
                </a:lnTo>
                <a:lnTo>
                  <a:pt x="2763774" y="991146"/>
                </a:lnTo>
                <a:lnTo>
                  <a:pt x="2768538" y="995912"/>
                </a:lnTo>
                <a:lnTo>
                  <a:pt x="2778070" y="995912"/>
                </a:lnTo>
                <a:lnTo>
                  <a:pt x="2782834" y="1000676"/>
                </a:lnTo>
                <a:lnTo>
                  <a:pt x="2782834" y="1005442"/>
                </a:lnTo>
                <a:lnTo>
                  <a:pt x="2768538" y="1024502"/>
                </a:lnTo>
                <a:lnTo>
                  <a:pt x="2759010" y="1053092"/>
                </a:lnTo>
                <a:lnTo>
                  <a:pt x="2754242" y="1072154"/>
                </a:lnTo>
                <a:lnTo>
                  <a:pt x="2754242" y="1091214"/>
                </a:lnTo>
                <a:lnTo>
                  <a:pt x="2744714" y="1100744"/>
                </a:lnTo>
                <a:lnTo>
                  <a:pt x="2735182" y="1100744"/>
                </a:lnTo>
                <a:lnTo>
                  <a:pt x="2692298" y="1100744"/>
                </a:lnTo>
                <a:lnTo>
                  <a:pt x="2658942" y="1100744"/>
                </a:lnTo>
                <a:lnTo>
                  <a:pt x="2639882" y="1095980"/>
                </a:lnTo>
                <a:lnTo>
                  <a:pt x="2616054" y="1095980"/>
                </a:lnTo>
                <a:lnTo>
                  <a:pt x="2606526" y="1100744"/>
                </a:lnTo>
                <a:lnTo>
                  <a:pt x="2587466" y="1129336"/>
                </a:lnTo>
                <a:lnTo>
                  <a:pt x="2577934" y="1138866"/>
                </a:lnTo>
                <a:lnTo>
                  <a:pt x="2554110" y="1148396"/>
                </a:lnTo>
                <a:lnTo>
                  <a:pt x="2535046" y="1153160"/>
                </a:lnTo>
                <a:lnTo>
                  <a:pt x="2520754" y="1167456"/>
                </a:lnTo>
                <a:lnTo>
                  <a:pt x="2515986" y="1181752"/>
                </a:lnTo>
                <a:lnTo>
                  <a:pt x="2515986" y="1200812"/>
                </a:lnTo>
                <a:lnTo>
                  <a:pt x="2515986" y="1210342"/>
                </a:lnTo>
                <a:lnTo>
                  <a:pt x="2511222" y="1215108"/>
                </a:lnTo>
                <a:lnTo>
                  <a:pt x="2506458" y="1219872"/>
                </a:lnTo>
                <a:lnTo>
                  <a:pt x="2506458" y="1224638"/>
                </a:lnTo>
                <a:lnTo>
                  <a:pt x="2511222" y="1229402"/>
                </a:lnTo>
                <a:lnTo>
                  <a:pt x="2520754" y="1229402"/>
                </a:lnTo>
                <a:lnTo>
                  <a:pt x="2520754" y="1234168"/>
                </a:lnTo>
                <a:lnTo>
                  <a:pt x="2515986" y="1238932"/>
                </a:lnTo>
                <a:lnTo>
                  <a:pt x="2511222" y="1243698"/>
                </a:lnTo>
                <a:lnTo>
                  <a:pt x="2506458" y="1253228"/>
                </a:lnTo>
                <a:lnTo>
                  <a:pt x="2506458" y="1262758"/>
                </a:lnTo>
                <a:lnTo>
                  <a:pt x="2511222" y="1272288"/>
                </a:lnTo>
                <a:lnTo>
                  <a:pt x="2506458" y="1277054"/>
                </a:lnTo>
                <a:lnTo>
                  <a:pt x="2449274" y="1272288"/>
                </a:lnTo>
                <a:lnTo>
                  <a:pt x="2406390" y="1277054"/>
                </a:lnTo>
                <a:lnTo>
                  <a:pt x="2373034" y="1315176"/>
                </a:lnTo>
                <a:lnTo>
                  <a:pt x="2353974" y="1310410"/>
                </a:lnTo>
                <a:lnTo>
                  <a:pt x="2325382" y="1324706"/>
                </a:lnTo>
                <a:lnTo>
                  <a:pt x="2311086" y="1334236"/>
                </a:lnTo>
                <a:lnTo>
                  <a:pt x="2287262" y="1358062"/>
                </a:lnTo>
                <a:lnTo>
                  <a:pt x="2272966" y="1348530"/>
                </a:lnTo>
                <a:lnTo>
                  <a:pt x="2249142" y="1348530"/>
                </a:lnTo>
                <a:lnTo>
                  <a:pt x="2230078" y="1353296"/>
                </a:lnTo>
                <a:lnTo>
                  <a:pt x="2206254" y="1372356"/>
                </a:lnTo>
                <a:lnTo>
                  <a:pt x="2191958" y="1377122"/>
                </a:lnTo>
                <a:lnTo>
                  <a:pt x="2168134" y="1372356"/>
                </a:lnTo>
                <a:lnTo>
                  <a:pt x="2134778" y="1381886"/>
                </a:lnTo>
                <a:lnTo>
                  <a:pt x="2068066" y="1434304"/>
                </a:lnTo>
                <a:lnTo>
                  <a:pt x="2049006" y="1477190"/>
                </a:lnTo>
                <a:lnTo>
                  <a:pt x="2039474" y="1481954"/>
                </a:lnTo>
                <a:lnTo>
                  <a:pt x="2029946" y="1491484"/>
                </a:lnTo>
                <a:lnTo>
                  <a:pt x="2015650" y="1496250"/>
                </a:lnTo>
                <a:lnTo>
                  <a:pt x="2010882" y="1496250"/>
                </a:lnTo>
                <a:lnTo>
                  <a:pt x="2039474" y="1467660"/>
                </a:lnTo>
                <a:lnTo>
                  <a:pt x="2053770" y="1458128"/>
                </a:lnTo>
                <a:lnTo>
                  <a:pt x="2053770" y="1448598"/>
                </a:lnTo>
                <a:lnTo>
                  <a:pt x="2053770" y="1439068"/>
                </a:lnTo>
                <a:lnTo>
                  <a:pt x="2044238" y="1420008"/>
                </a:lnTo>
                <a:lnTo>
                  <a:pt x="2015650" y="1462894"/>
                </a:lnTo>
                <a:lnTo>
                  <a:pt x="2001354" y="1467660"/>
                </a:lnTo>
                <a:lnTo>
                  <a:pt x="1982294" y="1477190"/>
                </a:lnTo>
                <a:lnTo>
                  <a:pt x="1982294" y="1505780"/>
                </a:lnTo>
                <a:lnTo>
                  <a:pt x="1987058" y="1524840"/>
                </a:lnTo>
                <a:lnTo>
                  <a:pt x="1991822" y="1548666"/>
                </a:lnTo>
                <a:lnTo>
                  <a:pt x="2010882" y="1586788"/>
                </a:lnTo>
                <a:lnTo>
                  <a:pt x="2049006" y="1643968"/>
                </a:lnTo>
                <a:lnTo>
                  <a:pt x="2063302" y="1663030"/>
                </a:lnTo>
                <a:lnTo>
                  <a:pt x="2077594" y="1672560"/>
                </a:lnTo>
                <a:lnTo>
                  <a:pt x="2096654" y="1677324"/>
                </a:lnTo>
                <a:lnTo>
                  <a:pt x="2125246" y="1658264"/>
                </a:lnTo>
                <a:lnTo>
                  <a:pt x="2139542" y="1653500"/>
                </a:lnTo>
                <a:lnTo>
                  <a:pt x="2168134" y="1663030"/>
                </a:lnTo>
                <a:lnTo>
                  <a:pt x="2177662" y="1648734"/>
                </a:lnTo>
                <a:lnTo>
                  <a:pt x="2191958" y="1643968"/>
                </a:lnTo>
                <a:lnTo>
                  <a:pt x="2211018" y="1643968"/>
                </a:lnTo>
                <a:lnTo>
                  <a:pt x="2230078" y="1648734"/>
                </a:lnTo>
                <a:lnTo>
                  <a:pt x="2253906" y="1658264"/>
                </a:lnTo>
                <a:lnTo>
                  <a:pt x="2244374" y="1677324"/>
                </a:lnTo>
                <a:lnTo>
                  <a:pt x="2234846" y="1691620"/>
                </a:lnTo>
                <a:lnTo>
                  <a:pt x="2230078" y="1710680"/>
                </a:lnTo>
                <a:lnTo>
                  <a:pt x="2225314" y="1729742"/>
                </a:lnTo>
                <a:lnTo>
                  <a:pt x="2201490" y="1739272"/>
                </a:lnTo>
                <a:lnTo>
                  <a:pt x="2172898" y="1739272"/>
                </a:lnTo>
                <a:lnTo>
                  <a:pt x="2144306" y="1744036"/>
                </a:lnTo>
                <a:lnTo>
                  <a:pt x="2134778" y="1734506"/>
                </a:lnTo>
                <a:lnTo>
                  <a:pt x="2125246" y="1729742"/>
                </a:lnTo>
                <a:lnTo>
                  <a:pt x="2115718" y="1720210"/>
                </a:lnTo>
                <a:lnTo>
                  <a:pt x="2096654" y="1715446"/>
                </a:lnTo>
                <a:lnTo>
                  <a:pt x="2082362" y="1720210"/>
                </a:lnTo>
                <a:lnTo>
                  <a:pt x="2063302" y="1748802"/>
                </a:lnTo>
                <a:lnTo>
                  <a:pt x="2029946" y="1767862"/>
                </a:lnTo>
                <a:lnTo>
                  <a:pt x="2020414" y="1786922"/>
                </a:lnTo>
                <a:lnTo>
                  <a:pt x="1991822" y="1782158"/>
                </a:lnTo>
                <a:lnTo>
                  <a:pt x="1963234" y="1786922"/>
                </a:lnTo>
                <a:lnTo>
                  <a:pt x="1925110" y="1805984"/>
                </a:lnTo>
                <a:lnTo>
                  <a:pt x="1896522" y="1844104"/>
                </a:lnTo>
                <a:lnTo>
                  <a:pt x="1863166" y="1872694"/>
                </a:lnTo>
                <a:lnTo>
                  <a:pt x="1839338" y="1877460"/>
                </a:lnTo>
                <a:lnTo>
                  <a:pt x="1810750" y="1877460"/>
                </a:lnTo>
                <a:lnTo>
                  <a:pt x="1796454" y="1867930"/>
                </a:lnTo>
                <a:lnTo>
                  <a:pt x="1763098" y="1844104"/>
                </a:lnTo>
                <a:lnTo>
                  <a:pt x="1767862" y="1834574"/>
                </a:lnTo>
                <a:lnTo>
                  <a:pt x="1772626" y="1829808"/>
                </a:lnTo>
                <a:lnTo>
                  <a:pt x="1777394" y="1815514"/>
                </a:lnTo>
                <a:lnTo>
                  <a:pt x="1791686" y="1763096"/>
                </a:lnTo>
                <a:lnTo>
                  <a:pt x="1786922" y="1748802"/>
                </a:lnTo>
                <a:lnTo>
                  <a:pt x="1782158" y="1720210"/>
                </a:lnTo>
                <a:lnTo>
                  <a:pt x="1758334" y="1701150"/>
                </a:lnTo>
                <a:lnTo>
                  <a:pt x="1734506" y="1705916"/>
                </a:lnTo>
                <a:lnTo>
                  <a:pt x="1724978" y="1701150"/>
                </a:lnTo>
                <a:lnTo>
                  <a:pt x="1682090" y="1667794"/>
                </a:lnTo>
                <a:lnTo>
                  <a:pt x="1658266" y="1663030"/>
                </a:lnTo>
                <a:lnTo>
                  <a:pt x="1634438" y="1672560"/>
                </a:lnTo>
                <a:lnTo>
                  <a:pt x="1624910" y="1667794"/>
                </a:lnTo>
                <a:lnTo>
                  <a:pt x="1620142" y="1653500"/>
                </a:lnTo>
                <a:lnTo>
                  <a:pt x="1667794" y="1610612"/>
                </a:lnTo>
                <a:lnTo>
                  <a:pt x="1715446" y="1577256"/>
                </a:lnTo>
                <a:lnTo>
                  <a:pt x="1739270" y="1572492"/>
                </a:lnTo>
                <a:lnTo>
                  <a:pt x="1767862" y="1558196"/>
                </a:lnTo>
                <a:lnTo>
                  <a:pt x="1801218" y="1534370"/>
                </a:lnTo>
                <a:lnTo>
                  <a:pt x="1796454" y="1515310"/>
                </a:lnTo>
                <a:lnTo>
                  <a:pt x="1786922" y="1501016"/>
                </a:lnTo>
                <a:lnTo>
                  <a:pt x="1772626" y="1501016"/>
                </a:lnTo>
                <a:lnTo>
                  <a:pt x="1763098" y="1505780"/>
                </a:lnTo>
                <a:lnTo>
                  <a:pt x="1734506" y="1491484"/>
                </a:lnTo>
                <a:lnTo>
                  <a:pt x="1724978" y="1481954"/>
                </a:lnTo>
                <a:lnTo>
                  <a:pt x="1686854" y="1491484"/>
                </a:lnTo>
                <a:lnTo>
                  <a:pt x="1663030" y="1491484"/>
                </a:lnTo>
                <a:lnTo>
                  <a:pt x="1615378" y="1501016"/>
                </a:lnTo>
                <a:lnTo>
                  <a:pt x="1591554" y="1491484"/>
                </a:lnTo>
                <a:lnTo>
                  <a:pt x="1543902" y="1462894"/>
                </a:lnTo>
                <a:lnTo>
                  <a:pt x="1529606" y="1458128"/>
                </a:lnTo>
                <a:lnTo>
                  <a:pt x="1510546" y="1458128"/>
                </a:lnTo>
                <a:lnTo>
                  <a:pt x="1505782" y="1448598"/>
                </a:lnTo>
                <a:lnTo>
                  <a:pt x="1515310" y="1443834"/>
                </a:lnTo>
                <a:lnTo>
                  <a:pt x="1524842" y="1443834"/>
                </a:lnTo>
                <a:lnTo>
                  <a:pt x="1539138" y="1439068"/>
                </a:lnTo>
                <a:lnTo>
                  <a:pt x="1539138" y="1434304"/>
                </a:lnTo>
                <a:lnTo>
                  <a:pt x="1539138" y="1424772"/>
                </a:lnTo>
                <a:lnTo>
                  <a:pt x="1515310" y="1415242"/>
                </a:lnTo>
                <a:lnTo>
                  <a:pt x="1496250" y="1415242"/>
                </a:lnTo>
                <a:lnTo>
                  <a:pt x="1481954" y="1405712"/>
                </a:lnTo>
                <a:lnTo>
                  <a:pt x="1467660" y="1396182"/>
                </a:lnTo>
                <a:lnTo>
                  <a:pt x="1496250" y="1396182"/>
                </a:lnTo>
                <a:lnTo>
                  <a:pt x="1520074" y="1400948"/>
                </a:lnTo>
                <a:lnTo>
                  <a:pt x="1558198" y="1405712"/>
                </a:lnTo>
                <a:lnTo>
                  <a:pt x="1596318" y="1415242"/>
                </a:lnTo>
                <a:lnTo>
                  <a:pt x="1605846" y="1405712"/>
                </a:lnTo>
                <a:lnTo>
                  <a:pt x="1624910" y="1386652"/>
                </a:lnTo>
                <a:lnTo>
                  <a:pt x="1629674" y="1381886"/>
                </a:lnTo>
                <a:lnTo>
                  <a:pt x="1596318" y="1391416"/>
                </a:lnTo>
                <a:lnTo>
                  <a:pt x="1558198" y="1386652"/>
                </a:lnTo>
                <a:lnTo>
                  <a:pt x="1543902" y="1377122"/>
                </a:lnTo>
                <a:lnTo>
                  <a:pt x="1534370" y="1362826"/>
                </a:lnTo>
                <a:lnTo>
                  <a:pt x="1529606" y="1343766"/>
                </a:lnTo>
                <a:lnTo>
                  <a:pt x="1534370" y="1329470"/>
                </a:lnTo>
                <a:lnTo>
                  <a:pt x="1529606" y="1300880"/>
                </a:lnTo>
                <a:lnTo>
                  <a:pt x="1515310" y="1272288"/>
                </a:lnTo>
                <a:lnTo>
                  <a:pt x="1515310" y="1257994"/>
                </a:lnTo>
                <a:lnTo>
                  <a:pt x="1501014" y="1243698"/>
                </a:lnTo>
                <a:lnTo>
                  <a:pt x="1515310" y="1272288"/>
                </a:lnTo>
                <a:lnTo>
                  <a:pt x="1520074" y="1291350"/>
                </a:lnTo>
                <a:lnTo>
                  <a:pt x="1524842" y="1310410"/>
                </a:lnTo>
                <a:lnTo>
                  <a:pt x="1524842" y="1358062"/>
                </a:lnTo>
                <a:lnTo>
                  <a:pt x="1520074" y="1372356"/>
                </a:lnTo>
                <a:lnTo>
                  <a:pt x="1505782" y="1377122"/>
                </a:lnTo>
                <a:lnTo>
                  <a:pt x="1486718" y="1377122"/>
                </a:lnTo>
                <a:lnTo>
                  <a:pt x="1467660" y="1372356"/>
                </a:lnTo>
                <a:lnTo>
                  <a:pt x="1472426" y="1343766"/>
                </a:lnTo>
                <a:lnTo>
                  <a:pt x="1458130" y="1353296"/>
                </a:lnTo>
                <a:lnTo>
                  <a:pt x="1443834" y="1377122"/>
                </a:lnTo>
                <a:lnTo>
                  <a:pt x="1434304" y="1381886"/>
                </a:lnTo>
                <a:lnTo>
                  <a:pt x="1405712" y="1381886"/>
                </a:lnTo>
                <a:lnTo>
                  <a:pt x="1353296" y="1396182"/>
                </a:lnTo>
                <a:lnTo>
                  <a:pt x="1348530" y="1415242"/>
                </a:lnTo>
                <a:lnTo>
                  <a:pt x="1339000" y="1439068"/>
                </a:lnTo>
                <a:lnTo>
                  <a:pt x="1329470" y="1453364"/>
                </a:lnTo>
                <a:lnTo>
                  <a:pt x="1329470" y="1462894"/>
                </a:lnTo>
                <a:lnTo>
                  <a:pt x="1305644" y="1496250"/>
                </a:lnTo>
                <a:lnTo>
                  <a:pt x="1300880" y="1501016"/>
                </a:lnTo>
                <a:lnTo>
                  <a:pt x="1262758" y="1553432"/>
                </a:lnTo>
                <a:lnTo>
                  <a:pt x="1253228" y="1553432"/>
                </a:lnTo>
                <a:lnTo>
                  <a:pt x="1229402" y="1567726"/>
                </a:lnTo>
                <a:lnTo>
                  <a:pt x="1210342" y="1577256"/>
                </a:lnTo>
                <a:lnTo>
                  <a:pt x="1200812" y="1582022"/>
                </a:lnTo>
                <a:lnTo>
                  <a:pt x="1176986" y="1577256"/>
                </a:lnTo>
                <a:lnTo>
                  <a:pt x="1167456" y="1582022"/>
                </a:lnTo>
                <a:lnTo>
                  <a:pt x="1162692" y="1591552"/>
                </a:lnTo>
                <a:lnTo>
                  <a:pt x="1162692" y="1610612"/>
                </a:lnTo>
                <a:lnTo>
                  <a:pt x="1176986" y="1624908"/>
                </a:lnTo>
                <a:lnTo>
                  <a:pt x="1181752" y="1667794"/>
                </a:lnTo>
                <a:lnTo>
                  <a:pt x="1181752" y="1686854"/>
                </a:lnTo>
                <a:lnTo>
                  <a:pt x="1172222" y="1672560"/>
                </a:lnTo>
                <a:lnTo>
                  <a:pt x="1157926" y="1663030"/>
                </a:lnTo>
                <a:lnTo>
                  <a:pt x="1134100" y="1648734"/>
                </a:lnTo>
                <a:lnTo>
                  <a:pt x="1105510" y="1653500"/>
                </a:lnTo>
                <a:lnTo>
                  <a:pt x="1076918" y="1672560"/>
                </a:lnTo>
                <a:lnTo>
                  <a:pt x="1053094" y="1677324"/>
                </a:lnTo>
                <a:lnTo>
                  <a:pt x="1043562" y="1677324"/>
                </a:lnTo>
                <a:lnTo>
                  <a:pt x="1034032" y="1677324"/>
                </a:lnTo>
                <a:lnTo>
                  <a:pt x="1034032" y="1682090"/>
                </a:lnTo>
                <a:lnTo>
                  <a:pt x="1034032" y="1686854"/>
                </a:lnTo>
                <a:lnTo>
                  <a:pt x="1038798" y="1686854"/>
                </a:lnTo>
                <a:lnTo>
                  <a:pt x="1038798" y="1691620"/>
                </a:lnTo>
                <a:lnTo>
                  <a:pt x="1034032" y="1691620"/>
                </a:lnTo>
                <a:lnTo>
                  <a:pt x="986382" y="1677324"/>
                </a:lnTo>
                <a:lnTo>
                  <a:pt x="962556" y="1667794"/>
                </a:lnTo>
                <a:lnTo>
                  <a:pt x="948260" y="1643968"/>
                </a:lnTo>
                <a:lnTo>
                  <a:pt x="957790" y="1634438"/>
                </a:lnTo>
                <a:lnTo>
                  <a:pt x="962556" y="1634438"/>
                </a:lnTo>
                <a:lnTo>
                  <a:pt x="986382" y="1629674"/>
                </a:lnTo>
                <a:lnTo>
                  <a:pt x="991146" y="1629674"/>
                </a:lnTo>
                <a:lnTo>
                  <a:pt x="991146" y="1624908"/>
                </a:lnTo>
                <a:lnTo>
                  <a:pt x="995912" y="1615378"/>
                </a:lnTo>
                <a:lnTo>
                  <a:pt x="995912" y="1605848"/>
                </a:lnTo>
                <a:lnTo>
                  <a:pt x="991146" y="1596318"/>
                </a:lnTo>
                <a:lnTo>
                  <a:pt x="1000676" y="1582022"/>
                </a:lnTo>
                <a:lnTo>
                  <a:pt x="1019738" y="1567726"/>
                </a:lnTo>
                <a:lnTo>
                  <a:pt x="1029268" y="1553432"/>
                </a:lnTo>
                <a:lnTo>
                  <a:pt x="1029268" y="1534370"/>
                </a:lnTo>
                <a:lnTo>
                  <a:pt x="1048328" y="1524840"/>
                </a:lnTo>
                <a:lnTo>
                  <a:pt x="1062624" y="1510546"/>
                </a:lnTo>
                <a:lnTo>
                  <a:pt x="1067388" y="1491484"/>
                </a:lnTo>
                <a:lnTo>
                  <a:pt x="1072154" y="1481954"/>
                </a:lnTo>
                <a:lnTo>
                  <a:pt x="1062624" y="1458128"/>
                </a:lnTo>
                <a:lnTo>
                  <a:pt x="1057858" y="1439068"/>
                </a:lnTo>
                <a:lnTo>
                  <a:pt x="1057858" y="1424772"/>
                </a:lnTo>
                <a:lnTo>
                  <a:pt x="1062624" y="1420008"/>
                </a:lnTo>
                <a:lnTo>
                  <a:pt x="1076918" y="1410478"/>
                </a:lnTo>
                <a:lnTo>
                  <a:pt x="1091214" y="1400948"/>
                </a:lnTo>
                <a:lnTo>
                  <a:pt x="1100744" y="1400948"/>
                </a:lnTo>
                <a:lnTo>
                  <a:pt x="1100744" y="1405712"/>
                </a:lnTo>
                <a:lnTo>
                  <a:pt x="1100744" y="1434304"/>
                </a:lnTo>
                <a:lnTo>
                  <a:pt x="1105510" y="1434304"/>
                </a:lnTo>
                <a:lnTo>
                  <a:pt x="1110274" y="1434304"/>
                </a:lnTo>
                <a:lnTo>
                  <a:pt x="1119804" y="1415242"/>
                </a:lnTo>
                <a:lnTo>
                  <a:pt x="1124570" y="1420008"/>
                </a:lnTo>
                <a:lnTo>
                  <a:pt x="1134100" y="1424772"/>
                </a:lnTo>
                <a:lnTo>
                  <a:pt x="1138866" y="1420008"/>
                </a:lnTo>
                <a:lnTo>
                  <a:pt x="1143630" y="1420008"/>
                </a:lnTo>
                <a:lnTo>
                  <a:pt x="1148396" y="1424772"/>
                </a:lnTo>
                <a:lnTo>
                  <a:pt x="1157926" y="1429538"/>
                </a:lnTo>
                <a:lnTo>
                  <a:pt x="1167456" y="1429538"/>
                </a:lnTo>
                <a:lnTo>
                  <a:pt x="1172222" y="1424772"/>
                </a:lnTo>
                <a:lnTo>
                  <a:pt x="1181752" y="1420008"/>
                </a:lnTo>
                <a:lnTo>
                  <a:pt x="1186516" y="1420008"/>
                </a:lnTo>
                <a:lnTo>
                  <a:pt x="1200812" y="1443834"/>
                </a:lnTo>
                <a:lnTo>
                  <a:pt x="1205578" y="1439068"/>
                </a:lnTo>
                <a:lnTo>
                  <a:pt x="1238934" y="1434304"/>
                </a:lnTo>
                <a:lnTo>
                  <a:pt x="1243698" y="1429538"/>
                </a:lnTo>
                <a:lnTo>
                  <a:pt x="1248464" y="1424772"/>
                </a:lnTo>
                <a:lnTo>
                  <a:pt x="1215108" y="1400948"/>
                </a:lnTo>
                <a:lnTo>
                  <a:pt x="1215108" y="1381886"/>
                </a:lnTo>
                <a:lnTo>
                  <a:pt x="1219872" y="1358062"/>
                </a:lnTo>
                <a:lnTo>
                  <a:pt x="1215108" y="1343766"/>
                </a:lnTo>
                <a:lnTo>
                  <a:pt x="1205578" y="1334236"/>
                </a:lnTo>
                <a:lnTo>
                  <a:pt x="1181752" y="1319940"/>
                </a:lnTo>
                <a:lnTo>
                  <a:pt x="1162692" y="1310410"/>
                </a:lnTo>
                <a:lnTo>
                  <a:pt x="1157926" y="1300880"/>
                </a:lnTo>
                <a:lnTo>
                  <a:pt x="1157926" y="1296114"/>
                </a:lnTo>
                <a:lnTo>
                  <a:pt x="1157926" y="1281820"/>
                </a:lnTo>
                <a:lnTo>
                  <a:pt x="1153160" y="1272288"/>
                </a:lnTo>
                <a:lnTo>
                  <a:pt x="1148396" y="1262758"/>
                </a:lnTo>
                <a:lnTo>
                  <a:pt x="1153160" y="1253228"/>
                </a:lnTo>
                <a:lnTo>
                  <a:pt x="1157926" y="1238932"/>
                </a:lnTo>
                <a:lnTo>
                  <a:pt x="1153160" y="1229402"/>
                </a:lnTo>
                <a:lnTo>
                  <a:pt x="1148396" y="1229402"/>
                </a:lnTo>
                <a:lnTo>
                  <a:pt x="1143630" y="1224638"/>
                </a:lnTo>
                <a:lnTo>
                  <a:pt x="1129336" y="1219872"/>
                </a:lnTo>
                <a:lnTo>
                  <a:pt x="1124570" y="1205578"/>
                </a:lnTo>
                <a:lnTo>
                  <a:pt x="1100744" y="1191282"/>
                </a:lnTo>
                <a:lnTo>
                  <a:pt x="1095980" y="1191282"/>
                </a:lnTo>
                <a:lnTo>
                  <a:pt x="1091214" y="1181752"/>
                </a:lnTo>
                <a:lnTo>
                  <a:pt x="1091214" y="1172222"/>
                </a:lnTo>
                <a:lnTo>
                  <a:pt x="1095980" y="1162692"/>
                </a:lnTo>
                <a:lnTo>
                  <a:pt x="1100744" y="1143630"/>
                </a:lnTo>
                <a:lnTo>
                  <a:pt x="1100744" y="1124570"/>
                </a:lnTo>
                <a:lnTo>
                  <a:pt x="1105510" y="1115040"/>
                </a:lnTo>
                <a:lnTo>
                  <a:pt x="1100744" y="1091214"/>
                </a:lnTo>
                <a:lnTo>
                  <a:pt x="1091214" y="1072154"/>
                </a:lnTo>
                <a:lnTo>
                  <a:pt x="1086450" y="1067388"/>
                </a:lnTo>
                <a:lnTo>
                  <a:pt x="1076918" y="1072154"/>
                </a:lnTo>
                <a:lnTo>
                  <a:pt x="1067388" y="1076918"/>
                </a:lnTo>
                <a:lnTo>
                  <a:pt x="1057858" y="1072154"/>
                </a:lnTo>
                <a:lnTo>
                  <a:pt x="1048328" y="1062624"/>
                </a:lnTo>
                <a:lnTo>
                  <a:pt x="1034032" y="1034032"/>
                </a:lnTo>
                <a:lnTo>
                  <a:pt x="1010206" y="1029268"/>
                </a:lnTo>
                <a:lnTo>
                  <a:pt x="995912" y="1029268"/>
                </a:lnTo>
                <a:lnTo>
                  <a:pt x="986382" y="1043562"/>
                </a:lnTo>
                <a:lnTo>
                  <a:pt x="981616" y="1038798"/>
                </a:lnTo>
                <a:lnTo>
                  <a:pt x="981616" y="1029268"/>
                </a:lnTo>
                <a:lnTo>
                  <a:pt x="976852" y="1024502"/>
                </a:lnTo>
                <a:lnTo>
                  <a:pt x="967320" y="1029268"/>
                </a:lnTo>
                <a:lnTo>
                  <a:pt x="967320" y="1024502"/>
                </a:lnTo>
                <a:lnTo>
                  <a:pt x="967320" y="1014972"/>
                </a:lnTo>
                <a:lnTo>
                  <a:pt x="957790" y="1005442"/>
                </a:lnTo>
                <a:lnTo>
                  <a:pt x="938730" y="1005442"/>
                </a:lnTo>
                <a:lnTo>
                  <a:pt x="929200" y="1005442"/>
                </a:lnTo>
                <a:lnTo>
                  <a:pt x="924434" y="995912"/>
                </a:lnTo>
                <a:lnTo>
                  <a:pt x="919670" y="986382"/>
                </a:lnTo>
                <a:lnTo>
                  <a:pt x="910140" y="986382"/>
                </a:lnTo>
                <a:lnTo>
                  <a:pt x="895844" y="976852"/>
                </a:lnTo>
                <a:lnTo>
                  <a:pt x="886314" y="967320"/>
                </a:lnTo>
                <a:lnTo>
                  <a:pt x="867254" y="957790"/>
                </a:lnTo>
                <a:lnTo>
                  <a:pt x="848192" y="953026"/>
                </a:lnTo>
                <a:lnTo>
                  <a:pt x="843428" y="953026"/>
                </a:lnTo>
                <a:lnTo>
                  <a:pt x="829132" y="957790"/>
                </a:lnTo>
                <a:lnTo>
                  <a:pt x="819602" y="967320"/>
                </a:lnTo>
                <a:lnTo>
                  <a:pt x="810072" y="962556"/>
                </a:lnTo>
                <a:lnTo>
                  <a:pt x="791012" y="976852"/>
                </a:lnTo>
                <a:lnTo>
                  <a:pt x="757656" y="976852"/>
                </a:lnTo>
                <a:lnTo>
                  <a:pt x="743360" y="976852"/>
                </a:lnTo>
                <a:lnTo>
                  <a:pt x="733830" y="972086"/>
                </a:lnTo>
                <a:lnTo>
                  <a:pt x="700474" y="995912"/>
                </a:lnTo>
                <a:lnTo>
                  <a:pt x="700474" y="1000676"/>
                </a:lnTo>
                <a:lnTo>
                  <a:pt x="690944" y="1005442"/>
                </a:lnTo>
                <a:lnTo>
                  <a:pt x="671882" y="1010206"/>
                </a:lnTo>
                <a:lnTo>
                  <a:pt x="648058" y="1014972"/>
                </a:lnTo>
                <a:lnTo>
                  <a:pt x="643292" y="1034032"/>
                </a:lnTo>
                <a:lnTo>
                  <a:pt x="638528" y="1048328"/>
                </a:lnTo>
                <a:lnTo>
                  <a:pt x="628996" y="1062624"/>
                </a:lnTo>
                <a:lnTo>
                  <a:pt x="586110" y="1072154"/>
                </a:lnTo>
                <a:lnTo>
                  <a:pt x="552754" y="1076918"/>
                </a:lnTo>
                <a:lnTo>
                  <a:pt x="519398" y="1081684"/>
                </a:lnTo>
                <a:lnTo>
                  <a:pt x="471748" y="1105510"/>
                </a:lnTo>
                <a:lnTo>
                  <a:pt x="457452" y="1124570"/>
                </a:lnTo>
                <a:lnTo>
                  <a:pt x="443156" y="1129336"/>
                </a:lnTo>
                <a:lnTo>
                  <a:pt x="428862" y="1129336"/>
                </a:lnTo>
                <a:lnTo>
                  <a:pt x="419332" y="1119804"/>
                </a:lnTo>
                <a:lnTo>
                  <a:pt x="390740" y="1091214"/>
                </a:lnTo>
                <a:lnTo>
                  <a:pt x="381210" y="1076918"/>
                </a:lnTo>
                <a:lnTo>
                  <a:pt x="366914" y="1076918"/>
                </a:lnTo>
                <a:lnTo>
                  <a:pt x="347854" y="1076918"/>
                </a:lnTo>
                <a:lnTo>
                  <a:pt x="333558" y="1081684"/>
                </a:lnTo>
                <a:lnTo>
                  <a:pt x="319264" y="1086448"/>
                </a:lnTo>
                <a:lnTo>
                  <a:pt x="300204" y="1076918"/>
                </a:lnTo>
                <a:lnTo>
                  <a:pt x="295438" y="1076918"/>
                </a:lnTo>
                <a:lnTo>
                  <a:pt x="290672" y="1076918"/>
                </a:lnTo>
                <a:lnTo>
                  <a:pt x="243022" y="1067388"/>
                </a:lnTo>
                <a:lnTo>
                  <a:pt x="238256" y="1067388"/>
                </a:lnTo>
                <a:lnTo>
                  <a:pt x="238256" y="1062624"/>
                </a:lnTo>
                <a:lnTo>
                  <a:pt x="233492" y="1062624"/>
                </a:lnTo>
                <a:lnTo>
                  <a:pt x="195370" y="1067388"/>
                </a:lnTo>
                <a:lnTo>
                  <a:pt x="166780" y="1043562"/>
                </a:lnTo>
                <a:lnTo>
                  <a:pt x="157250" y="1043562"/>
                </a:lnTo>
                <a:lnTo>
                  <a:pt x="147718" y="1053092"/>
                </a:lnTo>
                <a:lnTo>
                  <a:pt x="142954" y="1062624"/>
                </a:lnTo>
                <a:lnTo>
                  <a:pt x="119128" y="1072154"/>
                </a:lnTo>
                <a:lnTo>
                  <a:pt x="114364" y="1076918"/>
                </a:lnTo>
                <a:lnTo>
                  <a:pt x="109598" y="1072154"/>
                </a:lnTo>
                <a:lnTo>
                  <a:pt x="109598" y="1062624"/>
                </a:lnTo>
                <a:lnTo>
                  <a:pt x="109598" y="1057858"/>
                </a:lnTo>
                <a:lnTo>
                  <a:pt x="109598" y="1048328"/>
                </a:lnTo>
                <a:lnTo>
                  <a:pt x="100068" y="1038798"/>
                </a:lnTo>
                <a:lnTo>
                  <a:pt x="95302" y="1038798"/>
                </a:lnTo>
                <a:lnTo>
                  <a:pt x="85772" y="1038798"/>
                </a:lnTo>
                <a:lnTo>
                  <a:pt x="66712" y="1029268"/>
                </a:lnTo>
                <a:lnTo>
                  <a:pt x="57182" y="1014972"/>
                </a:lnTo>
                <a:lnTo>
                  <a:pt x="42886" y="1005442"/>
                </a:lnTo>
                <a:lnTo>
                  <a:pt x="33356" y="1005442"/>
                </a:lnTo>
                <a:lnTo>
                  <a:pt x="28590" y="995912"/>
                </a:lnTo>
                <a:lnTo>
                  <a:pt x="23826" y="986382"/>
                </a:lnTo>
                <a:lnTo>
                  <a:pt x="19060" y="976852"/>
                </a:lnTo>
                <a:lnTo>
                  <a:pt x="19060" y="967320"/>
                </a:lnTo>
                <a:lnTo>
                  <a:pt x="14296" y="967320"/>
                </a:lnTo>
                <a:lnTo>
                  <a:pt x="0" y="967320"/>
                </a:lnTo>
                <a:lnTo>
                  <a:pt x="0" y="929200"/>
                </a:lnTo>
                <a:lnTo>
                  <a:pt x="23826" y="900608"/>
                </a:lnTo>
                <a:lnTo>
                  <a:pt x="28590" y="886314"/>
                </a:lnTo>
                <a:lnTo>
                  <a:pt x="38122" y="857722"/>
                </a:lnTo>
                <a:lnTo>
                  <a:pt x="42886" y="843428"/>
                </a:lnTo>
                <a:lnTo>
                  <a:pt x="52416" y="829132"/>
                </a:lnTo>
                <a:lnTo>
                  <a:pt x="57182" y="819602"/>
                </a:lnTo>
                <a:lnTo>
                  <a:pt x="61946" y="810072"/>
                </a:lnTo>
                <a:lnTo>
                  <a:pt x="66712" y="810072"/>
                </a:lnTo>
                <a:lnTo>
                  <a:pt x="85772" y="819602"/>
                </a:lnTo>
                <a:lnTo>
                  <a:pt x="104832" y="824366"/>
                </a:lnTo>
                <a:lnTo>
                  <a:pt x="109598" y="819602"/>
                </a:lnTo>
                <a:lnTo>
                  <a:pt x="109598" y="810072"/>
                </a:lnTo>
                <a:lnTo>
                  <a:pt x="95302" y="795776"/>
                </a:lnTo>
                <a:lnTo>
                  <a:pt x="85772" y="786246"/>
                </a:lnTo>
                <a:lnTo>
                  <a:pt x="85772" y="781480"/>
                </a:lnTo>
                <a:lnTo>
                  <a:pt x="90538" y="771950"/>
                </a:lnTo>
                <a:lnTo>
                  <a:pt x="90538" y="757656"/>
                </a:lnTo>
                <a:lnTo>
                  <a:pt x="90538" y="743360"/>
                </a:lnTo>
                <a:lnTo>
                  <a:pt x="81008" y="710004"/>
                </a:lnTo>
                <a:lnTo>
                  <a:pt x="76242" y="700474"/>
                </a:lnTo>
                <a:lnTo>
                  <a:pt x="85772" y="681414"/>
                </a:lnTo>
                <a:lnTo>
                  <a:pt x="114364" y="643292"/>
                </a:lnTo>
                <a:lnTo>
                  <a:pt x="123894" y="628996"/>
                </a:lnTo>
                <a:lnTo>
                  <a:pt x="138188" y="609936"/>
                </a:lnTo>
                <a:lnTo>
                  <a:pt x="176310" y="567050"/>
                </a:lnTo>
                <a:lnTo>
                  <a:pt x="195370" y="543224"/>
                </a:lnTo>
                <a:lnTo>
                  <a:pt x="214430" y="528930"/>
                </a:lnTo>
                <a:lnTo>
                  <a:pt x="233492" y="505104"/>
                </a:lnTo>
                <a:lnTo>
                  <a:pt x="243022" y="495574"/>
                </a:lnTo>
                <a:lnTo>
                  <a:pt x="285908" y="486042"/>
                </a:lnTo>
                <a:lnTo>
                  <a:pt x="290672" y="476512"/>
                </a:lnTo>
                <a:lnTo>
                  <a:pt x="295438" y="462218"/>
                </a:lnTo>
                <a:lnTo>
                  <a:pt x="304968" y="457452"/>
                </a:lnTo>
                <a:lnTo>
                  <a:pt x="304968" y="433626"/>
                </a:lnTo>
                <a:lnTo>
                  <a:pt x="295438" y="409800"/>
                </a:lnTo>
                <a:lnTo>
                  <a:pt x="290672" y="400270"/>
                </a:lnTo>
                <a:lnTo>
                  <a:pt x="285908" y="395506"/>
                </a:lnTo>
                <a:lnTo>
                  <a:pt x="290672" y="385976"/>
                </a:lnTo>
                <a:lnTo>
                  <a:pt x="295438" y="385976"/>
                </a:lnTo>
                <a:lnTo>
                  <a:pt x="300204" y="385976"/>
                </a:lnTo>
                <a:lnTo>
                  <a:pt x="304968" y="381210"/>
                </a:lnTo>
                <a:lnTo>
                  <a:pt x="304968" y="371680"/>
                </a:lnTo>
                <a:lnTo>
                  <a:pt x="285908" y="357384"/>
                </a:lnTo>
                <a:lnTo>
                  <a:pt x="281142" y="343090"/>
                </a:lnTo>
                <a:lnTo>
                  <a:pt x="266848" y="309734"/>
                </a:lnTo>
                <a:lnTo>
                  <a:pt x="243022" y="276378"/>
                </a:lnTo>
                <a:lnTo>
                  <a:pt x="238256" y="262082"/>
                </a:lnTo>
                <a:lnTo>
                  <a:pt x="238256" y="252552"/>
                </a:lnTo>
                <a:lnTo>
                  <a:pt x="238256" y="243022"/>
                </a:lnTo>
                <a:lnTo>
                  <a:pt x="238256" y="228726"/>
                </a:lnTo>
                <a:lnTo>
                  <a:pt x="228726" y="209666"/>
                </a:lnTo>
                <a:lnTo>
                  <a:pt x="228726" y="190606"/>
                </a:lnTo>
                <a:lnTo>
                  <a:pt x="233492" y="185840"/>
                </a:lnTo>
                <a:lnTo>
                  <a:pt x="243022" y="181074"/>
                </a:lnTo>
                <a:lnTo>
                  <a:pt x="257316" y="181074"/>
                </a:lnTo>
                <a:lnTo>
                  <a:pt x="266848" y="185840"/>
                </a:lnTo>
                <a:lnTo>
                  <a:pt x="281142" y="195370"/>
                </a:lnTo>
                <a:lnTo>
                  <a:pt x="285908" y="195370"/>
                </a:lnTo>
                <a:lnTo>
                  <a:pt x="309734" y="176310"/>
                </a:lnTo>
                <a:lnTo>
                  <a:pt x="333558" y="147718"/>
                </a:lnTo>
                <a:lnTo>
                  <a:pt x="338324" y="133424"/>
                </a:lnTo>
                <a:lnTo>
                  <a:pt x="347854" y="123894"/>
                </a:lnTo>
                <a:lnTo>
                  <a:pt x="366914" y="119128"/>
                </a:lnTo>
                <a:lnTo>
                  <a:pt x="385976" y="119128"/>
                </a:lnTo>
                <a:lnTo>
                  <a:pt x="395506" y="119128"/>
                </a:lnTo>
                <a:lnTo>
                  <a:pt x="424096" y="114364"/>
                </a:lnTo>
                <a:lnTo>
                  <a:pt x="443156" y="114364"/>
                </a:lnTo>
                <a:lnTo>
                  <a:pt x="457452" y="109598"/>
                </a:lnTo>
                <a:lnTo>
                  <a:pt x="486042" y="104832"/>
                </a:lnTo>
                <a:lnTo>
                  <a:pt x="533694" y="109598"/>
                </a:lnTo>
                <a:lnTo>
                  <a:pt x="567050" y="109598"/>
                </a:lnTo>
                <a:lnTo>
                  <a:pt x="590876" y="114364"/>
                </a:lnTo>
                <a:lnTo>
                  <a:pt x="643292" y="128658"/>
                </a:lnTo>
                <a:lnTo>
                  <a:pt x="662352" y="128658"/>
                </a:lnTo>
                <a:lnTo>
                  <a:pt x="671882" y="138188"/>
                </a:lnTo>
                <a:lnTo>
                  <a:pt x="690944" y="142954"/>
                </a:lnTo>
                <a:lnTo>
                  <a:pt x="724300" y="147718"/>
                </a:lnTo>
                <a:lnTo>
                  <a:pt x="748126" y="152484"/>
                </a:lnTo>
                <a:lnTo>
                  <a:pt x="767186" y="152484"/>
                </a:lnTo>
                <a:lnTo>
                  <a:pt x="781480" y="152484"/>
                </a:lnTo>
                <a:lnTo>
                  <a:pt x="800542" y="185840"/>
                </a:lnTo>
                <a:lnTo>
                  <a:pt x="805306" y="190606"/>
                </a:lnTo>
                <a:lnTo>
                  <a:pt x="810072" y="190606"/>
                </a:lnTo>
                <a:lnTo>
                  <a:pt x="829132" y="190606"/>
                </a:lnTo>
                <a:lnTo>
                  <a:pt x="852958" y="190606"/>
                </a:lnTo>
                <a:lnTo>
                  <a:pt x="867254" y="200136"/>
                </a:lnTo>
                <a:lnTo>
                  <a:pt x="862488" y="219196"/>
                </a:lnTo>
                <a:lnTo>
                  <a:pt x="867254" y="223960"/>
                </a:lnTo>
                <a:lnTo>
                  <a:pt x="872018" y="219196"/>
                </a:lnTo>
                <a:lnTo>
                  <a:pt x="881548" y="209666"/>
                </a:lnTo>
                <a:lnTo>
                  <a:pt x="886314" y="195370"/>
                </a:lnTo>
                <a:lnTo>
                  <a:pt x="891078" y="195370"/>
                </a:lnTo>
                <a:lnTo>
                  <a:pt x="914904" y="200136"/>
                </a:lnTo>
                <a:lnTo>
                  <a:pt x="924434" y="200136"/>
                </a:lnTo>
                <a:lnTo>
                  <a:pt x="938730" y="190606"/>
                </a:lnTo>
                <a:lnTo>
                  <a:pt x="943496" y="190606"/>
                </a:lnTo>
                <a:lnTo>
                  <a:pt x="957790" y="195370"/>
                </a:lnTo>
                <a:lnTo>
                  <a:pt x="981616" y="200136"/>
                </a:lnTo>
                <a:lnTo>
                  <a:pt x="995912" y="200136"/>
                </a:lnTo>
                <a:lnTo>
                  <a:pt x="1005442" y="204900"/>
                </a:lnTo>
                <a:lnTo>
                  <a:pt x="1014972" y="228726"/>
                </a:lnTo>
                <a:lnTo>
                  <a:pt x="1019738" y="233492"/>
                </a:lnTo>
                <a:lnTo>
                  <a:pt x="1029268" y="233492"/>
                </a:lnTo>
                <a:lnTo>
                  <a:pt x="1038798" y="214430"/>
                </a:lnTo>
                <a:lnTo>
                  <a:pt x="1048328" y="204900"/>
                </a:lnTo>
                <a:lnTo>
                  <a:pt x="1057858" y="200136"/>
                </a:lnTo>
                <a:lnTo>
                  <a:pt x="1067388" y="200136"/>
                </a:lnTo>
                <a:lnTo>
                  <a:pt x="1072154" y="190606"/>
                </a:lnTo>
                <a:lnTo>
                  <a:pt x="1081684" y="185840"/>
                </a:lnTo>
                <a:lnTo>
                  <a:pt x="1086450" y="185840"/>
                </a:lnTo>
                <a:lnTo>
                  <a:pt x="1091214" y="185840"/>
                </a:lnTo>
                <a:lnTo>
                  <a:pt x="1095980" y="195370"/>
                </a:lnTo>
                <a:lnTo>
                  <a:pt x="1105510" y="219196"/>
                </a:lnTo>
                <a:lnTo>
                  <a:pt x="1115040" y="238256"/>
                </a:lnTo>
                <a:lnTo>
                  <a:pt x="1124570" y="247786"/>
                </a:lnTo>
                <a:lnTo>
                  <a:pt x="1143630" y="238256"/>
                </a:lnTo>
                <a:lnTo>
                  <a:pt x="1157926" y="233492"/>
                </a:lnTo>
                <a:lnTo>
                  <a:pt x="1181752" y="233492"/>
                </a:lnTo>
                <a:lnTo>
                  <a:pt x="1210342" y="228726"/>
                </a:lnTo>
                <a:lnTo>
                  <a:pt x="1234168" y="219196"/>
                </a:lnTo>
                <a:lnTo>
                  <a:pt x="1253228" y="223960"/>
                </a:lnTo>
                <a:lnTo>
                  <a:pt x="1262758" y="228726"/>
                </a:lnTo>
                <a:lnTo>
                  <a:pt x="1277054" y="243022"/>
                </a:lnTo>
                <a:lnTo>
                  <a:pt x="1277054" y="262082"/>
                </a:lnTo>
                <a:lnTo>
                  <a:pt x="1296114" y="271612"/>
                </a:lnTo>
                <a:lnTo>
                  <a:pt x="1310410" y="276378"/>
                </a:lnTo>
                <a:lnTo>
                  <a:pt x="1315176" y="262082"/>
                </a:lnTo>
                <a:lnTo>
                  <a:pt x="1324706" y="252552"/>
                </a:lnTo>
                <a:lnTo>
                  <a:pt x="1324706" y="238256"/>
                </a:lnTo>
                <a:lnTo>
                  <a:pt x="1319940" y="223960"/>
                </a:lnTo>
                <a:lnTo>
                  <a:pt x="1315176" y="209666"/>
                </a:lnTo>
                <a:lnTo>
                  <a:pt x="1310410" y="190606"/>
                </a:lnTo>
                <a:lnTo>
                  <a:pt x="1319940" y="166780"/>
                </a:lnTo>
                <a:lnTo>
                  <a:pt x="1324706" y="147718"/>
                </a:lnTo>
                <a:lnTo>
                  <a:pt x="1329470" y="138188"/>
                </a:lnTo>
                <a:lnTo>
                  <a:pt x="1343766" y="114364"/>
                </a:lnTo>
                <a:lnTo>
                  <a:pt x="1358062" y="100068"/>
                </a:lnTo>
                <a:lnTo>
                  <a:pt x="1377122" y="76242"/>
                </a:lnTo>
                <a:lnTo>
                  <a:pt x="1396182" y="71476"/>
                </a:lnTo>
                <a:lnTo>
                  <a:pt x="1410478" y="76242"/>
                </a:lnTo>
                <a:lnTo>
                  <a:pt x="1415242" y="76242"/>
                </a:lnTo>
                <a:lnTo>
                  <a:pt x="1434304" y="61946"/>
                </a:lnTo>
                <a:lnTo>
                  <a:pt x="1472426" y="61946"/>
                </a:lnTo>
                <a:lnTo>
                  <a:pt x="1501014" y="66712"/>
                </a:lnTo>
                <a:lnTo>
                  <a:pt x="1505782" y="66712"/>
                </a:lnTo>
                <a:lnTo>
                  <a:pt x="1520074" y="71476"/>
                </a:lnTo>
                <a:lnTo>
                  <a:pt x="1534370" y="76242"/>
                </a:lnTo>
                <a:lnTo>
                  <a:pt x="1543902" y="76242"/>
                </a:lnTo>
                <a:lnTo>
                  <a:pt x="1558198" y="76242"/>
                </a:lnTo>
                <a:lnTo>
                  <a:pt x="1572494" y="71476"/>
                </a:lnTo>
                <a:lnTo>
                  <a:pt x="1582022" y="61946"/>
                </a:lnTo>
                <a:lnTo>
                  <a:pt x="1596318" y="19060"/>
                </a:lnTo>
                <a:lnTo>
                  <a:pt x="1601082" y="14296"/>
                </a:lnTo>
                <a:lnTo>
                  <a:pt x="1605846" y="14296"/>
                </a:lnTo>
                <a:lnTo>
                  <a:pt x="1620142" y="9530"/>
                </a:lnTo>
                <a:lnTo>
                  <a:pt x="1639202" y="19060"/>
                </a:lnTo>
                <a:lnTo>
                  <a:pt x="1663030" y="23826"/>
                </a:lnTo>
                <a:lnTo>
                  <a:pt x="1677326" y="23826"/>
                </a:lnTo>
                <a:lnTo>
                  <a:pt x="1720210" y="4766"/>
                </a:lnTo>
                <a:close/>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56" name="CustomShape 81"/>
          <p:cNvSpPr/>
          <p:nvPr/>
        </p:nvSpPr>
        <p:spPr>
          <a:xfrm>
            <a:off x="4862880" y="4525200"/>
            <a:ext cx="360" cy="360"/>
          </a:xfrm>
          <a:custGeom>
            <a:avLst/>
            <a:gdLst/>
            <a:ahLst/>
            <a:cxnLst/>
            <a:rect l="l" t="t" r="r" b="b"/>
            <a:pathLst>
              <a:path w="21600" h="21600">
                <a:moveTo>
                  <a:pt x="0" y="0"/>
                </a:moveTo>
                <a:lnTo>
                  <a:pt x="21600" y="21600"/>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grpSp>
        <p:nvGrpSpPr>
          <p:cNvPr id="457" name="Group 82"/>
          <p:cNvGrpSpPr/>
          <p:nvPr/>
        </p:nvGrpSpPr>
        <p:grpSpPr>
          <a:xfrm>
            <a:off x="2331360" y="4656600"/>
            <a:ext cx="945360" cy="933120"/>
            <a:chOff x="2331360" y="4656600"/>
            <a:chExt cx="945360" cy="933120"/>
          </a:xfrm>
        </p:grpSpPr>
        <p:sp>
          <p:nvSpPr>
            <p:cNvPr id="458" name="CustomShape 83"/>
            <p:cNvSpPr/>
            <p:nvPr/>
          </p:nvSpPr>
          <p:spPr>
            <a:xfrm>
              <a:off x="2331360" y="4656600"/>
              <a:ext cx="852480" cy="848520"/>
            </a:xfrm>
            <a:custGeom>
              <a:avLst/>
              <a:gdLst/>
              <a:ahLst/>
              <a:cxnLst/>
              <a:rect l="l" t="t" r="r" b="b"/>
              <a:pathLst>
                <a:path w="2015648" h="2006118">
                  <a:moveTo>
                    <a:pt x="528928" y="1196046"/>
                  </a:moveTo>
                  <a:lnTo>
                    <a:pt x="543222" y="1205576"/>
                  </a:lnTo>
                  <a:lnTo>
                    <a:pt x="557520" y="1229402"/>
                  </a:lnTo>
                  <a:lnTo>
                    <a:pt x="552756" y="1248462"/>
                  </a:lnTo>
                  <a:lnTo>
                    <a:pt x="543222" y="1229402"/>
                  </a:lnTo>
                  <a:lnTo>
                    <a:pt x="528928" y="1215108"/>
                  </a:lnTo>
                  <a:lnTo>
                    <a:pt x="528928" y="1200812"/>
                  </a:lnTo>
                  <a:close/>
                  <a:moveTo>
                    <a:pt x="1138864" y="0"/>
                  </a:moveTo>
                  <a:lnTo>
                    <a:pt x="1138864" y="14296"/>
                  </a:lnTo>
                  <a:lnTo>
                    <a:pt x="1148396" y="28590"/>
                  </a:lnTo>
                  <a:lnTo>
                    <a:pt x="1148396" y="38122"/>
                  </a:lnTo>
                  <a:lnTo>
                    <a:pt x="1148396" y="47652"/>
                  </a:lnTo>
                  <a:lnTo>
                    <a:pt x="1148396" y="57182"/>
                  </a:lnTo>
                  <a:lnTo>
                    <a:pt x="1157926" y="71476"/>
                  </a:lnTo>
                  <a:lnTo>
                    <a:pt x="1172220" y="90538"/>
                  </a:lnTo>
                  <a:lnTo>
                    <a:pt x="1186516" y="100068"/>
                  </a:lnTo>
                  <a:lnTo>
                    <a:pt x="1191280" y="95302"/>
                  </a:lnTo>
                  <a:lnTo>
                    <a:pt x="1200812" y="95302"/>
                  </a:lnTo>
                  <a:lnTo>
                    <a:pt x="1215106" y="85772"/>
                  </a:lnTo>
                  <a:lnTo>
                    <a:pt x="1229400" y="81008"/>
                  </a:lnTo>
                  <a:lnTo>
                    <a:pt x="1238934" y="95302"/>
                  </a:lnTo>
                  <a:lnTo>
                    <a:pt x="1248462" y="109598"/>
                  </a:lnTo>
                  <a:lnTo>
                    <a:pt x="1253228" y="128658"/>
                  </a:lnTo>
                  <a:lnTo>
                    <a:pt x="1253228" y="142954"/>
                  </a:lnTo>
                  <a:lnTo>
                    <a:pt x="1262758" y="147718"/>
                  </a:lnTo>
                  <a:lnTo>
                    <a:pt x="1286582" y="152484"/>
                  </a:lnTo>
                  <a:lnTo>
                    <a:pt x="1305642" y="157250"/>
                  </a:lnTo>
                  <a:lnTo>
                    <a:pt x="1310410" y="162014"/>
                  </a:lnTo>
                  <a:lnTo>
                    <a:pt x="1315176" y="190606"/>
                  </a:lnTo>
                  <a:lnTo>
                    <a:pt x="1319940" y="195370"/>
                  </a:lnTo>
                  <a:lnTo>
                    <a:pt x="1324704" y="195370"/>
                  </a:lnTo>
                  <a:lnTo>
                    <a:pt x="1329470" y="190606"/>
                  </a:lnTo>
                  <a:lnTo>
                    <a:pt x="1334236" y="185840"/>
                  </a:lnTo>
                  <a:lnTo>
                    <a:pt x="1348530" y="190606"/>
                  </a:lnTo>
                  <a:lnTo>
                    <a:pt x="1358060" y="190606"/>
                  </a:lnTo>
                  <a:lnTo>
                    <a:pt x="1377120" y="195370"/>
                  </a:lnTo>
                  <a:lnTo>
                    <a:pt x="1396182" y="209666"/>
                  </a:lnTo>
                  <a:lnTo>
                    <a:pt x="1396182" y="219196"/>
                  </a:lnTo>
                  <a:lnTo>
                    <a:pt x="1391418" y="228726"/>
                  </a:lnTo>
                  <a:lnTo>
                    <a:pt x="1391418" y="238256"/>
                  </a:lnTo>
                  <a:lnTo>
                    <a:pt x="1391418" y="243022"/>
                  </a:lnTo>
                  <a:lnTo>
                    <a:pt x="1396182" y="247786"/>
                  </a:lnTo>
                  <a:lnTo>
                    <a:pt x="1396182" y="257316"/>
                  </a:lnTo>
                  <a:lnTo>
                    <a:pt x="1391418" y="266848"/>
                  </a:lnTo>
                  <a:lnTo>
                    <a:pt x="1391418" y="271612"/>
                  </a:lnTo>
                  <a:lnTo>
                    <a:pt x="1391418" y="276378"/>
                  </a:lnTo>
                  <a:lnTo>
                    <a:pt x="1391418" y="281142"/>
                  </a:lnTo>
                  <a:lnTo>
                    <a:pt x="1396182" y="281142"/>
                  </a:lnTo>
                  <a:lnTo>
                    <a:pt x="1424772" y="285908"/>
                  </a:lnTo>
                  <a:lnTo>
                    <a:pt x="1453364" y="281142"/>
                  </a:lnTo>
                  <a:lnTo>
                    <a:pt x="1472424" y="271612"/>
                  </a:lnTo>
                  <a:lnTo>
                    <a:pt x="1472424" y="262082"/>
                  </a:lnTo>
                  <a:lnTo>
                    <a:pt x="1477188" y="247786"/>
                  </a:lnTo>
                  <a:lnTo>
                    <a:pt x="1486720" y="238256"/>
                  </a:lnTo>
                  <a:lnTo>
                    <a:pt x="1496248" y="233492"/>
                  </a:lnTo>
                  <a:lnTo>
                    <a:pt x="1501014" y="238256"/>
                  </a:lnTo>
                  <a:lnTo>
                    <a:pt x="1491484" y="281142"/>
                  </a:lnTo>
                  <a:lnTo>
                    <a:pt x="1501014" y="290672"/>
                  </a:lnTo>
                  <a:lnTo>
                    <a:pt x="1501014" y="309734"/>
                  </a:lnTo>
                  <a:lnTo>
                    <a:pt x="1505780" y="324028"/>
                  </a:lnTo>
                  <a:lnTo>
                    <a:pt x="1515308" y="324028"/>
                  </a:lnTo>
                  <a:lnTo>
                    <a:pt x="1524842" y="324028"/>
                  </a:lnTo>
                  <a:lnTo>
                    <a:pt x="1534368" y="328794"/>
                  </a:lnTo>
                  <a:lnTo>
                    <a:pt x="1543902" y="338324"/>
                  </a:lnTo>
                  <a:lnTo>
                    <a:pt x="1558196" y="347854"/>
                  </a:lnTo>
                  <a:lnTo>
                    <a:pt x="1567726" y="347854"/>
                  </a:lnTo>
                  <a:lnTo>
                    <a:pt x="1572490" y="357384"/>
                  </a:lnTo>
                  <a:lnTo>
                    <a:pt x="1582024" y="362150"/>
                  </a:lnTo>
                  <a:lnTo>
                    <a:pt x="1591550" y="381210"/>
                  </a:lnTo>
                  <a:lnTo>
                    <a:pt x="1605848" y="390740"/>
                  </a:lnTo>
                  <a:lnTo>
                    <a:pt x="1610610" y="390740"/>
                  </a:lnTo>
                  <a:lnTo>
                    <a:pt x="1620144" y="385976"/>
                  </a:lnTo>
                  <a:lnTo>
                    <a:pt x="1634438" y="385976"/>
                  </a:lnTo>
                  <a:lnTo>
                    <a:pt x="1648732" y="385976"/>
                  </a:lnTo>
                  <a:lnTo>
                    <a:pt x="1653498" y="390740"/>
                  </a:lnTo>
                  <a:lnTo>
                    <a:pt x="1663028" y="395506"/>
                  </a:lnTo>
                  <a:lnTo>
                    <a:pt x="1667792" y="400270"/>
                  </a:lnTo>
                  <a:lnTo>
                    <a:pt x="1672558" y="405036"/>
                  </a:lnTo>
                  <a:lnTo>
                    <a:pt x="1682090" y="405036"/>
                  </a:lnTo>
                  <a:lnTo>
                    <a:pt x="1691620" y="405036"/>
                  </a:lnTo>
                  <a:lnTo>
                    <a:pt x="1701150" y="395506"/>
                  </a:lnTo>
                  <a:lnTo>
                    <a:pt x="1710680" y="390740"/>
                  </a:lnTo>
                  <a:lnTo>
                    <a:pt x="1720210" y="395506"/>
                  </a:lnTo>
                  <a:lnTo>
                    <a:pt x="1724974" y="400270"/>
                  </a:lnTo>
                  <a:lnTo>
                    <a:pt x="1734508" y="405036"/>
                  </a:lnTo>
                  <a:lnTo>
                    <a:pt x="1739270" y="405036"/>
                  </a:lnTo>
                  <a:lnTo>
                    <a:pt x="1753568" y="405036"/>
                  </a:lnTo>
                  <a:lnTo>
                    <a:pt x="1763094" y="419332"/>
                  </a:lnTo>
                  <a:lnTo>
                    <a:pt x="1767862" y="428862"/>
                  </a:lnTo>
                  <a:lnTo>
                    <a:pt x="1772628" y="438392"/>
                  </a:lnTo>
                  <a:lnTo>
                    <a:pt x="1777392" y="443156"/>
                  </a:lnTo>
                  <a:lnTo>
                    <a:pt x="1796452" y="476512"/>
                  </a:lnTo>
                  <a:lnTo>
                    <a:pt x="1801216" y="476512"/>
                  </a:lnTo>
                  <a:lnTo>
                    <a:pt x="1810748" y="471748"/>
                  </a:lnTo>
                  <a:lnTo>
                    <a:pt x="1815512" y="462218"/>
                  </a:lnTo>
                  <a:lnTo>
                    <a:pt x="1820276" y="462218"/>
                  </a:lnTo>
                  <a:lnTo>
                    <a:pt x="1829810" y="466982"/>
                  </a:lnTo>
                  <a:lnTo>
                    <a:pt x="1839336" y="471748"/>
                  </a:lnTo>
                  <a:lnTo>
                    <a:pt x="1839336" y="481278"/>
                  </a:lnTo>
                  <a:lnTo>
                    <a:pt x="1844104" y="486042"/>
                  </a:lnTo>
                  <a:lnTo>
                    <a:pt x="1848870" y="481278"/>
                  </a:lnTo>
                  <a:lnTo>
                    <a:pt x="1853634" y="481278"/>
                  </a:lnTo>
                  <a:lnTo>
                    <a:pt x="1867930" y="486042"/>
                  </a:lnTo>
                  <a:lnTo>
                    <a:pt x="1886992" y="481278"/>
                  </a:lnTo>
                  <a:lnTo>
                    <a:pt x="1901284" y="476512"/>
                  </a:lnTo>
                  <a:lnTo>
                    <a:pt x="1906052" y="476512"/>
                  </a:lnTo>
                  <a:lnTo>
                    <a:pt x="1920346" y="490808"/>
                  </a:lnTo>
                  <a:lnTo>
                    <a:pt x="1934640" y="500338"/>
                  </a:lnTo>
                  <a:lnTo>
                    <a:pt x="1963234" y="500338"/>
                  </a:lnTo>
                  <a:lnTo>
                    <a:pt x="1991820" y="509868"/>
                  </a:lnTo>
                  <a:lnTo>
                    <a:pt x="2006118" y="514634"/>
                  </a:lnTo>
                  <a:lnTo>
                    <a:pt x="2015648" y="519398"/>
                  </a:lnTo>
                  <a:lnTo>
                    <a:pt x="2015648" y="538460"/>
                  </a:lnTo>
                  <a:lnTo>
                    <a:pt x="2010882" y="543224"/>
                  </a:lnTo>
                  <a:lnTo>
                    <a:pt x="1982294" y="586110"/>
                  </a:lnTo>
                  <a:lnTo>
                    <a:pt x="1967996" y="600406"/>
                  </a:lnTo>
                  <a:lnTo>
                    <a:pt x="1963234" y="619466"/>
                  </a:lnTo>
                  <a:lnTo>
                    <a:pt x="1958466" y="652822"/>
                  </a:lnTo>
                  <a:lnTo>
                    <a:pt x="1948936" y="681414"/>
                  </a:lnTo>
                  <a:lnTo>
                    <a:pt x="1934640" y="710004"/>
                  </a:lnTo>
                  <a:lnTo>
                    <a:pt x="1929876" y="733830"/>
                  </a:lnTo>
                  <a:lnTo>
                    <a:pt x="1929876" y="748124"/>
                  </a:lnTo>
                  <a:lnTo>
                    <a:pt x="1929876" y="771950"/>
                  </a:lnTo>
                  <a:lnTo>
                    <a:pt x="1920346" y="800542"/>
                  </a:lnTo>
                  <a:lnTo>
                    <a:pt x="1920346" y="824366"/>
                  </a:lnTo>
                  <a:lnTo>
                    <a:pt x="1925112" y="838662"/>
                  </a:lnTo>
                  <a:lnTo>
                    <a:pt x="1934640" y="843428"/>
                  </a:lnTo>
                  <a:lnTo>
                    <a:pt x="1915578" y="852958"/>
                  </a:lnTo>
                  <a:lnTo>
                    <a:pt x="1910816" y="862488"/>
                  </a:lnTo>
                  <a:lnTo>
                    <a:pt x="1901284" y="876784"/>
                  </a:lnTo>
                  <a:lnTo>
                    <a:pt x="1891754" y="881548"/>
                  </a:lnTo>
                  <a:lnTo>
                    <a:pt x="1877458" y="881548"/>
                  </a:lnTo>
                  <a:lnTo>
                    <a:pt x="1867930" y="881548"/>
                  </a:lnTo>
                  <a:lnTo>
                    <a:pt x="1863164" y="876784"/>
                  </a:lnTo>
                  <a:lnTo>
                    <a:pt x="1863164" y="872018"/>
                  </a:lnTo>
                  <a:lnTo>
                    <a:pt x="1858398" y="867252"/>
                  </a:lnTo>
                  <a:lnTo>
                    <a:pt x="1844104" y="867252"/>
                  </a:lnTo>
                  <a:lnTo>
                    <a:pt x="1834574" y="876784"/>
                  </a:lnTo>
                  <a:lnTo>
                    <a:pt x="1820276" y="891078"/>
                  </a:lnTo>
                  <a:lnTo>
                    <a:pt x="1825044" y="895844"/>
                  </a:lnTo>
                  <a:lnTo>
                    <a:pt x="1834574" y="900608"/>
                  </a:lnTo>
                  <a:lnTo>
                    <a:pt x="1839336" y="900608"/>
                  </a:lnTo>
                  <a:lnTo>
                    <a:pt x="1839336" y="905374"/>
                  </a:lnTo>
                  <a:lnTo>
                    <a:pt x="1834574" y="910140"/>
                  </a:lnTo>
                  <a:lnTo>
                    <a:pt x="1829810" y="919670"/>
                  </a:lnTo>
                  <a:lnTo>
                    <a:pt x="1810748" y="943494"/>
                  </a:lnTo>
                  <a:lnTo>
                    <a:pt x="1786922" y="967320"/>
                  </a:lnTo>
                  <a:lnTo>
                    <a:pt x="1786922" y="972086"/>
                  </a:lnTo>
                  <a:lnTo>
                    <a:pt x="1777392" y="976850"/>
                  </a:lnTo>
                  <a:lnTo>
                    <a:pt x="1753568" y="991146"/>
                  </a:lnTo>
                  <a:lnTo>
                    <a:pt x="1748800" y="995912"/>
                  </a:lnTo>
                  <a:lnTo>
                    <a:pt x="1748800" y="1019736"/>
                  </a:lnTo>
                  <a:lnTo>
                    <a:pt x="1744034" y="1034032"/>
                  </a:lnTo>
                  <a:lnTo>
                    <a:pt x="1724974" y="1053092"/>
                  </a:lnTo>
                  <a:lnTo>
                    <a:pt x="1705914" y="1067388"/>
                  </a:lnTo>
                  <a:lnTo>
                    <a:pt x="1701150" y="1076918"/>
                  </a:lnTo>
                  <a:lnTo>
                    <a:pt x="1696386" y="1091214"/>
                  </a:lnTo>
                  <a:lnTo>
                    <a:pt x="1691620" y="1105510"/>
                  </a:lnTo>
                  <a:lnTo>
                    <a:pt x="1691620" y="1110274"/>
                  </a:lnTo>
                  <a:lnTo>
                    <a:pt x="1701150" y="1119804"/>
                  </a:lnTo>
                  <a:lnTo>
                    <a:pt x="1701150" y="1129334"/>
                  </a:lnTo>
                  <a:lnTo>
                    <a:pt x="1696386" y="1143630"/>
                  </a:lnTo>
                  <a:lnTo>
                    <a:pt x="1686852" y="1153160"/>
                  </a:lnTo>
                  <a:lnTo>
                    <a:pt x="1677326" y="1157926"/>
                  </a:lnTo>
                  <a:lnTo>
                    <a:pt x="1677326" y="1172222"/>
                  </a:lnTo>
                  <a:lnTo>
                    <a:pt x="1682090" y="1176986"/>
                  </a:lnTo>
                  <a:lnTo>
                    <a:pt x="1696386" y="1172222"/>
                  </a:lnTo>
                  <a:lnTo>
                    <a:pt x="1710680" y="1162690"/>
                  </a:lnTo>
                  <a:lnTo>
                    <a:pt x="1724974" y="1148396"/>
                  </a:lnTo>
                  <a:lnTo>
                    <a:pt x="1715446" y="1138866"/>
                  </a:lnTo>
                  <a:lnTo>
                    <a:pt x="1715446" y="1134100"/>
                  </a:lnTo>
                  <a:lnTo>
                    <a:pt x="1715446" y="1129334"/>
                  </a:lnTo>
                  <a:lnTo>
                    <a:pt x="1729740" y="1115040"/>
                  </a:lnTo>
                  <a:lnTo>
                    <a:pt x="1748800" y="1110274"/>
                  </a:lnTo>
                  <a:lnTo>
                    <a:pt x="1772628" y="1105510"/>
                  </a:lnTo>
                  <a:lnTo>
                    <a:pt x="1801216" y="1110274"/>
                  </a:lnTo>
                  <a:lnTo>
                    <a:pt x="1801216" y="1115040"/>
                  </a:lnTo>
                  <a:lnTo>
                    <a:pt x="1801216" y="1124570"/>
                  </a:lnTo>
                  <a:lnTo>
                    <a:pt x="1801216" y="1134100"/>
                  </a:lnTo>
                  <a:lnTo>
                    <a:pt x="1810748" y="1143630"/>
                  </a:lnTo>
                  <a:lnTo>
                    <a:pt x="1801216" y="1167456"/>
                  </a:lnTo>
                  <a:lnTo>
                    <a:pt x="1805982" y="1176986"/>
                  </a:lnTo>
                  <a:lnTo>
                    <a:pt x="1815512" y="1186516"/>
                  </a:lnTo>
                  <a:lnTo>
                    <a:pt x="1820276" y="1196046"/>
                  </a:lnTo>
                  <a:lnTo>
                    <a:pt x="1829810" y="1200812"/>
                  </a:lnTo>
                  <a:lnTo>
                    <a:pt x="1839336" y="1215108"/>
                  </a:lnTo>
                  <a:lnTo>
                    <a:pt x="1839336" y="1224638"/>
                  </a:lnTo>
                  <a:lnTo>
                    <a:pt x="1825044" y="1234168"/>
                  </a:lnTo>
                  <a:lnTo>
                    <a:pt x="1805982" y="1248462"/>
                  </a:lnTo>
                  <a:lnTo>
                    <a:pt x="1805982" y="1257994"/>
                  </a:lnTo>
                  <a:lnTo>
                    <a:pt x="1805982" y="1262758"/>
                  </a:lnTo>
                  <a:lnTo>
                    <a:pt x="1805982" y="1272288"/>
                  </a:lnTo>
                  <a:lnTo>
                    <a:pt x="1820276" y="1281818"/>
                  </a:lnTo>
                  <a:lnTo>
                    <a:pt x="1829810" y="1300880"/>
                  </a:lnTo>
                  <a:lnTo>
                    <a:pt x="1839336" y="1319940"/>
                  </a:lnTo>
                  <a:lnTo>
                    <a:pt x="1863164" y="1339000"/>
                  </a:lnTo>
                  <a:lnTo>
                    <a:pt x="1858398" y="1343766"/>
                  </a:lnTo>
                  <a:lnTo>
                    <a:pt x="1853634" y="1353296"/>
                  </a:lnTo>
                  <a:lnTo>
                    <a:pt x="1848870" y="1377122"/>
                  </a:lnTo>
                  <a:lnTo>
                    <a:pt x="1844104" y="1381886"/>
                  </a:lnTo>
                  <a:lnTo>
                    <a:pt x="1834574" y="1381886"/>
                  </a:lnTo>
                  <a:lnTo>
                    <a:pt x="1810748" y="1400946"/>
                  </a:lnTo>
                  <a:lnTo>
                    <a:pt x="1801216" y="1396182"/>
                  </a:lnTo>
                  <a:lnTo>
                    <a:pt x="1786922" y="1396182"/>
                  </a:lnTo>
                  <a:lnTo>
                    <a:pt x="1777392" y="1400946"/>
                  </a:lnTo>
                  <a:lnTo>
                    <a:pt x="1782156" y="1415242"/>
                  </a:lnTo>
                  <a:lnTo>
                    <a:pt x="1786922" y="1424772"/>
                  </a:lnTo>
                  <a:lnTo>
                    <a:pt x="1796452" y="1434302"/>
                  </a:lnTo>
                  <a:lnTo>
                    <a:pt x="1796452" y="1448598"/>
                  </a:lnTo>
                  <a:lnTo>
                    <a:pt x="1805982" y="1453364"/>
                  </a:lnTo>
                  <a:lnTo>
                    <a:pt x="1820276" y="1458128"/>
                  </a:lnTo>
                  <a:lnTo>
                    <a:pt x="1825044" y="1462894"/>
                  </a:lnTo>
                  <a:lnTo>
                    <a:pt x="1834574" y="1462894"/>
                  </a:lnTo>
                  <a:lnTo>
                    <a:pt x="1834574" y="1467658"/>
                  </a:lnTo>
                  <a:lnTo>
                    <a:pt x="1839336" y="1491484"/>
                  </a:lnTo>
                  <a:lnTo>
                    <a:pt x="1839336" y="1496250"/>
                  </a:lnTo>
                  <a:lnTo>
                    <a:pt x="1829810" y="1501014"/>
                  </a:lnTo>
                  <a:lnTo>
                    <a:pt x="1825044" y="1510544"/>
                  </a:lnTo>
                  <a:lnTo>
                    <a:pt x="1815512" y="1524840"/>
                  </a:lnTo>
                  <a:lnTo>
                    <a:pt x="1810748" y="1539136"/>
                  </a:lnTo>
                  <a:lnTo>
                    <a:pt x="1820276" y="1548666"/>
                  </a:lnTo>
                  <a:lnTo>
                    <a:pt x="1820276" y="1553430"/>
                  </a:lnTo>
                  <a:lnTo>
                    <a:pt x="1815512" y="1562962"/>
                  </a:lnTo>
                  <a:lnTo>
                    <a:pt x="1820276" y="1577256"/>
                  </a:lnTo>
                  <a:lnTo>
                    <a:pt x="1829810" y="1586786"/>
                  </a:lnTo>
                  <a:lnTo>
                    <a:pt x="1858398" y="1605848"/>
                  </a:lnTo>
                  <a:lnTo>
                    <a:pt x="1886992" y="1620142"/>
                  </a:lnTo>
                  <a:lnTo>
                    <a:pt x="1896518" y="1620142"/>
                  </a:lnTo>
                  <a:lnTo>
                    <a:pt x="1929876" y="1610612"/>
                  </a:lnTo>
                  <a:lnTo>
                    <a:pt x="1934640" y="1610612"/>
                  </a:lnTo>
                  <a:lnTo>
                    <a:pt x="1939406" y="1624908"/>
                  </a:lnTo>
                  <a:lnTo>
                    <a:pt x="1944172" y="1629674"/>
                  </a:lnTo>
                  <a:lnTo>
                    <a:pt x="1939406" y="1639204"/>
                  </a:lnTo>
                  <a:lnTo>
                    <a:pt x="1929876" y="1658264"/>
                  </a:lnTo>
                  <a:lnTo>
                    <a:pt x="1920346" y="1667794"/>
                  </a:lnTo>
                  <a:lnTo>
                    <a:pt x="1910816" y="1677324"/>
                  </a:lnTo>
                  <a:lnTo>
                    <a:pt x="1915578" y="1686854"/>
                  </a:lnTo>
                  <a:lnTo>
                    <a:pt x="1915578" y="1696384"/>
                  </a:lnTo>
                  <a:lnTo>
                    <a:pt x="1906052" y="1701150"/>
                  </a:lnTo>
                  <a:lnTo>
                    <a:pt x="1901284" y="1696384"/>
                  </a:lnTo>
                  <a:lnTo>
                    <a:pt x="1896518" y="1701150"/>
                  </a:lnTo>
                  <a:lnTo>
                    <a:pt x="1896518" y="1705916"/>
                  </a:lnTo>
                  <a:lnTo>
                    <a:pt x="1877458" y="1715446"/>
                  </a:lnTo>
                  <a:lnTo>
                    <a:pt x="1863164" y="1724976"/>
                  </a:lnTo>
                  <a:lnTo>
                    <a:pt x="1815512" y="1767862"/>
                  </a:lnTo>
                  <a:lnTo>
                    <a:pt x="1791688" y="1782158"/>
                  </a:lnTo>
                  <a:lnTo>
                    <a:pt x="1786922" y="1791688"/>
                  </a:lnTo>
                  <a:lnTo>
                    <a:pt x="1782156" y="1805982"/>
                  </a:lnTo>
                  <a:lnTo>
                    <a:pt x="1767862" y="1820278"/>
                  </a:lnTo>
                  <a:lnTo>
                    <a:pt x="1758332" y="1829808"/>
                  </a:lnTo>
                  <a:lnTo>
                    <a:pt x="1729740" y="1834574"/>
                  </a:lnTo>
                  <a:lnTo>
                    <a:pt x="1701150" y="1848868"/>
                  </a:lnTo>
                  <a:lnTo>
                    <a:pt x="1686852" y="1844104"/>
                  </a:lnTo>
                  <a:lnTo>
                    <a:pt x="1653498" y="1844104"/>
                  </a:lnTo>
                  <a:lnTo>
                    <a:pt x="1629672" y="1825044"/>
                  </a:lnTo>
                  <a:lnTo>
                    <a:pt x="1586786" y="1815514"/>
                  </a:lnTo>
                  <a:lnTo>
                    <a:pt x="1577256" y="1791688"/>
                  </a:lnTo>
                  <a:lnTo>
                    <a:pt x="1553430" y="1786922"/>
                  </a:lnTo>
                  <a:lnTo>
                    <a:pt x="1543902" y="1786922"/>
                  </a:lnTo>
                  <a:lnTo>
                    <a:pt x="1534368" y="1786922"/>
                  </a:lnTo>
                  <a:lnTo>
                    <a:pt x="1534368" y="1777392"/>
                  </a:lnTo>
                  <a:lnTo>
                    <a:pt x="1534368" y="1767862"/>
                  </a:lnTo>
                  <a:lnTo>
                    <a:pt x="1520074" y="1772626"/>
                  </a:lnTo>
                  <a:lnTo>
                    <a:pt x="1510544" y="1772626"/>
                  </a:lnTo>
                  <a:lnTo>
                    <a:pt x="1505780" y="1777392"/>
                  </a:lnTo>
                  <a:lnTo>
                    <a:pt x="1501014" y="1777392"/>
                  </a:lnTo>
                  <a:lnTo>
                    <a:pt x="1496248" y="1777392"/>
                  </a:lnTo>
                  <a:lnTo>
                    <a:pt x="1491484" y="1777392"/>
                  </a:lnTo>
                  <a:lnTo>
                    <a:pt x="1491484" y="1782158"/>
                  </a:lnTo>
                  <a:lnTo>
                    <a:pt x="1481954" y="1782158"/>
                  </a:lnTo>
                  <a:lnTo>
                    <a:pt x="1467660" y="1782158"/>
                  </a:lnTo>
                  <a:lnTo>
                    <a:pt x="1434302" y="1767862"/>
                  </a:lnTo>
                  <a:lnTo>
                    <a:pt x="1424772" y="1767862"/>
                  </a:lnTo>
                  <a:lnTo>
                    <a:pt x="1405712" y="1758332"/>
                  </a:lnTo>
                  <a:lnTo>
                    <a:pt x="1391418" y="1753566"/>
                  </a:lnTo>
                  <a:lnTo>
                    <a:pt x="1386652" y="1744036"/>
                  </a:lnTo>
                  <a:lnTo>
                    <a:pt x="1381884" y="1739270"/>
                  </a:lnTo>
                  <a:lnTo>
                    <a:pt x="1377120" y="1734506"/>
                  </a:lnTo>
                  <a:lnTo>
                    <a:pt x="1353296" y="1744036"/>
                  </a:lnTo>
                  <a:lnTo>
                    <a:pt x="1348530" y="1753566"/>
                  </a:lnTo>
                  <a:lnTo>
                    <a:pt x="1334236" y="1763096"/>
                  </a:lnTo>
                  <a:lnTo>
                    <a:pt x="1253228" y="1820278"/>
                  </a:lnTo>
                  <a:lnTo>
                    <a:pt x="1238934" y="1848868"/>
                  </a:lnTo>
                  <a:lnTo>
                    <a:pt x="1219874" y="1882224"/>
                  </a:lnTo>
                  <a:lnTo>
                    <a:pt x="1219874" y="1896520"/>
                  </a:lnTo>
                  <a:lnTo>
                    <a:pt x="1224636" y="1948936"/>
                  </a:lnTo>
                  <a:lnTo>
                    <a:pt x="1243698" y="1977528"/>
                  </a:lnTo>
                  <a:lnTo>
                    <a:pt x="1243698" y="1987058"/>
                  </a:lnTo>
                  <a:lnTo>
                    <a:pt x="1234168" y="1987058"/>
                  </a:lnTo>
                  <a:lnTo>
                    <a:pt x="1219874" y="1982292"/>
                  </a:lnTo>
                  <a:lnTo>
                    <a:pt x="1205576" y="1977528"/>
                  </a:lnTo>
                  <a:lnTo>
                    <a:pt x="1196046" y="1977528"/>
                  </a:lnTo>
                  <a:lnTo>
                    <a:pt x="1181752" y="1987058"/>
                  </a:lnTo>
                  <a:lnTo>
                    <a:pt x="1172220" y="1987058"/>
                  </a:lnTo>
                  <a:lnTo>
                    <a:pt x="1167456" y="1987058"/>
                  </a:lnTo>
                  <a:lnTo>
                    <a:pt x="1162692" y="1991822"/>
                  </a:lnTo>
                  <a:lnTo>
                    <a:pt x="1157926" y="2001352"/>
                  </a:lnTo>
                  <a:lnTo>
                    <a:pt x="1157926" y="2006118"/>
                  </a:lnTo>
                  <a:lnTo>
                    <a:pt x="1143632" y="2001352"/>
                  </a:lnTo>
                  <a:lnTo>
                    <a:pt x="1115038" y="1991822"/>
                  </a:lnTo>
                  <a:lnTo>
                    <a:pt x="1086450" y="1987058"/>
                  </a:lnTo>
                  <a:lnTo>
                    <a:pt x="1072152" y="1991822"/>
                  </a:lnTo>
                  <a:lnTo>
                    <a:pt x="1062622" y="2001352"/>
                  </a:lnTo>
                  <a:lnTo>
                    <a:pt x="1053092" y="2001352"/>
                  </a:lnTo>
                  <a:lnTo>
                    <a:pt x="1048328" y="1991822"/>
                  </a:lnTo>
                  <a:lnTo>
                    <a:pt x="1043562" y="1987058"/>
                  </a:lnTo>
                  <a:lnTo>
                    <a:pt x="1034032" y="1977528"/>
                  </a:lnTo>
                  <a:lnTo>
                    <a:pt x="1010208" y="1967998"/>
                  </a:lnTo>
                  <a:lnTo>
                    <a:pt x="1010208" y="1963232"/>
                  </a:lnTo>
                  <a:lnTo>
                    <a:pt x="1014972" y="1958466"/>
                  </a:lnTo>
                  <a:lnTo>
                    <a:pt x="1014972" y="1953702"/>
                  </a:lnTo>
                  <a:lnTo>
                    <a:pt x="1010208" y="1948936"/>
                  </a:lnTo>
                  <a:lnTo>
                    <a:pt x="991148" y="1939406"/>
                  </a:lnTo>
                  <a:lnTo>
                    <a:pt x="976850" y="1939406"/>
                  </a:lnTo>
                  <a:lnTo>
                    <a:pt x="972086" y="1944172"/>
                  </a:lnTo>
                  <a:lnTo>
                    <a:pt x="967320" y="1948936"/>
                  </a:lnTo>
                  <a:lnTo>
                    <a:pt x="953026" y="1929876"/>
                  </a:lnTo>
                  <a:lnTo>
                    <a:pt x="943494" y="1925110"/>
                  </a:lnTo>
                  <a:lnTo>
                    <a:pt x="933966" y="1925110"/>
                  </a:lnTo>
                  <a:lnTo>
                    <a:pt x="914906" y="1920346"/>
                  </a:lnTo>
                  <a:lnTo>
                    <a:pt x="900608" y="1910816"/>
                  </a:lnTo>
                  <a:lnTo>
                    <a:pt x="862488" y="1896520"/>
                  </a:lnTo>
                  <a:lnTo>
                    <a:pt x="852958" y="1896520"/>
                  </a:lnTo>
                  <a:lnTo>
                    <a:pt x="848190" y="1896520"/>
                  </a:lnTo>
                  <a:lnTo>
                    <a:pt x="843426" y="1906050"/>
                  </a:lnTo>
                  <a:lnTo>
                    <a:pt x="843426" y="1929876"/>
                  </a:lnTo>
                  <a:lnTo>
                    <a:pt x="824366" y="1929876"/>
                  </a:lnTo>
                  <a:lnTo>
                    <a:pt x="800542" y="1929876"/>
                  </a:lnTo>
                  <a:lnTo>
                    <a:pt x="791008" y="1929876"/>
                  </a:lnTo>
                  <a:lnTo>
                    <a:pt x="781482" y="1929876"/>
                  </a:lnTo>
                  <a:lnTo>
                    <a:pt x="776716" y="1925110"/>
                  </a:lnTo>
                  <a:lnTo>
                    <a:pt x="738594" y="1929876"/>
                  </a:lnTo>
                  <a:lnTo>
                    <a:pt x="729064" y="1925110"/>
                  </a:lnTo>
                  <a:lnTo>
                    <a:pt x="719534" y="1915580"/>
                  </a:lnTo>
                  <a:lnTo>
                    <a:pt x="710004" y="1910816"/>
                  </a:lnTo>
                  <a:lnTo>
                    <a:pt x="705240" y="1906050"/>
                  </a:lnTo>
                  <a:lnTo>
                    <a:pt x="695706" y="1901286"/>
                  </a:lnTo>
                  <a:lnTo>
                    <a:pt x="690942" y="1901286"/>
                  </a:lnTo>
                  <a:lnTo>
                    <a:pt x="681412" y="1906050"/>
                  </a:lnTo>
                  <a:lnTo>
                    <a:pt x="667118" y="1906050"/>
                  </a:lnTo>
                  <a:lnTo>
                    <a:pt x="657586" y="1906050"/>
                  </a:lnTo>
                  <a:lnTo>
                    <a:pt x="652822" y="1906050"/>
                  </a:lnTo>
                  <a:lnTo>
                    <a:pt x="628998" y="1882224"/>
                  </a:lnTo>
                  <a:lnTo>
                    <a:pt x="624232" y="1877460"/>
                  </a:lnTo>
                  <a:lnTo>
                    <a:pt x="609938" y="1872694"/>
                  </a:lnTo>
                  <a:lnTo>
                    <a:pt x="595640" y="1872694"/>
                  </a:lnTo>
                  <a:lnTo>
                    <a:pt x="562282" y="1858400"/>
                  </a:lnTo>
                  <a:lnTo>
                    <a:pt x="543222" y="1848868"/>
                  </a:lnTo>
                  <a:lnTo>
                    <a:pt x="538458" y="1844104"/>
                  </a:lnTo>
                  <a:lnTo>
                    <a:pt x="533696" y="1848868"/>
                  </a:lnTo>
                  <a:lnTo>
                    <a:pt x="528928" y="1853634"/>
                  </a:lnTo>
                  <a:lnTo>
                    <a:pt x="524162" y="1858400"/>
                  </a:lnTo>
                  <a:lnTo>
                    <a:pt x="519398" y="1853634"/>
                  </a:lnTo>
                  <a:lnTo>
                    <a:pt x="514634" y="1853634"/>
                  </a:lnTo>
                  <a:lnTo>
                    <a:pt x="509868" y="1848868"/>
                  </a:lnTo>
                  <a:lnTo>
                    <a:pt x="514634" y="1839338"/>
                  </a:lnTo>
                  <a:lnTo>
                    <a:pt x="519398" y="1829808"/>
                  </a:lnTo>
                  <a:lnTo>
                    <a:pt x="524162" y="1820278"/>
                  </a:lnTo>
                  <a:lnTo>
                    <a:pt x="524162" y="1810748"/>
                  </a:lnTo>
                  <a:lnTo>
                    <a:pt x="514634" y="1805982"/>
                  </a:lnTo>
                  <a:lnTo>
                    <a:pt x="500338" y="1805982"/>
                  </a:lnTo>
                  <a:lnTo>
                    <a:pt x="490808" y="1801218"/>
                  </a:lnTo>
                  <a:lnTo>
                    <a:pt x="476514" y="1796452"/>
                  </a:lnTo>
                  <a:lnTo>
                    <a:pt x="471748" y="1796452"/>
                  </a:lnTo>
                  <a:lnTo>
                    <a:pt x="462216" y="1782158"/>
                  </a:lnTo>
                  <a:lnTo>
                    <a:pt x="462216" y="1777392"/>
                  </a:lnTo>
                  <a:lnTo>
                    <a:pt x="490808" y="1767862"/>
                  </a:lnTo>
                  <a:lnTo>
                    <a:pt x="509868" y="1744036"/>
                  </a:lnTo>
                  <a:lnTo>
                    <a:pt x="533696" y="1643968"/>
                  </a:lnTo>
                  <a:lnTo>
                    <a:pt x="547990" y="1524840"/>
                  </a:lnTo>
                  <a:lnTo>
                    <a:pt x="562282" y="1505780"/>
                  </a:lnTo>
                  <a:lnTo>
                    <a:pt x="576580" y="1496250"/>
                  </a:lnTo>
                  <a:lnTo>
                    <a:pt x="562282" y="1481954"/>
                  </a:lnTo>
                  <a:lnTo>
                    <a:pt x="557520" y="1491484"/>
                  </a:lnTo>
                  <a:lnTo>
                    <a:pt x="552756" y="1496250"/>
                  </a:lnTo>
                  <a:lnTo>
                    <a:pt x="547990" y="1501014"/>
                  </a:lnTo>
                  <a:lnTo>
                    <a:pt x="557520" y="1396182"/>
                  </a:lnTo>
                  <a:lnTo>
                    <a:pt x="562282" y="1353296"/>
                  </a:lnTo>
                  <a:lnTo>
                    <a:pt x="576580" y="1310410"/>
                  </a:lnTo>
                  <a:lnTo>
                    <a:pt x="595640" y="1329470"/>
                  </a:lnTo>
                  <a:lnTo>
                    <a:pt x="614700" y="1343766"/>
                  </a:lnTo>
                  <a:lnTo>
                    <a:pt x="624232" y="1358060"/>
                  </a:lnTo>
                  <a:lnTo>
                    <a:pt x="633762" y="1410478"/>
                  </a:lnTo>
                  <a:lnTo>
                    <a:pt x="643292" y="1420008"/>
                  </a:lnTo>
                  <a:lnTo>
                    <a:pt x="657586" y="1429538"/>
                  </a:lnTo>
                  <a:lnTo>
                    <a:pt x="652822" y="1420008"/>
                  </a:lnTo>
                  <a:lnTo>
                    <a:pt x="643292" y="1410478"/>
                  </a:lnTo>
                  <a:lnTo>
                    <a:pt x="628998" y="1343766"/>
                  </a:lnTo>
                  <a:lnTo>
                    <a:pt x="619464" y="1324706"/>
                  </a:lnTo>
                  <a:lnTo>
                    <a:pt x="605170" y="1310410"/>
                  </a:lnTo>
                  <a:lnTo>
                    <a:pt x="562282" y="1277054"/>
                  </a:lnTo>
                  <a:lnTo>
                    <a:pt x="557520" y="1272288"/>
                  </a:lnTo>
                  <a:lnTo>
                    <a:pt x="552756" y="1257994"/>
                  </a:lnTo>
                  <a:lnTo>
                    <a:pt x="571816" y="1257994"/>
                  </a:lnTo>
                  <a:lnTo>
                    <a:pt x="581344" y="1262758"/>
                  </a:lnTo>
                  <a:lnTo>
                    <a:pt x="581344" y="1257994"/>
                  </a:lnTo>
                  <a:lnTo>
                    <a:pt x="576580" y="1248462"/>
                  </a:lnTo>
                  <a:lnTo>
                    <a:pt x="571816" y="1224638"/>
                  </a:lnTo>
                  <a:lnTo>
                    <a:pt x="567050" y="1162690"/>
                  </a:lnTo>
                  <a:lnTo>
                    <a:pt x="567050" y="1148396"/>
                  </a:lnTo>
                  <a:lnTo>
                    <a:pt x="562282" y="1138866"/>
                  </a:lnTo>
                  <a:lnTo>
                    <a:pt x="547990" y="1134100"/>
                  </a:lnTo>
                  <a:lnTo>
                    <a:pt x="538458" y="1134100"/>
                  </a:lnTo>
                  <a:lnTo>
                    <a:pt x="524162" y="1129334"/>
                  </a:lnTo>
                  <a:lnTo>
                    <a:pt x="466980" y="1091214"/>
                  </a:lnTo>
                  <a:lnTo>
                    <a:pt x="443156" y="1053092"/>
                  </a:lnTo>
                  <a:lnTo>
                    <a:pt x="424096" y="1024502"/>
                  </a:lnTo>
                  <a:lnTo>
                    <a:pt x="414566" y="1010206"/>
                  </a:lnTo>
                  <a:lnTo>
                    <a:pt x="414566" y="995912"/>
                  </a:lnTo>
                  <a:lnTo>
                    <a:pt x="428860" y="972086"/>
                  </a:lnTo>
                  <a:lnTo>
                    <a:pt x="419332" y="953026"/>
                  </a:lnTo>
                  <a:lnTo>
                    <a:pt x="409798" y="953026"/>
                  </a:lnTo>
                  <a:lnTo>
                    <a:pt x="400272" y="943494"/>
                  </a:lnTo>
                  <a:lnTo>
                    <a:pt x="409798" y="929200"/>
                  </a:lnTo>
                  <a:lnTo>
                    <a:pt x="414566" y="919670"/>
                  </a:lnTo>
                  <a:lnTo>
                    <a:pt x="428860" y="914904"/>
                  </a:lnTo>
                  <a:lnTo>
                    <a:pt x="443156" y="919670"/>
                  </a:lnTo>
                  <a:lnTo>
                    <a:pt x="457454" y="929200"/>
                  </a:lnTo>
                  <a:lnTo>
                    <a:pt x="471748" y="929200"/>
                  </a:lnTo>
                  <a:lnTo>
                    <a:pt x="433626" y="910140"/>
                  </a:lnTo>
                  <a:lnTo>
                    <a:pt x="376444" y="914904"/>
                  </a:lnTo>
                  <a:lnTo>
                    <a:pt x="362150" y="914904"/>
                  </a:lnTo>
                  <a:lnTo>
                    <a:pt x="352618" y="910140"/>
                  </a:lnTo>
                  <a:lnTo>
                    <a:pt x="347854" y="891078"/>
                  </a:lnTo>
                  <a:lnTo>
                    <a:pt x="357384" y="886314"/>
                  </a:lnTo>
                  <a:lnTo>
                    <a:pt x="366914" y="872018"/>
                  </a:lnTo>
                  <a:lnTo>
                    <a:pt x="357384" y="862488"/>
                  </a:lnTo>
                  <a:lnTo>
                    <a:pt x="343090" y="857722"/>
                  </a:lnTo>
                  <a:lnTo>
                    <a:pt x="328794" y="857722"/>
                  </a:lnTo>
                  <a:lnTo>
                    <a:pt x="309732" y="862488"/>
                  </a:lnTo>
                  <a:lnTo>
                    <a:pt x="304970" y="857722"/>
                  </a:lnTo>
                  <a:lnTo>
                    <a:pt x="314496" y="838662"/>
                  </a:lnTo>
                  <a:lnTo>
                    <a:pt x="309732" y="833898"/>
                  </a:lnTo>
                  <a:lnTo>
                    <a:pt x="295436" y="838662"/>
                  </a:lnTo>
                  <a:lnTo>
                    <a:pt x="281142" y="838662"/>
                  </a:lnTo>
                  <a:lnTo>
                    <a:pt x="266848" y="838662"/>
                  </a:lnTo>
                  <a:lnTo>
                    <a:pt x="252552" y="819602"/>
                  </a:lnTo>
                  <a:lnTo>
                    <a:pt x="238254" y="819602"/>
                  </a:lnTo>
                  <a:lnTo>
                    <a:pt x="233490" y="819602"/>
                  </a:lnTo>
                  <a:lnTo>
                    <a:pt x="223960" y="814836"/>
                  </a:lnTo>
                  <a:lnTo>
                    <a:pt x="214430" y="814836"/>
                  </a:lnTo>
                  <a:lnTo>
                    <a:pt x="204900" y="814836"/>
                  </a:lnTo>
                  <a:lnTo>
                    <a:pt x="195370" y="805306"/>
                  </a:lnTo>
                  <a:lnTo>
                    <a:pt x="133424" y="786246"/>
                  </a:lnTo>
                  <a:lnTo>
                    <a:pt x="109598" y="781480"/>
                  </a:lnTo>
                  <a:lnTo>
                    <a:pt x="81006" y="791010"/>
                  </a:lnTo>
                  <a:lnTo>
                    <a:pt x="71476" y="791010"/>
                  </a:lnTo>
                  <a:lnTo>
                    <a:pt x="61946" y="776716"/>
                  </a:lnTo>
                  <a:lnTo>
                    <a:pt x="52416" y="757654"/>
                  </a:lnTo>
                  <a:lnTo>
                    <a:pt x="14294" y="738594"/>
                  </a:lnTo>
                  <a:lnTo>
                    <a:pt x="19062" y="729064"/>
                  </a:lnTo>
                  <a:lnTo>
                    <a:pt x="38122" y="724300"/>
                  </a:lnTo>
                  <a:lnTo>
                    <a:pt x="61946" y="719534"/>
                  </a:lnTo>
                  <a:lnTo>
                    <a:pt x="66710" y="710004"/>
                  </a:lnTo>
                  <a:lnTo>
                    <a:pt x="52416" y="695708"/>
                  </a:lnTo>
                  <a:lnTo>
                    <a:pt x="38122" y="695708"/>
                  </a:lnTo>
                  <a:lnTo>
                    <a:pt x="33356" y="690944"/>
                  </a:lnTo>
                  <a:lnTo>
                    <a:pt x="28588" y="681414"/>
                  </a:lnTo>
                  <a:lnTo>
                    <a:pt x="38122" y="676648"/>
                  </a:lnTo>
                  <a:lnTo>
                    <a:pt x="42886" y="676648"/>
                  </a:lnTo>
                  <a:lnTo>
                    <a:pt x="57182" y="681414"/>
                  </a:lnTo>
                  <a:lnTo>
                    <a:pt x="81006" y="676648"/>
                  </a:lnTo>
                  <a:lnTo>
                    <a:pt x="71476" y="667118"/>
                  </a:lnTo>
                  <a:lnTo>
                    <a:pt x="61946" y="662352"/>
                  </a:lnTo>
                  <a:lnTo>
                    <a:pt x="57182" y="662352"/>
                  </a:lnTo>
                  <a:lnTo>
                    <a:pt x="38122" y="662352"/>
                  </a:lnTo>
                  <a:lnTo>
                    <a:pt x="28588" y="662352"/>
                  </a:lnTo>
                  <a:lnTo>
                    <a:pt x="4764" y="662352"/>
                  </a:lnTo>
                  <a:lnTo>
                    <a:pt x="0" y="652822"/>
                  </a:lnTo>
                  <a:lnTo>
                    <a:pt x="0" y="643292"/>
                  </a:lnTo>
                  <a:lnTo>
                    <a:pt x="4764" y="619466"/>
                  </a:lnTo>
                  <a:lnTo>
                    <a:pt x="38122" y="600406"/>
                  </a:lnTo>
                  <a:lnTo>
                    <a:pt x="109598" y="581346"/>
                  </a:lnTo>
                  <a:lnTo>
                    <a:pt x="142952" y="586110"/>
                  </a:lnTo>
                  <a:lnTo>
                    <a:pt x="162012" y="581346"/>
                  </a:lnTo>
                  <a:lnTo>
                    <a:pt x="190606" y="567050"/>
                  </a:lnTo>
                  <a:lnTo>
                    <a:pt x="200134" y="557520"/>
                  </a:lnTo>
                  <a:lnTo>
                    <a:pt x="238254" y="547990"/>
                  </a:lnTo>
                  <a:lnTo>
                    <a:pt x="276376" y="562284"/>
                  </a:lnTo>
                  <a:lnTo>
                    <a:pt x="309732" y="605170"/>
                  </a:lnTo>
                  <a:lnTo>
                    <a:pt x="324030" y="624232"/>
                  </a:lnTo>
                  <a:lnTo>
                    <a:pt x="362150" y="595640"/>
                  </a:lnTo>
                  <a:lnTo>
                    <a:pt x="419332" y="595640"/>
                  </a:lnTo>
                  <a:lnTo>
                    <a:pt x="428860" y="609936"/>
                  </a:lnTo>
                  <a:lnTo>
                    <a:pt x="433626" y="600406"/>
                  </a:lnTo>
                  <a:lnTo>
                    <a:pt x="447920" y="586110"/>
                  </a:lnTo>
                  <a:lnTo>
                    <a:pt x="452686" y="590876"/>
                  </a:lnTo>
                  <a:lnTo>
                    <a:pt x="457454" y="600406"/>
                  </a:lnTo>
                  <a:lnTo>
                    <a:pt x="519398" y="595640"/>
                  </a:lnTo>
                  <a:lnTo>
                    <a:pt x="528928" y="595640"/>
                  </a:lnTo>
                  <a:lnTo>
                    <a:pt x="509868" y="586110"/>
                  </a:lnTo>
                  <a:lnTo>
                    <a:pt x="500338" y="557520"/>
                  </a:lnTo>
                  <a:lnTo>
                    <a:pt x="495574" y="462218"/>
                  </a:lnTo>
                  <a:lnTo>
                    <a:pt x="481278" y="438392"/>
                  </a:lnTo>
                  <a:lnTo>
                    <a:pt x="462216" y="395506"/>
                  </a:lnTo>
                  <a:lnTo>
                    <a:pt x="452686" y="371680"/>
                  </a:lnTo>
                  <a:lnTo>
                    <a:pt x="452686" y="362150"/>
                  </a:lnTo>
                  <a:lnTo>
                    <a:pt x="452686" y="347854"/>
                  </a:lnTo>
                  <a:lnTo>
                    <a:pt x="476514" y="347854"/>
                  </a:lnTo>
                  <a:lnTo>
                    <a:pt x="495574" y="352620"/>
                  </a:lnTo>
                  <a:lnTo>
                    <a:pt x="528928" y="343090"/>
                  </a:lnTo>
                  <a:lnTo>
                    <a:pt x="547990" y="347854"/>
                  </a:lnTo>
                  <a:lnTo>
                    <a:pt x="547990" y="366914"/>
                  </a:lnTo>
                  <a:lnTo>
                    <a:pt x="552756" y="395506"/>
                  </a:lnTo>
                  <a:lnTo>
                    <a:pt x="557520" y="405036"/>
                  </a:lnTo>
                  <a:lnTo>
                    <a:pt x="567050" y="419332"/>
                  </a:lnTo>
                  <a:lnTo>
                    <a:pt x="595640" y="419332"/>
                  </a:lnTo>
                  <a:lnTo>
                    <a:pt x="624232" y="428862"/>
                  </a:lnTo>
                  <a:lnTo>
                    <a:pt x="662352" y="428862"/>
                  </a:lnTo>
                  <a:lnTo>
                    <a:pt x="719534" y="443156"/>
                  </a:lnTo>
                  <a:lnTo>
                    <a:pt x="743360" y="433626"/>
                  </a:lnTo>
                  <a:lnTo>
                    <a:pt x="762422" y="419332"/>
                  </a:lnTo>
                  <a:lnTo>
                    <a:pt x="810070" y="405036"/>
                  </a:lnTo>
                  <a:lnTo>
                    <a:pt x="814836" y="400270"/>
                  </a:lnTo>
                  <a:lnTo>
                    <a:pt x="786246" y="400270"/>
                  </a:lnTo>
                  <a:lnTo>
                    <a:pt x="762422" y="390740"/>
                  </a:lnTo>
                  <a:lnTo>
                    <a:pt x="762422" y="381210"/>
                  </a:lnTo>
                  <a:lnTo>
                    <a:pt x="762422" y="366914"/>
                  </a:lnTo>
                  <a:lnTo>
                    <a:pt x="771948" y="343090"/>
                  </a:lnTo>
                  <a:lnTo>
                    <a:pt x="838664" y="304968"/>
                  </a:lnTo>
                  <a:lnTo>
                    <a:pt x="886312" y="295438"/>
                  </a:lnTo>
                  <a:lnTo>
                    <a:pt x="938730" y="271612"/>
                  </a:lnTo>
                  <a:lnTo>
                    <a:pt x="962554" y="252552"/>
                  </a:lnTo>
                  <a:lnTo>
                    <a:pt x="981614" y="223960"/>
                  </a:lnTo>
                  <a:lnTo>
                    <a:pt x="986380" y="214430"/>
                  </a:lnTo>
                  <a:lnTo>
                    <a:pt x="991148" y="209666"/>
                  </a:lnTo>
                  <a:lnTo>
                    <a:pt x="986380" y="200136"/>
                  </a:lnTo>
                  <a:lnTo>
                    <a:pt x="991148" y="90538"/>
                  </a:lnTo>
                  <a:lnTo>
                    <a:pt x="995910" y="71476"/>
                  </a:lnTo>
                  <a:lnTo>
                    <a:pt x="1005442" y="57182"/>
                  </a:lnTo>
                  <a:lnTo>
                    <a:pt x="1019736" y="42886"/>
                  </a:lnTo>
                  <a:lnTo>
                    <a:pt x="1043562" y="28590"/>
                  </a:lnTo>
                  <a:lnTo>
                    <a:pt x="1124570" y="9530"/>
                  </a:lnTo>
                  <a:close/>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59" name="CustomShape 84"/>
            <p:cNvSpPr/>
            <p:nvPr/>
          </p:nvSpPr>
          <p:spPr>
            <a:xfrm>
              <a:off x="3214080" y="5444280"/>
              <a:ext cx="62640" cy="145440"/>
            </a:xfrm>
            <a:custGeom>
              <a:avLst/>
              <a:gdLst/>
              <a:ahLst/>
              <a:cxnLst/>
              <a:rect l="l" t="t" r="r" b="b"/>
              <a:pathLst>
                <a:path w="64" h="146">
                  <a:moveTo>
                    <a:pt x="60" y="20"/>
                  </a:moveTo>
                  <a:lnTo>
                    <a:pt x="60" y="14"/>
                  </a:lnTo>
                  <a:lnTo>
                    <a:pt x="58" y="8"/>
                  </a:lnTo>
                  <a:lnTo>
                    <a:pt x="58" y="4"/>
                  </a:lnTo>
                  <a:lnTo>
                    <a:pt x="56" y="0"/>
                  </a:lnTo>
                  <a:lnTo>
                    <a:pt x="52" y="0"/>
                  </a:lnTo>
                  <a:lnTo>
                    <a:pt x="50" y="8"/>
                  </a:lnTo>
                  <a:lnTo>
                    <a:pt x="50" y="18"/>
                  </a:lnTo>
                  <a:lnTo>
                    <a:pt x="50" y="24"/>
                  </a:lnTo>
                  <a:lnTo>
                    <a:pt x="48" y="28"/>
                  </a:lnTo>
                  <a:lnTo>
                    <a:pt x="46" y="30"/>
                  </a:lnTo>
                  <a:lnTo>
                    <a:pt x="44" y="28"/>
                  </a:lnTo>
                  <a:lnTo>
                    <a:pt x="40" y="26"/>
                  </a:lnTo>
                  <a:lnTo>
                    <a:pt x="38" y="26"/>
                  </a:lnTo>
                  <a:lnTo>
                    <a:pt x="34" y="28"/>
                  </a:lnTo>
                  <a:lnTo>
                    <a:pt x="30" y="32"/>
                  </a:lnTo>
                  <a:lnTo>
                    <a:pt x="28" y="34"/>
                  </a:lnTo>
                  <a:lnTo>
                    <a:pt x="16" y="38"/>
                  </a:lnTo>
                  <a:lnTo>
                    <a:pt x="10" y="42"/>
                  </a:lnTo>
                  <a:lnTo>
                    <a:pt x="4" y="54"/>
                  </a:lnTo>
                  <a:lnTo>
                    <a:pt x="2" y="56"/>
                  </a:lnTo>
                  <a:lnTo>
                    <a:pt x="0" y="60"/>
                  </a:lnTo>
                  <a:lnTo>
                    <a:pt x="2" y="60"/>
                  </a:lnTo>
                  <a:lnTo>
                    <a:pt x="4" y="60"/>
                  </a:lnTo>
                  <a:lnTo>
                    <a:pt x="6" y="66"/>
                  </a:lnTo>
                  <a:lnTo>
                    <a:pt x="2" y="68"/>
                  </a:lnTo>
                  <a:lnTo>
                    <a:pt x="0" y="72"/>
                  </a:lnTo>
                  <a:lnTo>
                    <a:pt x="2" y="78"/>
                  </a:lnTo>
                  <a:lnTo>
                    <a:pt x="4" y="80"/>
                  </a:lnTo>
                  <a:lnTo>
                    <a:pt x="8" y="82"/>
                  </a:lnTo>
                  <a:lnTo>
                    <a:pt x="8" y="88"/>
                  </a:lnTo>
                  <a:lnTo>
                    <a:pt x="6" y="92"/>
                  </a:lnTo>
                  <a:lnTo>
                    <a:pt x="2" y="94"/>
                  </a:lnTo>
                  <a:lnTo>
                    <a:pt x="4" y="98"/>
                  </a:lnTo>
                  <a:lnTo>
                    <a:pt x="6" y="98"/>
                  </a:lnTo>
                  <a:lnTo>
                    <a:pt x="12" y="98"/>
                  </a:lnTo>
                  <a:lnTo>
                    <a:pt x="12" y="102"/>
                  </a:lnTo>
                  <a:lnTo>
                    <a:pt x="10" y="108"/>
                  </a:lnTo>
                  <a:lnTo>
                    <a:pt x="10" y="112"/>
                  </a:lnTo>
                  <a:lnTo>
                    <a:pt x="14" y="114"/>
                  </a:lnTo>
                  <a:lnTo>
                    <a:pt x="20" y="118"/>
                  </a:lnTo>
                  <a:lnTo>
                    <a:pt x="20" y="120"/>
                  </a:lnTo>
                  <a:lnTo>
                    <a:pt x="18" y="124"/>
                  </a:lnTo>
                  <a:lnTo>
                    <a:pt x="16" y="128"/>
                  </a:lnTo>
                  <a:lnTo>
                    <a:pt x="18" y="130"/>
                  </a:lnTo>
                  <a:lnTo>
                    <a:pt x="22" y="134"/>
                  </a:lnTo>
                  <a:lnTo>
                    <a:pt x="28" y="138"/>
                  </a:lnTo>
                  <a:lnTo>
                    <a:pt x="40" y="146"/>
                  </a:lnTo>
                  <a:lnTo>
                    <a:pt x="44" y="138"/>
                  </a:lnTo>
                  <a:lnTo>
                    <a:pt x="50" y="124"/>
                  </a:lnTo>
                  <a:lnTo>
                    <a:pt x="52" y="120"/>
                  </a:lnTo>
                  <a:lnTo>
                    <a:pt x="54" y="114"/>
                  </a:lnTo>
                  <a:lnTo>
                    <a:pt x="54" y="98"/>
                  </a:lnTo>
                  <a:lnTo>
                    <a:pt x="56" y="94"/>
                  </a:lnTo>
                  <a:lnTo>
                    <a:pt x="64" y="80"/>
                  </a:lnTo>
                  <a:lnTo>
                    <a:pt x="64" y="78"/>
                  </a:lnTo>
                  <a:lnTo>
                    <a:pt x="62" y="42"/>
                  </a:lnTo>
                  <a:lnTo>
                    <a:pt x="62" y="40"/>
                  </a:lnTo>
                  <a:lnTo>
                    <a:pt x="60" y="36"/>
                  </a:lnTo>
                  <a:lnTo>
                    <a:pt x="58" y="32"/>
                  </a:lnTo>
                  <a:lnTo>
                    <a:pt x="60" y="20"/>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grpSp>
      <p:sp>
        <p:nvSpPr>
          <p:cNvPr id="460" name="CustomShape 85"/>
          <p:cNvSpPr/>
          <p:nvPr/>
        </p:nvSpPr>
        <p:spPr>
          <a:xfrm>
            <a:off x="2739600" y="5478840"/>
            <a:ext cx="20160" cy="16200"/>
          </a:xfrm>
          <a:custGeom>
            <a:avLst/>
            <a:gdLst/>
            <a:ahLst/>
            <a:cxnLst/>
            <a:rect l="l" t="t" r="r" b="b"/>
            <a:pathLst>
              <a:path w="22" h="18">
                <a:moveTo>
                  <a:pt x="20" y="12"/>
                </a:moveTo>
                <a:lnTo>
                  <a:pt x="20" y="10"/>
                </a:lnTo>
                <a:lnTo>
                  <a:pt x="22" y="8"/>
                </a:lnTo>
                <a:lnTo>
                  <a:pt x="22" y="6"/>
                </a:lnTo>
                <a:lnTo>
                  <a:pt x="20" y="4"/>
                </a:lnTo>
                <a:lnTo>
                  <a:pt x="12" y="0"/>
                </a:lnTo>
                <a:lnTo>
                  <a:pt x="6" y="0"/>
                </a:lnTo>
                <a:lnTo>
                  <a:pt x="4" y="2"/>
                </a:lnTo>
                <a:lnTo>
                  <a:pt x="2" y="4"/>
                </a:lnTo>
                <a:lnTo>
                  <a:pt x="0" y="8"/>
                </a:lnTo>
                <a:lnTo>
                  <a:pt x="2" y="10"/>
                </a:lnTo>
                <a:lnTo>
                  <a:pt x="2" y="14"/>
                </a:lnTo>
                <a:lnTo>
                  <a:pt x="2" y="16"/>
                </a:lnTo>
                <a:lnTo>
                  <a:pt x="4" y="18"/>
                </a:lnTo>
                <a:lnTo>
                  <a:pt x="6" y="18"/>
                </a:lnTo>
                <a:lnTo>
                  <a:pt x="8" y="18"/>
                </a:lnTo>
                <a:lnTo>
                  <a:pt x="12" y="16"/>
                </a:lnTo>
                <a:lnTo>
                  <a:pt x="18" y="14"/>
                </a:lnTo>
                <a:lnTo>
                  <a:pt x="20" y="12"/>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61" name="CustomShape 86"/>
          <p:cNvSpPr/>
          <p:nvPr/>
        </p:nvSpPr>
        <p:spPr>
          <a:xfrm>
            <a:off x="4410360" y="4927320"/>
            <a:ext cx="230040" cy="290880"/>
          </a:xfrm>
          <a:custGeom>
            <a:avLst/>
            <a:gdLst/>
            <a:ahLst/>
            <a:cxnLst/>
            <a:rect l="l" t="t" r="r" b="b"/>
            <a:pathLst>
              <a:path w="230" h="290">
                <a:moveTo>
                  <a:pt x="104" y="290"/>
                </a:moveTo>
                <a:lnTo>
                  <a:pt x="108" y="286"/>
                </a:lnTo>
                <a:lnTo>
                  <a:pt x="110" y="286"/>
                </a:lnTo>
                <a:lnTo>
                  <a:pt x="120" y="284"/>
                </a:lnTo>
                <a:lnTo>
                  <a:pt x="122" y="284"/>
                </a:lnTo>
                <a:lnTo>
                  <a:pt x="122" y="282"/>
                </a:lnTo>
                <a:lnTo>
                  <a:pt x="124" y="278"/>
                </a:lnTo>
                <a:lnTo>
                  <a:pt x="124" y="274"/>
                </a:lnTo>
                <a:lnTo>
                  <a:pt x="122" y="270"/>
                </a:lnTo>
                <a:lnTo>
                  <a:pt x="126" y="264"/>
                </a:lnTo>
                <a:lnTo>
                  <a:pt x="134" y="258"/>
                </a:lnTo>
                <a:lnTo>
                  <a:pt x="138" y="252"/>
                </a:lnTo>
                <a:lnTo>
                  <a:pt x="138" y="244"/>
                </a:lnTo>
                <a:lnTo>
                  <a:pt x="146" y="240"/>
                </a:lnTo>
                <a:lnTo>
                  <a:pt x="152" y="234"/>
                </a:lnTo>
                <a:lnTo>
                  <a:pt x="154" y="226"/>
                </a:lnTo>
                <a:lnTo>
                  <a:pt x="156" y="222"/>
                </a:lnTo>
                <a:lnTo>
                  <a:pt x="152" y="212"/>
                </a:lnTo>
                <a:lnTo>
                  <a:pt x="150" y="204"/>
                </a:lnTo>
                <a:lnTo>
                  <a:pt x="150" y="198"/>
                </a:lnTo>
                <a:lnTo>
                  <a:pt x="152" y="196"/>
                </a:lnTo>
                <a:lnTo>
                  <a:pt x="158" y="192"/>
                </a:lnTo>
                <a:lnTo>
                  <a:pt x="164" y="188"/>
                </a:lnTo>
                <a:lnTo>
                  <a:pt x="168" y="188"/>
                </a:lnTo>
                <a:lnTo>
                  <a:pt x="168" y="190"/>
                </a:lnTo>
                <a:lnTo>
                  <a:pt x="168" y="202"/>
                </a:lnTo>
                <a:lnTo>
                  <a:pt x="170" y="202"/>
                </a:lnTo>
                <a:lnTo>
                  <a:pt x="172" y="202"/>
                </a:lnTo>
                <a:lnTo>
                  <a:pt x="176" y="194"/>
                </a:lnTo>
                <a:lnTo>
                  <a:pt x="178" y="196"/>
                </a:lnTo>
                <a:lnTo>
                  <a:pt x="182" y="198"/>
                </a:lnTo>
                <a:lnTo>
                  <a:pt x="184" y="196"/>
                </a:lnTo>
                <a:lnTo>
                  <a:pt x="186" y="196"/>
                </a:lnTo>
                <a:lnTo>
                  <a:pt x="188" y="198"/>
                </a:lnTo>
                <a:lnTo>
                  <a:pt x="192" y="200"/>
                </a:lnTo>
                <a:lnTo>
                  <a:pt x="196" y="200"/>
                </a:lnTo>
                <a:lnTo>
                  <a:pt x="198" y="198"/>
                </a:lnTo>
                <a:lnTo>
                  <a:pt x="202" y="196"/>
                </a:lnTo>
                <a:lnTo>
                  <a:pt x="204" y="196"/>
                </a:lnTo>
                <a:lnTo>
                  <a:pt x="210" y="206"/>
                </a:lnTo>
                <a:lnTo>
                  <a:pt x="212" y="204"/>
                </a:lnTo>
                <a:lnTo>
                  <a:pt x="226" y="202"/>
                </a:lnTo>
                <a:lnTo>
                  <a:pt x="228" y="200"/>
                </a:lnTo>
                <a:lnTo>
                  <a:pt x="230" y="198"/>
                </a:lnTo>
                <a:lnTo>
                  <a:pt x="216" y="188"/>
                </a:lnTo>
                <a:lnTo>
                  <a:pt x="216" y="180"/>
                </a:lnTo>
                <a:lnTo>
                  <a:pt x="218" y="170"/>
                </a:lnTo>
                <a:lnTo>
                  <a:pt x="216" y="164"/>
                </a:lnTo>
                <a:lnTo>
                  <a:pt x="212" y="160"/>
                </a:lnTo>
                <a:lnTo>
                  <a:pt x="202" y="154"/>
                </a:lnTo>
                <a:lnTo>
                  <a:pt x="194" y="150"/>
                </a:lnTo>
                <a:lnTo>
                  <a:pt x="192" y="146"/>
                </a:lnTo>
                <a:lnTo>
                  <a:pt x="192" y="144"/>
                </a:lnTo>
                <a:lnTo>
                  <a:pt x="192" y="138"/>
                </a:lnTo>
                <a:lnTo>
                  <a:pt x="190" y="134"/>
                </a:lnTo>
                <a:lnTo>
                  <a:pt x="188" y="130"/>
                </a:lnTo>
                <a:lnTo>
                  <a:pt x="190" y="126"/>
                </a:lnTo>
                <a:lnTo>
                  <a:pt x="192" y="120"/>
                </a:lnTo>
                <a:lnTo>
                  <a:pt x="190" y="116"/>
                </a:lnTo>
                <a:lnTo>
                  <a:pt x="188" y="116"/>
                </a:lnTo>
                <a:lnTo>
                  <a:pt x="186" y="114"/>
                </a:lnTo>
                <a:lnTo>
                  <a:pt x="180" y="112"/>
                </a:lnTo>
                <a:lnTo>
                  <a:pt x="178" y="106"/>
                </a:lnTo>
                <a:lnTo>
                  <a:pt x="168" y="100"/>
                </a:lnTo>
                <a:lnTo>
                  <a:pt x="166" y="100"/>
                </a:lnTo>
                <a:lnTo>
                  <a:pt x="164" y="96"/>
                </a:lnTo>
                <a:lnTo>
                  <a:pt x="164" y="92"/>
                </a:lnTo>
                <a:lnTo>
                  <a:pt x="166" y="88"/>
                </a:lnTo>
                <a:lnTo>
                  <a:pt x="168" y="80"/>
                </a:lnTo>
                <a:lnTo>
                  <a:pt x="168" y="72"/>
                </a:lnTo>
                <a:lnTo>
                  <a:pt x="170" y="68"/>
                </a:lnTo>
                <a:lnTo>
                  <a:pt x="168" y="58"/>
                </a:lnTo>
                <a:lnTo>
                  <a:pt x="164" y="50"/>
                </a:lnTo>
                <a:lnTo>
                  <a:pt x="162" y="48"/>
                </a:lnTo>
                <a:lnTo>
                  <a:pt x="158" y="50"/>
                </a:lnTo>
                <a:lnTo>
                  <a:pt x="154" y="52"/>
                </a:lnTo>
                <a:lnTo>
                  <a:pt x="150" y="50"/>
                </a:lnTo>
                <a:lnTo>
                  <a:pt x="146" y="46"/>
                </a:lnTo>
                <a:lnTo>
                  <a:pt x="140" y="34"/>
                </a:lnTo>
                <a:lnTo>
                  <a:pt x="130" y="32"/>
                </a:lnTo>
                <a:lnTo>
                  <a:pt x="124" y="32"/>
                </a:lnTo>
                <a:lnTo>
                  <a:pt x="120" y="38"/>
                </a:lnTo>
                <a:lnTo>
                  <a:pt x="118" y="36"/>
                </a:lnTo>
                <a:lnTo>
                  <a:pt x="118" y="32"/>
                </a:lnTo>
                <a:lnTo>
                  <a:pt x="116" y="30"/>
                </a:lnTo>
                <a:lnTo>
                  <a:pt x="112" y="32"/>
                </a:lnTo>
                <a:lnTo>
                  <a:pt x="112" y="30"/>
                </a:lnTo>
                <a:lnTo>
                  <a:pt x="112" y="26"/>
                </a:lnTo>
                <a:lnTo>
                  <a:pt x="108" y="22"/>
                </a:lnTo>
                <a:lnTo>
                  <a:pt x="100" y="22"/>
                </a:lnTo>
                <a:lnTo>
                  <a:pt x="96" y="22"/>
                </a:lnTo>
                <a:lnTo>
                  <a:pt x="94" y="18"/>
                </a:lnTo>
                <a:lnTo>
                  <a:pt x="92" y="14"/>
                </a:lnTo>
                <a:lnTo>
                  <a:pt x="88" y="14"/>
                </a:lnTo>
                <a:lnTo>
                  <a:pt x="82" y="10"/>
                </a:lnTo>
                <a:lnTo>
                  <a:pt x="78" y="6"/>
                </a:lnTo>
                <a:lnTo>
                  <a:pt x="70" y="2"/>
                </a:lnTo>
                <a:lnTo>
                  <a:pt x="62" y="0"/>
                </a:lnTo>
                <a:lnTo>
                  <a:pt x="60" y="0"/>
                </a:lnTo>
                <a:lnTo>
                  <a:pt x="60" y="0"/>
                </a:lnTo>
                <a:lnTo>
                  <a:pt x="54" y="2"/>
                </a:lnTo>
                <a:lnTo>
                  <a:pt x="50" y="6"/>
                </a:lnTo>
                <a:lnTo>
                  <a:pt x="46" y="4"/>
                </a:lnTo>
                <a:lnTo>
                  <a:pt x="38" y="10"/>
                </a:lnTo>
                <a:lnTo>
                  <a:pt x="24" y="10"/>
                </a:lnTo>
                <a:lnTo>
                  <a:pt x="18" y="10"/>
                </a:lnTo>
                <a:lnTo>
                  <a:pt x="14" y="8"/>
                </a:lnTo>
                <a:lnTo>
                  <a:pt x="0" y="18"/>
                </a:lnTo>
                <a:lnTo>
                  <a:pt x="0" y="20"/>
                </a:lnTo>
                <a:lnTo>
                  <a:pt x="6" y="20"/>
                </a:lnTo>
                <a:lnTo>
                  <a:pt x="10" y="22"/>
                </a:lnTo>
                <a:lnTo>
                  <a:pt x="18" y="26"/>
                </a:lnTo>
                <a:lnTo>
                  <a:pt x="22" y="30"/>
                </a:lnTo>
                <a:lnTo>
                  <a:pt x="26" y="36"/>
                </a:lnTo>
                <a:lnTo>
                  <a:pt x="30" y="42"/>
                </a:lnTo>
                <a:lnTo>
                  <a:pt x="34" y="50"/>
                </a:lnTo>
                <a:lnTo>
                  <a:pt x="40" y="62"/>
                </a:lnTo>
                <a:lnTo>
                  <a:pt x="40" y="68"/>
                </a:lnTo>
                <a:lnTo>
                  <a:pt x="42" y="74"/>
                </a:lnTo>
                <a:lnTo>
                  <a:pt x="46" y="82"/>
                </a:lnTo>
                <a:lnTo>
                  <a:pt x="54" y="90"/>
                </a:lnTo>
                <a:lnTo>
                  <a:pt x="54" y="92"/>
                </a:lnTo>
                <a:lnTo>
                  <a:pt x="58" y="98"/>
                </a:lnTo>
                <a:lnTo>
                  <a:pt x="64" y="110"/>
                </a:lnTo>
                <a:lnTo>
                  <a:pt x="70" y="116"/>
                </a:lnTo>
                <a:lnTo>
                  <a:pt x="74" y="122"/>
                </a:lnTo>
                <a:lnTo>
                  <a:pt x="76" y="128"/>
                </a:lnTo>
                <a:lnTo>
                  <a:pt x="80" y="132"/>
                </a:lnTo>
                <a:lnTo>
                  <a:pt x="88" y="140"/>
                </a:lnTo>
                <a:lnTo>
                  <a:pt x="94" y="146"/>
                </a:lnTo>
                <a:lnTo>
                  <a:pt x="100" y="164"/>
                </a:lnTo>
                <a:lnTo>
                  <a:pt x="104" y="172"/>
                </a:lnTo>
                <a:lnTo>
                  <a:pt x="106" y="178"/>
                </a:lnTo>
                <a:lnTo>
                  <a:pt x="104" y="190"/>
                </a:lnTo>
                <a:lnTo>
                  <a:pt x="106" y="196"/>
                </a:lnTo>
                <a:lnTo>
                  <a:pt x="102" y="206"/>
                </a:lnTo>
                <a:lnTo>
                  <a:pt x="98" y="226"/>
                </a:lnTo>
                <a:lnTo>
                  <a:pt x="96" y="240"/>
                </a:lnTo>
                <a:lnTo>
                  <a:pt x="98" y="250"/>
                </a:lnTo>
                <a:lnTo>
                  <a:pt x="98" y="254"/>
                </a:lnTo>
                <a:lnTo>
                  <a:pt x="98" y="258"/>
                </a:lnTo>
                <a:lnTo>
                  <a:pt x="100" y="266"/>
                </a:lnTo>
                <a:lnTo>
                  <a:pt x="100" y="272"/>
                </a:lnTo>
                <a:lnTo>
                  <a:pt x="98" y="274"/>
                </a:lnTo>
                <a:lnTo>
                  <a:pt x="96" y="274"/>
                </a:lnTo>
                <a:lnTo>
                  <a:pt x="94" y="276"/>
                </a:lnTo>
                <a:lnTo>
                  <a:pt x="98" y="278"/>
                </a:lnTo>
                <a:lnTo>
                  <a:pt x="100" y="284"/>
                </a:lnTo>
                <a:lnTo>
                  <a:pt x="104" y="290"/>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62" name="CustomShape 87"/>
          <p:cNvSpPr/>
          <p:nvPr/>
        </p:nvSpPr>
        <p:spPr>
          <a:xfrm>
            <a:off x="2868840" y="4383720"/>
            <a:ext cx="252360" cy="308880"/>
          </a:xfrm>
          <a:custGeom>
            <a:avLst/>
            <a:gdLst/>
            <a:ahLst/>
            <a:cxnLst/>
            <a:rect l="l" t="t" r="r" b="b"/>
            <a:pathLst>
              <a:path w="600406" h="733830">
                <a:moveTo>
                  <a:pt x="9530" y="571814"/>
                </a:moveTo>
                <a:lnTo>
                  <a:pt x="38120" y="571814"/>
                </a:lnTo>
                <a:lnTo>
                  <a:pt x="57180" y="576580"/>
                </a:lnTo>
                <a:lnTo>
                  <a:pt x="81006" y="581346"/>
                </a:lnTo>
                <a:lnTo>
                  <a:pt x="104832" y="571814"/>
                </a:lnTo>
                <a:lnTo>
                  <a:pt x="119128" y="581346"/>
                </a:lnTo>
                <a:lnTo>
                  <a:pt x="138188" y="571814"/>
                </a:lnTo>
                <a:lnTo>
                  <a:pt x="133422" y="581346"/>
                </a:lnTo>
                <a:lnTo>
                  <a:pt x="128658" y="595640"/>
                </a:lnTo>
                <a:lnTo>
                  <a:pt x="104832" y="609936"/>
                </a:lnTo>
                <a:lnTo>
                  <a:pt x="85772" y="619466"/>
                </a:lnTo>
                <a:lnTo>
                  <a:pt x="76242" y="614700"/>
                </a:lnTo>
                <a:lnTo>
                  <a:pt x="66710" y="609936"/>
                </a:lnTo>
                <a:lnTo>
                  <a:pt x="61946" y="605170"/>
                </a:lnTo>
                <a:lnTo>
                  <a:pt x="52416" y="600406"/>
                </a:lnTo>
                <a:lnTo>
                  <a:pt x="33354" y="600406"/>
                </a:lnTo>
                <a:lnTo>
                  <a:pt x="23824" y="605170"/>
                </a:lnTo>
                <a:lnTo>
                  <a:pt x="19060" y="609936"/>
                </a:lnTo>
                <a:lnTo>
                  <a:pt x="9530" y="609936"/>
                </a:lnTo>
                <a:lnTo>
                  <a:pt x="9530" y="605170"/>
                </a:lnTo>
                <a:lnTo>
                  <a:pt x="4764" y="595640"/>
                </a:lnTo>
                <a:lnTo>
                  <a:pt x="0" y="576580"/>
                </a:lnTo>
                <a:close/>
                <a:moveTo>
                  <a:pt x="66712" y="481278"/>
                </a:moveTo>
                <a:lnTo>
                  <a:pt x="90538" y="486044"/>
                </a:lnTo>
                <a:lnTo>
                  <a:pt x="109598" y="500338"/>
                </a:lnTo>
                <a:lnTo>
                  <a:pt x="109598" y="505104"/>
                </a:lnTo>
                <a:lnTo>
                  <a:pt x="114364" y="509868"/>
                </a:lnTo>
                <a:lnTo>
                  <a:pt x="90538" y="514634"/>
                </a:lnTo>
                <a:lnTo>
                  <a:pt x="71476" y="495574"/>
                </a:lnTo>
                <a:lnTo>
                  <a:pt x="57182" y="500338"/>
                </a:lnTo>
                <a:lnTo>
                  <a:pt x="52416" y="490808"/>
                </a:lnTo>
                <a:lnTo>
                  <a:pt x="52416" y="486044"/>
                </a:lnTo>
                <a:close/>
                <a:moveTo>
                  <a:pt x="357384" y="266846"/>
                </a:moveTo>
                <a:lnTo>
                  <a:pt x="371680" y="271612"/>
                </a:lnTo>
                <a:lnTo>
                  <a:pt x="381210" y="276378"/>
                </a:lnTo>
                <a:lnTo>
                  <a:pt x="385976" y="281142"/>
                </a:lnTo>
                <a:lnTo>
                  <a:pt x="385976" y="290672"/>
                </a:lnTo>
                <a:lnTo>
                  <a:pt x="381210" y="300202"/>
                </a:lnTo>
                <a:lnTo>
                  <a:pt x="371680" y="309734"/>
                </a:lnTo>
                <a:lnTo>
                  <a:pt x="352620" y="324028"/>
                </a:lnTo>
                <a:lnTo>
                  <a:pt x="343088" y="338324"/>
                </a:lnTo>
                <a:lnTo>
                  <a:pt x="333558" y="343090"/>
                </a:lnTo>
                <a:lnTo>
                  <a:pt x="324028" y="343090"/>
                </a:lnTo>
                <a:lnTo>
                  <a:pt x="295438" y="333558"/>
                </a:lnTo>
                <a:lnTo>
                  <a:pt x="285908" y="328794"/>
                </a:lnTo>
                <a:lnTo>
                  <a:pt x="281142" y="324028"/>
                </a:lnTo>
                <a:lnTo>
                  <a:pt x="314498" y="295438"/>
                </a:lnTo>
                <a:lnTo>
                  <a:pt x="343088" y="276378"/>
                </a:lnTo>
                <a:close/>
                <a:moveTo>
                  <a:pt x="314498" y="147718"/>
                </a:moveTo>
                <a:lnTo>
                  <a:pt x="300202" y="157250"/>
                </a:lnTo>
                <a:lnTo>
                  <a:pt x="281142" y="171544"/>
                </a:lnTo>
                <a:lnTo>
                  <a:pt x="266846" y="181074"/>
                </a:lnTo>
                <a:lnTo>
                  <a:pt x="271612" y="190606"/>
                </a:lnTo>
                <a:lnTo>
                  <a:pt x="276376" y="204900"/>
                </a:lnTo>
                <a:lnTo>
                  <a:pt x="281142" y="219196"/>
                </a:lnTo>
                <a:lnTo>
                  <a:pt x="295438" y="233492"/>
                </a:lnTo>
                <a:lnTo>
                  <a:pt x="295438" y="247786"/>
                </a:lnTo>
                <a:lnTo>
                  <a:pt x="276376" y="257318"/>
                </a:lnTo>
                <a:lnTo>
                  <a:pt x="266846" y="262082"/>
                </a:lnTo>
                <a:lnTo>
                  <a:pt x="266846" y="276378"/>
                </a:lnTo>
                <a:lnTo>
                  <a:pt x="266846" y="285908"/>
                </a:lnTo>
                <a:lnTo>
                  <a:pt x="266846" y="304968"/>
                </a:lnTo>
                <a:lnTo>
                  <a:pt x="266846" y="309734"/>
                </a:lnTo>
                <a:lnTo>
                  <a:pt x="262082" y="314498"/>
                </a:lnTo>
                <a:lnTo>
                  <a:pt x="257316" y="324030"/>
                </a:lnTo>
                <a:lnTo>
                  <a:pt x="262082" y="328794"/>
                </a:lnTo>
                <a:lnTo>
                  <a:pt x="304968" y="343090"/>
                </a:lnTo>
                <a:lnTo>
                  <a:pt x="333558" y="357386"/>
                </a:lnTo>
                <a:lnTo>
                  <a:pt x="381210" y="309734"/>
                </a:lnTo>
                <a:lnTo>
                  <a:pt x="390740" y="295438"/>
                </a:lnTo>
                <a:lnTo>
                  <a:pt x="390740" y="276378"/>
                </a:lnTo>
                <a:lnTo>
                  <a:pt x="385974" y="262082"/>
                </a:lnTo>
                <a:lnTo>
                  <a:pt x="357384" y="257318"/>
                </a:lnTo>
                <a:lnTo>
                  <a:pt x="352618" y="252552"/>
                </a:lnTo>
                <a:lnTo>
                  <a:pt x="352618" y="243022"/>
                </a:lnTo>
                <a:lnTo>
                  <a:pt x="352618" y="223962"/>
                </a:lnTo>
                <a:lnTo>
                  <a:pt x="352618" y="219196"/>
                </a:lnTo>
                <a:lnTo>
                  <a:pt x="362150" y="209666"/>
                </a:lnTo>
                <a:lnTo>
                  <a:pt x="357384" y="200136"/>
                </a:lnTo>
                <a:lnTo>
                  <a:pt x="343088" y="200136"/>
                </a:lnTo>
                <a:lnTo>
                  <a:pt x="328794" y="200136"/>
                </a:lnTo>
                <a:lnTo>
                  <a:pt x="324028" y="195370"/>
                </a:lnTo>
                <a:lnTo>
                  <a:pt x="319262" y="185840"/>
                </a:lnTo>
                <a:lnTo>
                  <a:pt x="319262" y="152484"/>
                </a:lnTo>
                <a:close/>
                <a:moveTo>
                  <a:pt x="238256" y="114362"/>
                </a:moveTo>
                <a:lnTo>
                  <a:pt x="238256" y="142954"/>
                </a:lnTo>
                <a:lnTo>
                  <a:pt x="223960" y="162014"/>
                </a:lnTo>
                <a:lnTo>
                  <a:pt x="214430" y="157248"/>
                </a:lnTo>
                <a:lnTo>
                  <a:pt x="209664" y="152484"/>
                </a:lnTo>
                <a:lnTo>
                  <a:pt x="214430" y="138188"/>
                </a:lnTo>
                <a:close/>
                <a:moveTo>
                  <a:pt x="262082" y="81006"/>
                </a:moveTo>
                <a:lnTo>
                  <a:pt x="276376" y="81006"/>
                </a:lnTo>
                <a:lnTo>
                  <a:pt x="243020" y="100068"/>
                </a:lnTo>
                <a:close/>
                <a:moveTo>
                  <a:pt x="500338" y="47650"/>
                </a:moveTo>
                <a:lnTo>
                  <a:pt x="543224" y="47650"/>
                </a:lnTo>
                <a:lnTo>
                  <a:pt x="557520" y="66712"/>
                </a:lnTo>
                <a:lnTo>
                  <a:pt x="567050" y="76242"/>
                </a:lnTo>
                <a:lnTo>
                  <a:pt x="576580" y="85772"/>
                </a:lnTo>
                <a:lnTo>
                  <a:pt x="600406" y="90538"/>
                </a:lnTo>
                <a:lnTo>
                  <a:pt x="600406" y="114362"/>
                </a:lnTo>
                <a:lnTo>
                  <a:pt x="600406" y="162014"/>
                </a:lnTo>
                <a:lnTo>
                  <a:pt x="595640" y="171544"/>
                </a:lnTo>
                <a:lnTo>
                  <a:pt x="586110" y="190604"/>
                </a:lnTo>
                <a:lnTo>
                  <a:pt x="576580" y="228726"/>
                </a:lnTo>
                <a:lnTo>
                  <a:pt x="576580" y="252552"/>
                </a:lnTo>
                <a:lnTo>
                  <a:pt x="571816" y="257316"/>
                </a:lnTo>
                <a:lnTo>
                  <a:pt x="528930" y="257316"/>
                </a:lnTo>
                <a:lnTo>
                  <a:pt x="524164" y="262082"/>
                </a:lnTo>
                <a:lnTo>
                  <a:pt x="524164" y="266846"/>
                </a:lnTo>
                <a:lnTo>
                  <a:pt x="524164" y="271612"/>
                </a:lnTo>
                <a:lnTo>
                  <a:pt x="524164" y="281142"/>
                </a:lnTo>
                <a:lnTo>
                  <a:pt x="519398" y="285908"/>
                </a:lnTo>
                <a:lnTo>
                  <a:pt x="524164" y="290672"/>
                </a:lnTo>
                <a:lnTo>
                  <a:pt x="528930" y="300202"/>
                </a:lnTo>
                <a:lnTo>
                  <a:pt x="543224" y="304968"/>
                </a:lnTo>
                <a:lnTo>
                  <a:pt x="557520" y="304968"/>
                </a:lnTo>
                <a:lnTo>
                  <a:pt x="567050" y="304968"/>
                </a:lnTo>
                <a:lnTo>
                  <a:pt x="571816" y="314498"/>
                </a:lnTo>
                <a:lnTo>
                  <a:pt x="576580" y="324028"/>
                </a:lnTo>
                <a:lnTo>
                  <a:pt x="576580" y="333558"/>
                </a:lnTo>
                <a:lnTo>
                  <a:pt x="571816" y="352618"/>
                </a:lnTo>
                <a:lnTo>
                  <a:pt x="567050" y="366914"/>
                </a:lnTo>
                <a:lnTo>
                  <a:pt x="547990" y="385974"/>
                </a:lnTo>
                <a:lnTo>
                  <a:pt x="538460" y="390740"/>
                </a:lnTo>
                <a:lnTo>
                  <a:pt x="528930" y="395506"/>
                </a:lnTo>
                <a:lnTo>
                  <a:pt x="528930" y="400270"/>
                </a:lnTo>
                <a:lnTo>
                  <a:pt x="524164" y="405036"/>
                </a:lnTo>
                <a:lnTo>
                  <a:pt x="524164" y="409800"/>
                </a:lnTo>
                <a:lnTo>
                  <a:pt x="538460" y="424096"/>
                </a:lnTo>
                <a:lnTo>
                  <a:pt x="538460" y="428862"/>
                </a:lnTo>
                <a:lnTo>
                  <a:pt x="533694" y="433626"/>
                </a:lnTo>
                <a:lnTo>
                  <a:pt x="528930" y="443156"/>
                </a:lnTo>
                <a:lnTo>
                  <a:pt x="495574" y="457452"/>
                </a:lnTo>
                <a:lnTo>
                  <a:pt x="481278" y="452686"/>
                </a:lnTo>
                <a:lnTo>
                  <a:pt x="471748" y="462216"/>
                </a:lnTo>
                <a:lnTo>
                  <a:pt x="466982" y="462216"/>
                </a:lnTo>
                <a:lnTo>
                  <a:pt x="457452" y="457452"/>
                </a:lnTo>
                <a:lnTo>
                  <a:pt x="438392" y="447922"/>
                </a:lnTo>
                <a:lnTo>
                  <a:pt x="433626" y="452686"/>
                </a:lnTo>
                <a:lnTo>
                  <a:pt x="428862" y="457452"/>
                </a:lnTo>
                <a:lnTo>
                  <a:pt x="414566" y="462216"/>
                </a:lnTo>
                <a:lnTo>
                  <a:pt x="405036" y="466982"/>
                </a:lnTo>
                <a:lnTo>
                  <a:pt x="405036" y="481278"/>
                </a:lnTo>
                <a:lnTo>
                  <a:pt x="419332" y="505102"/>
                </a:lnTo>
                <a:lnTo>
                  <a:pt x="428862" y="509868"/>
                </a:lnTo>
                <a:lnTo>
                  <a:pt x="428862" y="519398"/>
                </a:lnTo>
                <a:lnTo>
                  <a:pt x="433626" y="533694"/>
                </a:lnTo>
                <a:lnTo>
                  <a:pt x="443156" y="547990"/>
                </a:lnTo>
                <a:lnTo>
                  <a:pt x="443156" y="557520"/>
                </a:lnTo>
                <a:lnTo>
                  <a:pt x="443156" y="567050"/>
                </a:lnTo>
                <a:lnTo>
                  <a:pt x="438392" y="581346"/>
                </a:lnTo>
                <a:lnTo>
                  <a:pt x="424096" y="614700"/>
                </a:lnTo>
                <a:lnTo>
                  <a:pt x="424096" y="619466"/>
                </a:lnTo>
                <a:lnTo>
                  <a:pt x="424096" y="624232"/>
                </a:lnTo>
                <a:lnTo>
                  <a:pt x="428862" y="628996"/>
                </a:lnTo>
                <a:lnTo>
                  <a:pt x="433626" y="628996"/>
                </a:lnTo>
                <a:lnTo>
                  <a:pt x="433626" y="633762"/>
                </a:lnTo>
                <a:lnTo>
                  <a:pt x="405036" y="657586"/>
                </a:lnTo>
                <a:lnTo>
                  <a:pt x="390740" y="657586"/>
                </a:lnTo>
                <a:lnTo>
                  <a:pt x="390740" y="662352"/>
                </a:lnTo>
                <a:lnTo>
                  <a:pt x="390740" y="667118"/>
                </a:lnTo>
                <a:lnTo>
                  <a:pt x="395506" y="671882"/>
                </a:lnTo>
                <a:lnTo>
                  <a:pt x="405036" y="676648"/>
                </a:lnTo>
                <a:lnTo>
                  <a:pt x="414566" y="681412"/>
                </a:lnTo>
                <a:lnTo>
                  <a:pt x="419332" y="695708"/>
                </a:lnTo>
                <a:lnTo>
                  <a:pt x="414566" y="733830"/>
                </a:lnTo>
                <a:lnTo>
                  <a:pt x="395506" y="729064"/>
                </a:lnTo>
                <a:lnTo>
                  <a:pt x="381210" y="729064"/>
                </a:lnTo>
                <a:lnTo>
                  <a:pt x="371680" y="729064"/>
                </a:lnTo>
                <a:lnTo>
                  <a:pt x="366914" y="724298"/>
                </a:lnTo>
                <a:lnTo>
                  <a:pt x="357384" y="710004"/>
                </a:lnTo>
                <a:lnTo>
                  <a:pt x="357384" y="705238"/>
                </a:lnTo>
                <a:lnTo>
                  <a:pt x="371680" y="686178"/>
                </a:lnTo>
                <a:lnTo>
                  <a:pt x="376444" y="681412"/>
                </a:lnTo>
                <a:lnTo>
                  <a:pt x="371680" y="681412"/>
                </a:lnTo>
                <a:lnTo>
                  <a:pt x="376444" y="671882"/>
                </a:lnTo>
                <a:lnTo>
                  <a:pt x="385976" y="648056"/>
                </a:lnTo>
                <a:lnTo>
                  <a:pt x="385976" y="638526"/>
                </a:lnTo>
                <a:lnTo>
                  <a:pt x="381210" y="633762"/>
                </a:lnTo>
                <a:lnTo>
                  <a:pt x="376444" y="628996"/>
                </a:lnTo>
                <a:lnTo>
                  <a:pt x="352620" y="619466"/>
                </a:lnTo>
                <a:lnTo>
                  <a:pt x="343088" y="609936"/>
                </a:lnTo>
                <a:lnTo>
                  <a:pt x="338324" y="600406"/>
                </a:lnTo>
                <a:lnTo>
                  <a:pt x="333558" y="600406"/>
                </a:lnTo>
                <a:lnTo>
                  <a:pt x="324028" y="600406"/>
                </a:lnTo>
                <a:lnTo>
                  <a:pt x="304968" y="605170"/>
                </a:lnTo>
                <a:lnTo>
                  <a:pt x="290672" y="600406"/>
                </a:lnTo>
                <a:lnTo>
                  <a:pt x="271612" y="581346"/>
                </a:lnTo>
                <a:lnTo>
                  <a:pt x="266846" y="567050"/>
                </a:lnTo>
                <a:lnTo>
                  <a:pt x="266846" y="557520"/>
                </a:lnTo>
                <a:lnTo>
                  <a:pt x="262082" y="552754"/>
                </a:lnTo>
                <a:lnTo>
                  <a:pt x="257316" y="557520"/>
                </a:lnTo>
                <a:lnTo>
                  <a:pt x="247786" y="567050"/>
                </a:lnTo>
                <a:lnTo>
                  <a:pt x="233490" y="571814"/>
                </a:lnTo>
                <a:lnTo>
                  <a:pt x="228726" y="567050"/>
                </a:lnTo>
                <a:lnTo>
                  <a:pt x="228726" y="562284"/>
                </a:lnTo>
                <a:lnTo>
                  <a:pt x="228726" y="557520"/>
                </a:lnTo>
                <a:lnTo>
                  <a:pt x="223960" y="552754"/>
                </a:lnTo>
                <a:lnTo>
                  <a:pt x="219196" y="547990"/>
                </a:lnTo>
                <a:lnTo>
                  <a:pt x="200136" y="562284"/>
                </a:lnTo>
                <a:lnTo>
                  <a:pt x="195370" y="562284"/>
                </a:lnTo>
                <a:lnTo>
                  <a:pt x="185840" y="557520"/>
                </a:lnTo>
                <a:lnTo>
                  <a:pt x="181074" y="552754"/>
                </a:lnTo>
                <a:lnTo>
                  <a:pt x="171544" y="557520"/>
                </a:lnTo>
                <a:lnTo>
                  <a:pt x="162014" y="562284"/>
                </a:lnTo>
                <a:lnTo>
                  <a:pt x="162014" y="576580"/>
                </a:lnTo>
                <a:lnTo>
                  <a:pt x="157248" y="581346"/>
                </a:lnTo>
                <a:lnTo>
                  <a:pt x="147718" y="581346"/>
                </a:lnTo>
                <a:lnTo>
                  <a:pt x="138188" y="571814"/>
                </a:lnTo>
                <a:lnTo>
                  <a:pt x="123892" y="571814"/>
                </a:lnTo>
                <a:lnTo>
                  <a:pt x="100068" y="557520"/>
                </a:lnTo>
                <a:lnTo>
                  <a:pt x="71476" y="567050"/>
                </a:lnTo>
                <a:lnTo>
                  <a:pt x="52416" y="557520"/>
                </a:lnTo>
                <a:lnTo>
                  <a:pt x="38120" y="557520"/>
                </a:lnTo>
                <a:lnTo>
                  <a:pt x="23826" y="547990"/>
                </a:lnTo>
                <a:lnTo>
                  <a:pt x="14296" y="533694"/>
                </a:lnTo>
                <a:lnTo>
                  <a:pt x="23826" y="524164"/>
                </a:lnTo>
                <a:lnTo>
                  <a:pt x="28590" y="524164"/>
                </a:lnTo>
                <a:lnTo>
                  <a:pt x="61946" y="519398"/>
                </a:lnTo>
                <a:lnTo>
                  <a:pt x="81006" y="524164"/>
                </a:lnTo>
                <a:lnTo>
                  <a:pt x="123892" y="557520"/>
                </a:lnTo>
                <a:lnTo>
                  <a:pt x="133424" y="557520"/>
                </a:lnTo>
                <a:lnTo>
                  <a:pt x="142954" y="552754"/>
                </a:lnTo>
                <a:lnTo>
                  <a:pt x="138188" y="543224"/>
                </a:lnTo>
                <a:lnTo>
                  <a:pt x="128658" y="538458"/>
                </a:lnTo>
                <a:lnTo>
                  <a:pt x="114362" y="533694"/>
                </a:lnTo>
                <a:lnTo>
                  <a:pt x="100068" y="519398"/>
                </a:lnTo>
                <a:lnTo>
                  <a:pt x="128658" y="519398"/>
                </a:lnTo>
                <a:lnTo>
                  <a:pt x="123892" y="509868"/>
                </a:lnTo>
                <a:lnTo>
                  <a:pt x="123892" y="500338"/>
                </a:lnTo>
                <a:lnTo>
                  <a:pt x="90538" y="466982"/>
                </a:lnTo>
                <a:lnTo>
                  <a:pt x="95302" y="457452"/>
                </a:lnTo>
                <a:lnTo>
                  <a:pt x="104832" y="438392"/>
                </a:lnTo>
                <a:lnTo>
                  <a:pt x="114362" y="419330"/>
                </a:lnTo>
                <a:lnTo>
                  <a:pt x="119128" y="414566"/>
                </a:lnTo>
                <a:lnTo>
                  <a:pt x="133424" y="405036"/>
                </a:lnTo>
                <a:lnTo>
                  <a:pt x="157248" y="366914"/>
                </a:lnTo>
                <a:lnTo>
                  <a:pt x="176310" y="338324"/>
                </a:lnTo>
                <a:lnTo>
                  <a:pt x="190604" y="304968"/>
                </a:lnTo>
                <a:lnTo>
                  <a:pt x="204900" y="209666"/>
                </a:lnTo>
                <a:lnTo>
                  <a:pt x="214430" y="195370"/>
                </a:lnTo>
                <a:lnTo>
                  <a:pt x="219196" y="176310"/>
                </a:lnTo>
                <a:lnTo>
                  <a:pt x="233490" y="181074"/>
                </a:lnTo>
                <a:lnTo>
                  <a:pt x="238256" y="185840"/>
                </a:lnTo>
                <a:lnTo>
                  <a:pt x="266846" y="171544"/>
                </a:lnTo>
                <a:lnTo>
                  <a:pt x="314498" y="138188"/>
                </a:lnTo>
                <a:lnTo>
                  <a:pt x="324028" y="104832"/>
                </a:lnTo>
                <a:lnTo>
                  <a:pt x="338324" y="90538"/>
                </a:lnTo>
                <a:lnTo>
                  <a:pt x="395506" y="66712"/>
                </a:lnTo>
                <a:lnTo>
                  <a:pt x="424096" y="57182"/>
                </a:lnTo>
                <a:lnTo>
                  <a:pt x="466982" y="52416"/>
                </a:lnTo>
                <a:close/>
                <a:moveTo>
                  <a:pt x="324028" y="47650"/>
                </a:moveTo>
                <a:lnTo>
                  <a:pt x="343088" y="47650"/>
                </a:lnTo>
                <a:lnTo>
                  <a:pt x="347854" y="47650"/>
                </a:lnTo>
                <a:lnTo>
                  <a:pt x="309732" y="61946"/>
                </a:lnTo>
                <a:lnTo>
                  <a:pt x="295438" y="61946"/>
                </a:lnTo>
                <a:lnTo>
                  <a:pt x="285908" y="61946"/>
                </a:lnTo>
                <a:close/>
                <a:moveTo>
                  <a:pt x="366914" y="38122"/>
                </a:moveTo>
                <a:lnTo>
                  <a:pt x="395504" y="38122"/>
                </a:lnTo>
                <a:lnTo>
                  <a:pt x="400270" y="42886"/>
                </a:lnTo>
                <a:lnTo>
                  <a:pt x="371680" y="47650"/>
                </a:lnTo>
                <a:lnTo>
                  <a:pt x="362150" y="42886"/>
                </a:lnTo>
                <a:lnTo>
                  <a:pt x="357384" y="42886"/>
                </a:lnTo>
                <a:close/>
                <a:moveTo>
                  <a:pt x="457452" y="28590"/>
                </a:moveTo>
                <a:lnTo>
                  <a:pt x="466982" y="28590"/>
                </a:lnTo>
                <a:lnTo>
                  <a:pt x="443156" y="38122"/>
                </a:lnTo>
                <a:lnTo>
                  <a:pt x="438392" y="38122"/>
                </a:lnTo>
                <a:lnTo>
                  <a:pt x="438392" y="33356"/>
                </a:lnTo>
                <a:close/>
                <a:moveTo>
                  <a:pt x="528928" y="0"/>
                </a:moveTo>
                <a:lnTo>
                  <a:pt x="538460" y="0"/>
                </a:lnTo>
                <a:lnTo>
                  <a:pt x="528928" y="9530"/>
                </a:lnTo>
                <a:lnTo>
                  <a:pt x="514632" y="9530"/>
                </a:lnTo>
                <a:lnTo>
                  <a:pt x="519398" y="4766"/>
                </a:lnTo>
                <a:close/>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63" name="CustomShape 88"/>
          <p:cNvSpPr/>
          <p:nvPr/>
        </p:nvSpPr>
        <p:spPr>
          <a:xfrm>
            <a:off x="2470680" y="4822200"/>
            <a:ext cx="40320" cy="32040"/>
          </a:xfrm>
          <a:custGeom>
            <a:avLst/>
            <a:gdLst/>
            <a:ahLst/>
            <a:cxnLst/>
            <a:rect l="l" t="t" r="r" b="b"/>
            <a:pathLst>
              <a:path w="100068" h="81006">
                <a:moveTo>
                  <a:pt x="66712" y="57180"/>
                </a:moveTo>
                <a:lnTo>
                  <a:pt x="90538" y="61946"/>
                </a:lnTo>
                <a:lnTo>
                  <a:pt x="100068" y="66710"/>
                </a:lnTo>
                <a:lnTo>
                  <a:pt x="100068" y="76240"/>
                </a:lnTo>
                <a:lnTo>
                  <a:pt x="95304" y="81006"/>
                </a:lnTo>
                <a:lnTo>
                  <a:pt x="85774" y="76240"/>
                </a:lnTo>
                <a:lnTo>
                  <a:pt x="76244" y="76240"/>
                </a:lnTo>
                <a:lnTo>
                  <a:pt x="66712" y="81006"/>
                </a:lnTo>
                <a:close/>
                <a:moveTo>
                  <a:pt x="19062" y="0"/>
                </a:moveTo>
                <a:lnTo>
                  <a:pt x="23828" y="4764"/>
                </a:lnTo>
                <a:lnTo>
                  <a:pt x="19062" y="19060"/>
                </a:lnTo>
                <a:lnTo>
                  <a:pt x="4766" y="14294"/>
                </a:lnTo>
                <a:lnTo>
                  <a:pt x="0" y="9530"/>
                </a:lnTo>
                <a:close/>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sp>
        <p:nvSpPr>
          <p:cNvPr id="464" name="CustomShape 89"/>
          <p:cNvSpPr/>
          <p:nvPr/>
        </p:nvSpPr>
        <p:spPr>
          <a:xfrm>
            <a:off x="3135600" y="5375880"/>
            <a:ext cx="1800" cy="1800"/>
          </a:xfrm>
          <a:custGeom>
            <a:avLst/>
            <a:gdLst/>
            <a:ahLst/>
            <a:cxnLst/>
            <a:rect l="l" t="t" r="r" b="b"/>
            <a:pathLst>
              <a:path w="4" h="4">
                <a:moveTo>
                  <a:pt x="4" y="2"/>
                </a:moveTo>
                <a:lnTo>
                  <a:pt x="4" y="2"/>
                </a:lnTo>
                <a:lnTo>
                  <a:pt x="2" y="0"/>
                </a:lnTo>
                <a:lnTo>
                  <a:pt x="0" y="2"/>
                </a:lnTo>
                <a:lnTo>
                  <a:pt x="0" y="2"/>
                </a:lnTo>
                <a:lnTo>
                  <a:pt x="0" y="4"/>
                </a:lnTo>
                <a:lnTo>
                  <a:pt x="4" y="2"/>
                </a:lnTo>
              </a:path>
            </a:pathLst>
          </a:custGeom>
          <a:solidFill>
            <a:srgbClr val="F2F2F2"/>
          </a:solidFill>
          <a:ln w="9525">
            <a:solidFill>
              <a:schemeClr val="lt2"/>
            </a:solidFill>
            <a:round/>
          </a:ln>
        </p:spPr>
        <p:style>
          <a:lnRef idx="0">
            <a:scrgbClr r="0" g="0" b="0"/>
          </a:lnRef>
          <a:fillRef idx="0">
            <a:scrgbClr r="0" g="0" b="0"/>
          </a:fillRef>
          <a:effectRef idx="0">
            <a:scrgbClr r="0" g="0" b="0"/>
          </a:effectRef>
          <a:fontRef idx="minor"/>
        </p:style>
        <p:txBody>
          <a:bodyPr/>
          <a:lstStyle/>
          <a:p>
            <a:endParaRPr lang="el-GR"/>
          </a:p>
        </p:txBody>
      </p:sp>
      <p:grpSp>
        <p:nvGrpSpPr>
          <p:cNvPr id="465" name="Group 90"/>
          <p:cNvGrpSpPr/>
          <p:nvPr/>
        </p:nvGrpSpPr>
        <p:grpSpPr>
          <a:xfrm>
            <a:off x="5545080" y="5098320"/>
            <a:ext cx="1595160" cy="1063080"/>
            <a:chOff x="5545080" y="5098320"/>
            <a:chExt cx="1595160" cy="1063080"/>
          </a:xfrm>
        </p:grpSpPr>
        <p:sp>
          <p:nvSpPr>
            <p:cNvPr id="466" name="CustomShape 91"/>
            <p:cNvSpPr/>
            <p:nvPr/>
          </p:nvSpPr>
          <p:spPr>
            <a:xfrm>
              <a:off x="5545080" y="5098320"/>
              <a:ext cx="1595160" cy="1063080"/>
            </a:xfrm>
            <a:custGeom>
              <a:avLst/>
              <a:gdLst/>
              <a:ahLst/>
              <a:cxnLst/>
              <a:rect l="l" t="t" r="r" b="b"/>
              <a:pathLst>
                <a:path w="604628" h="403298">
                  <a:moveTo>
                    <a:pt x="0" y="403299"/>
                  </a:moveTo>
                  <a:lnTo>
                    <a:pt x="604628" y="403299"/>
                  </a:lnTo>
                  <a:lnTo>
                    <a:pt x="604628" y="0"/>
                  </a:lnTo>
                  <a:lnTo>
                    <a:pt x="0" y="0"/>
                  </a:lnTo>
                  <a:lnTo>
                    <a:pt x="0" y="403299"/>
                  </a:lnTo>
                  <a:lnTo>
                    <a:pt x="0" y="403299"/>
                  </a:lnTo>
                  <a:close/>
                </a:path>
              </a:pathLst>
            </a:custGeom>
            <a:solidFill>
              <a:srgbClr val="F4F4F7"/>
            </a:solidFill>
            <a:ln w="0">
              <a:noFill/>
            </a:ln>
          </p:spPr>
          <p:style>
            <a:lnRef idx="0">
              <a:scrgbClr r="0" g="0" b="0"/>
            </a:lnRef>
            <a:fillRef idx="0">
              <a:scrgbClr r="0" g="0" b="0"/>
            </a:fillRef>
            <a:effectRef idx="0">
              <a:scrgbClr r="0" g="0" b="0"/>
            </a:effectRef>
            <a:fontRef idx="minor"/>
          </p:style>
          <p:txBody>
            <a:bodyPr/>
            <a:lstStyle/>
            <a:p>
              <a:endParaRPr lang="el-GR"/>
            </a:p>
          </p:txBody>
        </p:sp>
        <p:sp>
          <p:nvSpPr>
            <p:cNvPr id="467" name="CustomShape 92"/>
            <p:cNvSpPr/>
            <p:nvPr/>
          </p:nvSpPr>
          <p:spPr>
            <a:xfrm>
              <a:off x="6015960" y="5318280"/>
              <a:ext cx="718920" cy="431640"/>
            </a:xfrm>
            <a:custGeom>
              <a:avLst/>
              <a:gdLst/>
              <a:ahLst/>
              <a:cxnLst/>
              <a:rect l="l" t="t" r="r" b="b"/>
              <a:pathLst>
                <a:path w="272920" h="164268">
                  <a:moveTo>
                    <a:pt x="77871" y="45360"/>
                  </a:moveTo>
                  <a:cubicBezTo>
                    <a:pt x="81078" y="47548"/>
                    <a:pt x="84714" y="49028"/>
                    <a:pt x="88536" y="49700"/>
                  </a:cubicBezTo>
                  <a:cubicBezTo>
                    <a:pt x="91629" y="50091"/>
                    <a:pt x="92518" y="51194"/>
                    <a:pt x="94864" y="51336"/>
                  </a:cubicBezTo>
                  <a:cubicBezTo>
                    <a:pt x="97210" y="51478"/>
                    <a:pt x="98739" y="48846"/>
                    <a:pt x="101974" y="50091"/>
                  </a:cubicBezTo>
                  <a:cubicBezTo>
                    <a:pt x="105209" y="51336"/>
                    <a:pt x="103609" y="51834"/>
                    <a:pt x="107448" y="51087"/>
                  </a:cubicBezTo>
                  <a:cubicBezTo>
                    <a:pt x="111288" y="50340"/>
                    <a:pt x="111572" y="52332"/>
                    <a:pt x="114558" y="52937"/>
                  </a:cubicBezTo>
                  <a:cubicBezTo>
                    <a:pt x="117545" y="53541"/>
                    <a:pt x="117900" y="50696"/>
                    <a:pt x="122379" y="52332"/>
                  </a:cubicBezTo>
                  <a:cubicBezTo>
                    <a:pt x="126859" y="53968"/>
                    <a:pt x="126361" y="54324"/>
                    <a:pt x="130236" y="53826"/>
                  </a:cubicBezTo>
                  <a:cubicBezTo>
                    <a:pt x="134111" y="53328"/>
                    <a:pt x="141363" y="55071"/>
                    <a:pt x="146766" y="53079"/>
                  </a:cubicBezTo>
                  <a:cubicBezTo>
                    <a:pt x="149148" y="52190"/>
                    <a:pt x="151743" y="53328"/>
                    <a:pt x="154587" y="51692"/>
                  </a:cubicBezTo>
                  <a:cubicBezTo>
                    <a:pt x="157431" y="50056"/>
                    <a:pt x="157822" y="49700"/>
                    <a:pt x="160204" y="50091"/>
                  </a:cubicBezTo>
                  <a:cubicBezTo>
                    <a:pt x="162426" y="50657"/>
                    <a:pt x="164779" y="50240"/>
                    <a:pt x="166674" y="48953"/>
                  </a:cubicBezTo>
                  <a:cubicBezTo>
                    <a:pt x="168665" y="47459"/>
                    <a:pt x="173002" y="42479"/>
                    <a:pt x="176735" y="42479"/>
                  </a:cubicBezTo>
                  <a:cubicBezTo>
                    <a:pt x="180467" y="42479"/>
                    <a:pt x="179650" y="43297"/>
                    <a:pt x="183205" y="42870"/>
                  </a:cubicBezTo>
                  <a:cubicBezTo>
                    <a:pt x="186760" y="42443"/>
                    <a:pt x="203290" y="37321"/>
                    <a:pt x="207165" y="34227"/>
                  </a:cubicBezTo>
                  <a:cubicBezTo>
                    <a:pt x="211040" y="31132"/>
                    <a:pt x="214986" y="31096"/>
                    <a:pt x="218221" y="28500"/>
                  </a:cubicBezTo>
                  <a:cubicBezTo>
                    <a:pt x="221456" y="25903"/>
                    <a:pt x="222700" y="19892"/>
                    <a:pt x="225047" y="19892"/>
                  </a:cubicBezTo>
                  <a:cubicBezTo>
                    <a:pt x="227393" y="19892"/>
                    <a:pt x="227784" y="21635"/>
                    <a:pt x="232405" y="19892"/>
                  </a:cubicBezTo>
                  <a:cubicBezTo>
                    <a:pt x="237027" y="18149"/>
                    <a:pt x="238236" y="18647"/>
                    <a:pt x="241471" y="15410"/>
                  </a:cubicBezTo>
                  <a:cubicBezTo>
                    <a:pt x="244706" y="12173"/>
                    <a:pt x="244208" y="10074"/>
                    <a:pt x="247941" y="9434"/>
                  </a:cubicBezTo>
                  <a:cubicBezTo>
                    <a:pt x="251673" y="8794"/>
                    <a:pt x="252171" y="9434"/>
                    <a:pt x="254020" y="7442"/>
                  </a:cubicBezTo>
                  <a:cubicBezTo>
                    <a:pt x="255868" y="5450"/>
                    <a:pt x="254659" y="6588"/>
                    <a:pt x="258996" y="5841"/>
                  </a:cubicBezTo>
                  <a:cubicBezTo>
                    <a:pt x="263334" y="5094"/>
                    <a:pt x="270586" y="257"/>
                    <a:pt x="272185" y="8"/>
                  </a:cubicBezTo>
                  <a:cubicBezTo>
                    <a:pt x="273785" y="-241"/>
                    <a:pt x="272576" y="5592"/>
                    <a:pt x="270443" y="6197"/>
                  </a:cubicBezTo>
                  <a:cubicBezTo>
                    <a:pt x="268310" y="6802"/>
                    <a:pt x="266462" y="5094"/>
                    <a:pt x="263120" y="7833"/>
                  </a:cubicBezTo>
                  <a:cubicBezTo>
                    <a:pt x="259779" y="10572"/>
                    <a:pt x="254411" y="12920"/>
                    <a:pt x="253522" y="15161"/>
                  </a:cubicBezTo>
                  <a:cubicBezTo>
                    <a:pt x="252633" y="17402"/>
                    <a:pt x="252526" y="19145"/>
                    <a:pt x="250429" y="20532"/>
                  </a:cubicBezTo>
                  <a:cubicBezTo>
                    <a:pt x="248332" y="21919"/>
                    <a:pt x="243959" y="22133"/>
                    <a:pt x="242359" y="25014"/>
                  </a:cubicBezTo>
                  <a:cubicBezTo>
                    <a:pt x="240760" y="27895"/>
                    <a:pt x="239729" y="30598"/>
                    <a:pt x="236991" y="30847"/>
                  </a:cubicBezTo>
                  <a:cubicBezTo>
                    <a:pt x="232818" y="31321"/>
                    <a:pt x="228840" y="32864"/>
                    <a:pt x="225438" y="35329"/>
                  </a:cubicBezTo>
                  <a:cubicBezTo>
                    <a:pt x="221883" y="38211"/>
                    <a:pt x="214773" y="42443"/>
                    <a:pt x="214097" y="45538"/>
                  </a:cubicBezTo>
                  <a:cubicBezTo>
                    <a:pt x="213422" y="48633"/>
                    <a:pt x="213493" y="50625"/>
                    <a:pt x="210756" y="52261"/>
                  </a:cubicBezTo>
                  <a:cubicBezTo>
                    <a:pt x="208018" y="53897"/>
                    <a:pt x="204926" y="51621"/>
                    <a:pt x="200944" y="53506"/>
                  </a:cubicBezTo>
                  <a:cubicBezTo>
                    <a:pt x="196962" y="55391"/>
                    <a:pt x="197389" y="57241"/>
                    <a:pt x="196074" y="59837"/>
                  </a:cubicBezTo>
                  <a:cubicBezTo>
                    <a:pt x="194758" y="62434"/>
                    <a:pt x="193479" y="60584"/>
                    <a:pt x="192519" y="65458"/>
                  </a:cubicBezTo>
                  <a:cubicBezTo>
                    <a:pt x="191637" y="69954"/>
                    <a:pt x="192341" y="74617"/>
                    <a:pt x="194509" y="78654"/>
                  </a:cubicBezTo>
                  <a:cubicBezTo>
                    <a:pt x="196642" y="82389"/>
                    <a:pt x="198918" y="81820"/>
                    <a:pt x="200233" y="85768"/>
                  </a:cubicBezTo>
                  <a:cubicBezTo>
                    <a:pt x="201548" y="89717"/>
                    <a:pt x="203290" y="90570"/>
                    <a:pt x="206632" y="92882"/>
                  </a:cubicBezTo>
                  <a:cubicBezTo>
                    <a:pt x="209974" y="95195"/>
                    <a:pt x="207521" y="95266"/>
                    <a:pt x="209369" y="97364"/>
                  </a:cubicBezTo>
                  <a:cubicBezTo>
                    <a:pt x="211218" y="99463"/>
                    <a:pt x="213742" y="102949"/>
                    <a:pt x="212924" y="104941"/>
                  </a:cubicBezTo>
                  <a:cubicBezTo>
                    <a:pt x="212107" y="106933"/>
                    <a:pt x="210187" y="103091"/>
                    <a:pt x="207094" y="102949"/>
                  </a:cubicBezTo>
                  <a:cubicBezTo>
                    <a:pt x="204819" y="102654"/>
                    <a:pt x="202522" y="102572"/>
                    <a:pt x="200233" y="102700"/>
                  </a:cubicBezTo>
                  <a:cubicBezTo>
                    <a:pt x="198384" y="103091"/>
                    <a:pt x="194403" y="102095"/>
                    <a:pt x="193407" y="103696"/>
                  </a:cubicBezTo>
                  <a:cubicBezTo>
                    <a:pt x="192412" y="105297"/>
                    <a:pt x="192768" y="107680"/>
                    <a:pt x="189852" y="107929"/>
                  </a:cubicBezTo>
                  <a:cubicBezTo>
                    <a:pt x="186937" y="108178"/>
                    <a:pt x="187364" y="104941"/>
                    <a:pt x="181641" y="104087"/>
                  </a:cubicBezTo>
                  <a:cubicBezTo>
                    <a:pt x="175917" y="103234"/>
                    <a:pt x="172184" y="101241"/>
                    <a:pt x="168345" y="103696"/>
                  </a:cubicBezTo>
                  <a:cubicBezTo>
                    <a:pt x="164274" y="106182"/>
                    <a:pt x="161818" y="110629"/>
                    <a:pt x="161875" y="115399"/>
                  </a:cubicBezTo>
                  <a:cubicBezTo>
                    <a:pt x="161875" y="120627"/>
                    <a:pt x="161875" y="120378"/>
                    <a:pt x="160489" y="123260"/>
                  </a:cubicBezTo>
                  <a:cubicBezTo>
                    <a:pt x="159102" y="126141"/>
                    <a:pt x="158995" y="126817"/>
                    <a:pt x="154516" y="126817"/>
                  </a:cubicBezTo>
                  <a:cubicBezTo>
                    <a:pt x="150037" y="126817"/>
                    <a:pt x="148330" y="131299"/>
                    <a:pt x="145949" y="131939"/>
                  </a:cubicBezTo>
                  <a:cubicBezTo>
                    <a:pt x="142938" y="132309"/>
                    <a:pt x="140044" y="133316"/>
                    <a:pt x="137452" y="134891"/>
                  </a:cubicBezTo>
                  <a:cubicBezTo>
                    <a:pt x="135533" y="136670"/>
                    <a:pt x="136101" y="137061"/>
                    <a:pt x="134857" y="137310"/>
                  </a:cubicBezTo>
                  <a:cubicBezTo>
                    <a:pt x="133240" y="137481"/>
                    <a:pt x="131704" y="138125"/>
                    <a:pt x="130449" y="139160"/>
                  </a:cubicBezTo>
                  <a:cubicBezTo>
                    <a:pt x="129134" y="140476"/>
                    <a:pt x="128565" y="139160"/>
                    <a:pt x="127214" y="140227"/>
                  </a:cubicBezTo>
                  <a:cubicBezTo>
                    <a:pt x="125863" y="141294"/>
                    <a:pt x="127996" y="141401"/>
                    <a:pt x="125081" y="141792"/>
                  </a:cubicBezTo>
                  <a:cubicBezTo>
                    <a:pt x="122166" y="142183"/>
                    <a:pt x="121526" y="140725"/>
                    <a:pt x="119429" y="141365"/>
                  </a:cubicBezTo>
                  <a:cubicBezTo>
                    <a:pt x="117331" y="142005"/>
                    <a:pt x="118256" y="142966"/>
                    <a:pt x="116336" y="143464"/>
                  </a:cubicBezTo>
                  <a:cubicBezTo>
                    <a:pt x="114416" y="143962"/>
                    <a:pt x="116336" y="144211"/>
                    <a:pt x="111466" y="143464"/>
                  </a:cubicBezTo>
                  <a:cubicBezTo>
                    <a:pt x="108870" y="142635"/>
                    <a:pt x="106112" y="142454"/>
                    <a:pt x="103431" y="142930"/>
                  </a:cubicBezTo>
                  <a:cubicBezTo>
                    <a:pt x="100950" y="143702"/>
                    <a:pt x="98565" y="144751"/>
                    <a:pt x="96321" y="146060"/>
                  </a:cubicBezTo>
                  <a:cubicBezTo>
                    <a:pt x="94260" y="146807"/>
                    <a:pt x="93335" y="146060"/>
                    <a:pt x="92091" y="146985"/>
                  </a:cubicBezTo>
                  <a:cubicBezTo>
                    <a:pt x="89549" y="149048"/>
                    <a:pt x="87505" y="151663"/>
                    <a:pt x="86119" y="154633"/>
                  </a:cubicBezTo>
                  <a:cubicBezTo>
                    <a:pt x="85621" y="156874"/>
                    <a:pt x="90278" y="162850"/>
                    <a:pt x="89425" y="163917"/>
                  </a:cubicBezTo>
                  <a:cubicBezTo>
                    <a:pt x="88572" y="164984"/>
                    <a:pt x="86759" y="162530"/>
                    <a:pt x="83310" y="163526"/>
                  </a:cubicBezTo>
                  <a:cubicBezTo>
                    <a:pt x="79862" y="164521"/>
                    <a:pt x="79151" y="164735"/>
                    <a:pt x="78653" y="162779"/>
                  </a:cubicBezTo>
                  <a:cubicBezTo>
                    <a:pt x="78156" y="160822"/>
                    <a:pt x="80288" y="160858"/>
                    <a:pt x="78298" y="157336"/>
                  </a:cubicBezTo>
                  <a:cubicBezTo>
                    <a:pt x="76307" y="153815"/>
                    <a:pt x="75347" y="150934"/>
                    <a:pt x="71401" y="149831"/>
                  </a:cubicBezTo>
                  <a:cubicBezTo>
                    <a:pt x="67455" y="148728"/>
                    <a:pt x="66566" y="150364"/>
                    <a:pt x="64291" y="150258"/>
                  </a:cubicBezTo>
                  <a:cubicBezTo>
                    <a:pt x="62016" y="150151"/>
                    <a:pt x="62194" y="148586"/>
                    <a:pt x="60061" y="149582"/>
                  </a:cubicBezTo>
                  <a:cubicBezTo>
                    <a:pt x="57928" y="150578"/>
                    <a:pt x="57395" y="152250"/>
                    <a:pt x="55333" y="152250"/>
                  </a:cubicBezTo>
                  <a:cubicBezTo>
                    <a:pt x="53271" y="152250"/>
                    <a:pt x="54906" y="150934"/>
                    <a:pt x="52311" y="152250"/>
                  </a:cubicBezTo>
                  <a:cubicBezTo>
                    <a:pt x="49716" y="153566"/>
                    <a:pt x="46196" y="151325"/>
                    <a:pt x="44206" y="150756"/>
                  </a:cubicBezTo>
                  <a:cubicBezTo>
                    <a:pt x="42215" y="150187"/>
                    <a:pt x="39229" y="149938"/>
                    <a:pt x="38624" y="148906"/>
                  </a:cubicBezTo>
                  <a:cubicBezTo>
                    <a:pt x="35069" y="142468"/>
                    <a:pt x="31514" y="145989"/>
                    <a:pt x="29737" y="144602"/>
                  </a:cubicBezTo>
                  <a:cubicBezTo>
                    <a:pt x="28848" y="143926"/>
                    <a:pt x="29346" y="143393"/>
                    <a:pt x="28244" y="143357"/>
                  </a:cubicBezTo>
                  <a:cubicBezTo>
                    <a:pt x="27142" y="143321"/>
                    <a:pt x="24689" y="143855"/>
                    <a:pt x="23693" y="142361"/>
                  </a:cubicBezTo>
                  <a:cubicBezTo>
                    <a:pt x="22698" y="140867"/>
                    <a:pt x="22698" y="140511"/>
                    <a:pt x="21596" y="139480"/>
                  </a:cubicBezTo>
                  <a:cubicBezTo>
                    <a:pt x="20494" y="138448"/>
                    <a:pt x="16264" y="137915"/>
                    <a:pt x="15588" y="135923"/>
                  </a:cubicBezTo>
                  <a:cubicBezTo>
                    <a:pt x="14913" y="133931"/>
                    <a:pt x="15588" y="134038"/>
                    <a:pt x="14984" y="132366"/>
                  </a:cubicBezTo>
                  <a:cubicBezTo>
                    <a:pt x="13597" y="128809"/>
                    <a:pt x="13384" y="124113"/>
                    <a:pt x="12211" y="122940"/>
                  </a:cubicBezTo>
                  <a:cubicBezTo>
                    <a:pt x="11038" y="121766"/>
                    <a:pt x="8016" y="121197"/>
                    <a:pt x="7376" y="120094"/>
                  </a:cubicBezTo>
                  <a:cubicBezTo>
                    <a:pt x="6736" y="118991"/>
                    <a:pt x="7376" y="118458"/>
                    <a:pt x="6416" y="117106"/>
                  </a:cubicBezTo>
                  <a:cubicBezTo>
                    <a:pt x="5457" y="115754"/>
                    <a:pt x="4248" y="116359"/>
                    <a:pt x="4639" y="115150"/>
                  </a:cubicBezTo>
                  <a:cubicBezTo>
                    <a:pt x="5030" y="113940"/>
                    <a:pt x="5883" y="113656"/>
                    <a:pt x="5848" y="112162"/>
                  </a:cubicBezTo>
                  <a:cubicBezTo>
                    <a:pt x="5812" y="110668"/>
                    <a:pt x="4639" y="110419"/>
                    <a:pt x="4354" y="108605"/>
                  </a:cubicBezTo>
                  <a:cubicBezTo>
                    <a:pt x="3857" y="105830"/>
                    <a:pt x="5990" y="102593"/>
                    <a:pt x="3608" y="99925"/>
                  </a:cubicBezTo>
                  <a:cubicBezTo>
                    <a:pt x="1998" y="98126"/>
                    <a:pt x="785" y="96002"/>
                    <a:pt x="53" y="93701"/>
                  </a:cubicBezTo>
                  <a:cubicBezTo>
                    <a:pt x="-160" y="91887"/>
                    <a:pt x="266" y="87831"/>
                    <a:pt x="1404" y="87369"/>
                  </a:cubicBezTo>
                  <a:cubicBezTo>
                    <a:pt x="2541" y="86907"/>
                    <a:pt x="1404" y="88863"/>
                    <a:pt x="2826" y="89859"/>
                  </a:cubicBezTo>
                  <a:cubicBezTo>
                    <a:pt x="4248" y="90855"/>
                    <a:pt x="6381" y="91424"/>
                    <a:pt x="7412" y="92811"/>
                  </a:cubicBezTo>
                  <a:cubicBezTo>
                    <a:pt x="8443" y="94199"/>
                    <a:pt x="6736" y="94732"/>
                    <a:pt x="9509" y="95408"/>
                  </a:cubicBezTo>
                  <a:cubicBezTo>
                    <a:pt x="16086" y="97044"/>
                    <a:pt x="15090" y="96511"/>
                    <a:pt x="22805" y="91495"/>
                  </a:cubicBezTo>
                  <a:cubicBezTo>
                    <a:pt x="24689" y="90286"/>
                    <a:pt x="25542" y="90499"/>
                    <a:pt x="26360" y="89468"/>
                  </a:cubicBezTo>
                  <a:cubicBezTo>
                    <a:pt x="27177" y="88436"/>
                    <a:pt x="27746" y="84630"/>
                    <a:pt x="29559" y="81927"/>
                  </a:cubicBezTo>
                  <a:cubicBezTo>
                    <a:pt x="33896" y="75417"/>
                    <a:pt x="32439" y="77872"/>
                    <a:pt x="35780" y="77303"/>
                  </a:cubicBezTo>
                  <a:cubicBezTo>
                    <a:pt x="37593" y="76982"/>
                    <a:pt x="38731" y="75062"/>
                    <a:pt x="42215" y="74706"/>
                  </a:cubicBezTo>
                  <a:cubicBezTo>
                    <a:pt x="53449" y="73496"/>
                    <a:pt x="54835" y="77765"/>
                    <a:pt x="63189" y="80682"/>
                  </a:cubicBezTo>
                  <a:cubicBezTo>
                    <a:pt x="66033" y="81678"/>
                    <a:pt x="65855" y="81962"/>
                    <a:pt x="69517" y="80113"/>
                  </a:cubicBezTo>
                  <a:cubicBezTo>
                    <a:pt x="72660" y="78668"/>
                    <a:pt x="75184" y="76143"/>
                    <a:pt x="76627" y="72999"/>
                  </a:cubicBezTo>
                  <a:cubicBezTo>
                    <a:pt x="78237" y="65909"/>
                    <a:pt x="78646" y="58596"/>
                    <a:pt x="77836" y="51372"/>
                  </a:cubicBezTo>
                  <a:cubicBezTo>
                    <a:pt x="76911" y="47815"/>
                    <a:pt x="75845" y="44258"/>
                    <a:pt x="77836" y="45182"/>
                  </a:cubicBezTo>
                  <a:close/>
                </a:path>
              </a:pathLst>
            </a:custGeom>
            <a:solidFill>
              <a:srgbClr val="F49623"/>
            </a:solidFill>
            <a:ln w="0">
              <a:noFill/>
            </a:ln>
          </p:spPr>
          <p:style>
            <a:lnRef idx="0">
              <a:scrgbClr r="0" g="0" b="0"/>
            </a:lnRef>
            <a:fillRef idx="0">
              <a:scrgbClr r="0" g="0" b="0"/>
            </a:fillRef>
            <a:effectRef idx="0">
              <a:scrgbClr r="0" g="0" b="0"/>
            </a:effectRef>
            <a:fontRef idx="minor"/>
          </p:style>
          <p:txBody>
            <a:bodyPr/>
            <a:lstStyle/>
            <a:p>
              <a:endParaRPr lang="el-GR"/>
            </a:p>
          </p:txBody>
        </p:sp>
        <p:sp>
          <p:nvSpPr>
            <p:cNvPr id="468" name="CustomShape 93"/>
            <p:cNvSpPr/>
            <p:nvPr/>
          </p:nvSpPr>
          <p:spPr>
            <a:xfrm>
              <a:off x="6096600" y="5770080"/>
              <a:ext cx="489600" cy="170280"/>
            </a:xfrm>
            <a:custGeom>
              <a:avLst/>
              <a:gdLst/>
              <a:ahLst/>
              <a:cxnLst/>
              <a:rect l="l" t="t" r="r" b="b"/>
              <a:pathLst>
                <a:path w="186102" h="65308">
                  <a:moveTo>
                    <a:pt x="0" y="3984"/>
                  </a:moveTo>
                  <a:cubicBezTo>
                    <a:pt x="0" y="6225"/>
                    <a:pt x="3982" y="18212"/>
                    <a:pt x="19517" y="21449"/>
                  </a:cubicBezTo>
                  <a:cubicBezTo>
                    <a:pt x="19517" y="21449"/>
                    <a:pt x="18379" y="7221"/>
                    <a:pt x="0" y="3984"/>
                  </a:cubicBezTo>
                  <a:close/>
                  <a:moveTo>
                    <a:pt x="115145" y="50759"/>
                  </a:moveTo>
                  <a:lnTo>
                    <a:pt x="96268" y="56593"/>
                  </a:lnTo>
                  <a:cubicBezTo>
                    <a:pt x="100236" y="58023"/>
                    <a:pt x="104018" y="59922"/>
                    <a:pt x="107538" y="62248"/>
                  </a:cubicBezTo>
                  <a:lnTo>
                    <a:pt x="92856" y="57731"/>
                  </a:lnTo>
                  <a:lnTo>
                    <a:pt x="78351" y="62248"/>
                  </a:lnTo>
                  <a:cubicBezTo>
                    <a:pt x="81921" y="59961"/>
                    <a:pt x="85753" y="58108"/>
                    <a:pt x="89763" y="56735"/>
                  </a:cubicBezTo>
                  <a:lnTo>
                    <a:pt x="70886" y="50901"/>
                  </a:lnTo>
                  <a:cubicBezTo>
                    <a:pt x="70886" y="50901"/>
                    <a:pt x="85852" y="54458"/>
                    <a:pt x="92998" y="55952"/>
                  </a:cubicBezTo>
                  <a:cubicBezTo>
                    <a:pt x="100108" y="54316"/>
                    <a:pt x="115110" y="50866"/>
                    <a:pt x="115145" y="50901"/>
                  </a:cubicBezTo>
                  <a:close/>
                  <a:moveTo>
                    <a:pt x="131925" y="64987"/>
                  </a:moveTo>
                  <a:cubicBezTo>
                    <a:pt x="129792" y="61999"/>
                    <a:pt x="124815" y="54601"/>
                    <a:pt x="110950" y="54672"/>
                  </a:cubicBezTo>
                  <a:cubicBezTo>
                    <a:pt x="110950" y="54672"/>
                    <a:pt x="114861" y="67477"/>
                    <a:pt x="131925" y="64987"/>
                  </a:cubicBezTo>
                  <a:close/>
                  <a:moveTo>
                    <a:pt x="144332" y="56771"/>
                  </a:moveTo>
                  <a:cubicBezTo>
                    <a:pt x="141488" y="54530"/>
                    <a:pt x="135409" y="47060"/>
                    <a:pt x="122717" y="51044"/>
                  </a:cubicBezTo>
                  <a:cubicBezTo>
                    <a:pt x="122717" y="51044"/>
                    <a:pt x="128690" y="63066"/>
                    <a:pt x="144332" y="56771"/>
                  </a:cubicBezTo>
                  <a:close/>
                  <a:moveTo>
                    <a:pt x="157236" y="50439"/>
                  </a:moveTo>
                  <a:cubicBezTo>
                    <a:pt x="152433" y="43343"/>
                    <a:pt x="143258" y="40682"/>
                    <a:pt x="135409" y="44108"/>
                  </a:cubicBezTo>
                  <a:cubicBezTo>
                    <a:pt x="135409" y="44108"/>
                    <a:pt x="144438" y="54779"/>
                    <a:pt x="157236" y="50439"/>
                  </a:cubicBezTo>
                  <a:close/>
                  <a:moveTo>
                    <a:pt x="149024" y="37740"/>
                  </a:moveTo>
                  <a:cubicBezTo>
                    <a:pt x="153254" y="36851"/>
                    <a:pt x="162640" y="32013"/>
                    <a:pt x="170354" y="38985"/>
                  </a:cubicBezTo>
                  <a:cubicBezTo>
                    <a:pt x="170354" y="38985"/>
                    <a:pt x="157698" y="46704"/>
                    <a:pt x="149024" y="37740"/>
                  </a:cubicBezTo>
                  <a:close/>
                  <a:moveTo>
                    <a:pt x="183116" y="25077"/>
                  </a:moveTo>
                  <a:cubicBezTo>
                    <a:pt x="179312" y="25077"/>
                    <a:pt x="169430" y="21520"/>
                    <a:pt x="158231" y="30804"/>
                  </a:cubicBezTo>
                  <a:cubicBezTo>
                    <a:pt x="158231" y="30804"/>
                    <a:pt x="169963" y="39199"/>
                    <a:pt x="183116" y="25077"/>
                  </a:cubicBezTo>
                  <a:close/>
                  <a:moveTo>
                    <a:pt x="118060" y="27887"/>
                  </a:moveTo>
                  <a:cubicBezTo>
                    <a:pt x="118060" y="33614"/>
                    <a:pt x="118487" y="40159"/>
                    <a:pt x="107395" y="50688"/>
                  </a:cubicBezTo>
                  <a:cubicBezTo>
                    <a:pt x="107395" y="50688"/>
                    <a:pt x="105227" y="33863"/>
                    <a:pt x="118060" y="27887"/>
                  </a:cubicBezTo>
                  <a:close/>
                  <a:moveTo>
                    <a:pt x="130041" y="23548"/>
                  </a:moveTo>
                  <a:cubicBezTo>
                    <a:pt x="131534" y="31942"/>
                    <a:pt x="128281" y="40476"/>
                    <a:pt x="121580" y="45744"/>
                  </a:cubicBezTo>
                  <a:cubicBezTo>
                    <a:pt x="121580" y="45744"/>
                    <a:pt x="116105" y="35997"/>
                    <a:pt x="130041" y="23548"/>
                  </a:cubicBezTo>
                  <a:close/>
                  <a:moveTo>
                    <a:pt x="141452" y="17430"/>
                  </a:moveTo>
                  <a:cubicBezTo>
                    <a:pt x="141452" y="20097"/>
                    <a:pt x="145007" y="31302"/>
                    <a:pt x="134662" y="39697"/>
                  </a:cubicBezTo>
                  <a:cubicBezTo>
                    <a:pt x="134662" y="39697"/>
                    <a:pt x="128156" y="29986"/>
                    <a:pt x="141452" y="17430"/>
                  </a:cubicBezTo>
                  <a:close/>
                  <a:moveTo>
                    <a:pt x="152579" y="9746"/>
                  </a:moveTo>
                  <a:cubicBezTo>
                    <a:pt x="153077" y="11134"/>
                    <a:pt x="157627" y="19208"/>
                    <a:pt x="147673" y="31729"/>
                  </a:cubicBezTo>
                  <a:cubicBezTo>
                    <a:pt x="147673" y="31729"/>
                    <a:pt x="141523" y="22765"/>
                    <a:pt x="152579" y="9746"/>
                  </a:cubicBezTo>
                  <a:close/>
                  <a:moveTo>
                    <a:pt x="164773" y="0"/>
                  </a:moveTo>
                  <a:cubicBezTo>
                    <a:pt x="165768" y="2810"/>
                    <a:pt x="167154" y="18283"/>
                    <a:pt x="158231" y="23441"/>
                  </a:cubicBezTo>
                  <a:cubicBezTo>
                    <a:pt x="158231" y="23441"/>
                    <a:pt x="152721" y="11560"/>
                    <a:pt x="164773" y="0"/>
                  </a:cubicBezTo>
                  <a:close/>
                  <a:moveTo>
                    <a:pt x="186102" y="3984"/>
                  </a:moveTo>
                  <a:cubicBezTo>
                    <a:pt x="186102" y="6225"/>
                    <a:pt x="182121" y="18212"/>
                    <a:pt x="166586" y="21449"/>
                  </a:cubicBezTo>
                  <a:cubicBezTo>
                    <a:pt x="166586" y="21449"/>
                    <a:pt x="167723" y="7221"/>
                    <a:pt x="186102" y="3984"/>
                  </a:cubicBezTo>
                  <a:close/>
                  <a:moveTo>
                    <a:pt x="54213" y="64987"/>
                  </a:moveTo>
                  <a:cubicBezTo>
                    <a:pt x="56346" y="61999"/>
                    <a:pt x="61145" y="54601"/>
                    <a:pt x="75187" y="54672"/>
                  </a:cubicBezTo>
                  <a:cubicBezTo>
                    <a:pt x="75187" y="54672"/>
                    <a:pt x="71277" y="67477"/>
                    <a:pt x="54213" y="64987"/>
                  </a:cubicBezTo>
                  <a:close/>
                  <a:moveTo>
                    <a:pt x="41806" y="56771"/>
                  </a:moveTo>
                  <a:cubicBezTo>
                    <a:pt x="44650" y="54530"/>
                    <a:pt x="50729" y="47060"/>
                    <a:pt x="63421" y="51044"/>
                  </a:cubicBezTo>
                  <a:cubicBezTo>
                    <a:pt x="63421" y="51044"/>
                    <a:pt x="57448" y="63066"/>
                    <a:pt x="41806" y="56771"/>
                  </a:cubicBezTo>
                  <a:close/>
                  <a:moveTo>
                    <a:pt x="28902" y="50439"/>
                  </a:moveTo>
                  <a:cubicBezTo>
                    <a:pt x="33694" y="43378"/>
                    <a:pt x="42827" y="40721"/>
                    <a:pt x="50658" y="44108"/>
                  </a:cubicBezTo>
                  <a:cubicBezTo>
                    <a:pt x="50658" y="44108"/>
                    <a:pt x="41629" y="54779"/>
                    <a:pt x="28831" y="50439"/>
                  </a:cubicBezTo>
                  <a:close/>
                  <a:moveTo>
                    <a:pt x="37114" y="37740"/>
                  </a:moveTo>
                  <a:cubicBezTo>
                    <a:pt x="32883" y="36851"/>
                    <a:pt x="23498" y="32013"/>
                    <a:pt x="15784" y="38985"/>
                  </a:cubicBezTo>
                  <a:cubicBezTo>
                    <a:pt x="15784" y="38985"/>
                    <a:pt x="28440" y="46704"/>
                    <a:pt x="37114" y="37740"/>
                  </a:cubicBezTo>
                  <a:close/>
                  <a:moveTo>
                    <a:pt x="3022" y="25077"/>
                  </a:moveTo>
                  <a:cubicBezTo>
                    <a:pt x="6826" y="25077"/>
                    <a:pt x="16708" y="21520"/>
                    <a:pt x="27906" y="30804"/>
                  </a:cubicBezTo>
                  <a:cubicBezTo>
                    <a:pt x="27906" y="30804"/>
                    <a:pt x="16140" y="39199"/>
                    <a:pt x="3022" y="25077"/>
                  </a:cubicBezTo>
                  <a:close/>
                  <a:moveTo>
                    <a:pt x="68078" y="27887"/>
                  </a:moveTo>
                  <a:cubicBezTo>
                    <a:pt x="68078" y="33614"/>
                    <a:pt x="67651" y="40159"/>
                    <a:pt x="78742" y="50688"/>
                  </a:cubicBezTo>
                  <a:cubicBezTo>
                    <a:pt x="78742" y="50688"/>
                    <a:pt x="80911" y="33863"/>
                    <a:pt x="68078" y="27887"/>
                  </a:cubicBezTo>
                  <a:close/>
                  <a:moveTo>
                    <a:pt x="56097" y="23548"/>
                  </a:moveTo>
                  <a:cubicBezTo>
                    <a:pt x="54604" y="31942"/>
                    <a:pt x="57857" y="40476"/>
                    <a:pt x="64558" y="45744"/>
                  </a:cubicBezTo>
                  <a:cubicBezTo>
                    <a:pt x="64558" y="45744"/>
                    <a:pt x="70033" y="35997"/>
                    <a:pt x="56097" y="23548"/>
                  </a:cubicBezTo>
                  <a:close/>
                  <a:moveTo>
                    <a:pt x="44686" y="17430"/>
                  </a:moveTo>
                  <a:cubicBezTo>
                    <a:pt x="44686" y="20097"/>
                    <a:pt x="41131" y="31302"/>
                    <a:pt x="51476" y="39697"/>
                  </a:cubicBezTo>
                  <a:cubicBezTo>
                    <a:pt x="51476" y="39697"/>
                    <a:pt x="57981" y="29986"/>
                    <a:pt x="44686" y="17430"/>
                  </a:cubicBezTo>
                  <a:close/>
                  <a:moveTo>
                    <a:pt x="33559" y="9746"/>
                  </a:moveTo>
                  <a:cubicBezTo>
                    <a:pt x="33061" y="11134"/>
                    <a:pt x="28511" y="19208"/>
                    <a:pt x="38465" y="31729"/>
                  </a:cubicBezTo>
                  <a:cubicBezTo>
                    <a:pt x="38465" y="31729"/>
                    <a:pt x="44615" y="22765"/>
                    <a:pt x="33559" y="9746"/>
                  </a:cubicBezTo>
                  <a:close/>
                  <a:moveTo>
                    <a:pt x="21365" y="0"/>
                  </a:moveTo>
                  <a:cubicBezTo>
                    <a:pt x="20370" y="2810"/>
                    <a:pt x="18983" y="18283"/>
                    <a:pt x="27906" y="23441"/>
                  </a:cubicBezTo>
                  <a:cubicBezTo>
                    <a:pt x="27906" y="23441"/>
                    <a:pt x="33417" y="11560"/>
                    <a:pt x="21365" y="0"/>
                  </a:cubicBezTo>
                  <a:close/>
                </a:path>
              </a:pathLst>
            </a:custGeom>
            <a:solidFill>
              <a:srgbClr val="46B61C"/>
            </a:solidFill>
            <a:ln w="0">
              <a:noFill/>
            </a:ln>
          </p:spPr>
          <p:style>
            <a:lnRef idx="0">
              <a:scrgbClr r="0" g="0" b="0"/>
            </a:lnRef>
            <a:fillRef idx="0">
              <a:scrgbClr r="0" g="0" b="0"/>
            </a:fillRef>
            <a:effectRef idx="0">
              <a:scrgbClr r="0" g="0" b="0"/>
            </a:effectRef>
            <a:fontRef idx="minor"/>
          </p:style>
          <p:txBody>
            <a:bodyPr/>
            <a:lstStyle/>
            <a:p>
              <a:endParaRPr lang="el-GR"/>
            </a:p>
          </p:txBody>
        </p:sp>
      </p:grpSp>
      <p:sp>
        <p:nvSpPr>
          <p:cNvPr id="469" name="CustomShape 94"/>
          <p:cNvSpPr/>
          <p:nvPr/>
        </p:nvSpPr>
        <p:spPr>
          <a:xfrm>
            <a:off x="1462320" y="3498120"/>
            <a:ext cx="642600" cy="351000"/>
          </a:xfrm>
          <a:custGeom>
            <a:avLst/>
            <a:gdLst/>
            <a:ahLst/>
            <a:cxnLst/>
            <a:rect l="l" t="t" r="r" b="b"/>
            <a:pathLst>
              <a:path w="21600" h="21600">
                <a:moveTo>
                  <a:pt x="0" y="0"/>
                </a:moveTo>
                <a:lnTo>
                  <a:pt x="21600" y="21600"/>
                </a:lnTo>
              </a:path>
            </a:pathLst>
          </a:custGeom>
          <a:noFill/>
          <a:ln w="9525">
            <a:solidFill>
              <a:srgbClr val="4561AA"/>
            </a:solidFill>
            <a:round/>
          </a:ln>
        </p:spPr>
        <p:style>
          <a:lnRef idx="0">
            <a:scrgbClr r="0" g="0" b="0"/>
          </a:lnRef>
          <a:fillRef idx="0">
            <a:scrgbClr r="0" g="0" b="0"/>
          </a:fillRef>
          <a:effectRef idx="0">
            <a:scrgbClr r="0" g="0" b="0"/>
          </a:effectRef>
          <a:fontRef idx="minor"/>
        </p:style>
        <p:txBody>
          <a:bodyPr/>
          <a:lstStyle/>
          <a:p>
            <a:endParaRPr lang="el-GR"/>
          </a:p>
        </p:txBody>
      </p:sp>
      <p:sp>
        <p:nvSpPr>
          <p:cNvPr id="470" name="CustomShape 95"/>
          <p:cNvSpPr/>
          <p:nvPr/>
        </p:nvSpPr>
        <p:spPr>
          <a:xfrm>
            <a:off x="631080" y="2358720"/>
            <a:ext cx="1595160" cy="1063440"/>
          </a:xfrm>
          <a:custGeom>
            <a:avLst/>
            <a:gdLst/>
            <a:ahLst/>
            <a:cxnLst/>
            <a:rect l="l" t="t" r="r" b="b"/>
            <a:pathLst>
              <a:path w="604734" h="403370">
                <a:moveTo>
                  <a:pt x="74832" y="0"/>
                </a:moveTo>
                <a:lnTo>
                  <a:pt x="252402" y="0"/>
                </a:lnTo>
                <a:lnTo>
                  <a:pt x="252402" y="118450"/>
                </a:lnTo>
                <a:lnTo>
                  <a:pt x="74832" y="0"/>
                </a:lnTo>
                <a:close/>
                <a:moveTo>
                  <a:pt x="352119" y="0"/>
                </a:moveTo>
                <a:lnTo>
                  <a:pt x="529867" y="0"/>
                </a:lnTo>
                <a:lnTo>
                  <a:pt x="352119" y="118450"/>
                </a:lnTo>
                <a:lnTo>
                  <a:pt x="352119" y="0"/>
                </a:lnTo>
                <a:close/>
                <a:moveTo>
                  <a:pt x="604522" y="49799"/>
                </a:moveTo>
                <a:lnTo>
                  <a:pt x="604522" y="134954"/>
                </a:lnTo>
                <a:lnTo>
                  <a:pt x="477076" y="134954"/>
                </a:lnTo>
                <a:lnTo>
                  <a:pt x="604735" y="49799"/>
                </a:lnTo>
                <a:close/>
                <a:moveTo>
                  <a:pt x="604522" y="268202"/>
                </a:moveTo>
                <a:lnTo>
                  <a:pt x="604522" y="353358"/>
                </a:lnTo>
                <a:lnTo>
                  <a:pt x="477076" y="268273"/>
                </a:lnTo>
                <a:close/>
                <a:moveTo>
                  <a:pt x="529867" y="403370"/>
                </a:moveTo>
                <a:lnTo>
                  <a:pt x="352119" y="403370"/>
                </a:lnTo>
                <a:lnTo>
                  <a:pt x="352119" y="284920"/>
                </a:lnTo>
                <a:lnTo>
                  <a:pt x="529867" y="403370"/>
                </a:lnTo>
                <a:close/>
                <a:moveTo>
                  <a:pt x="252402" y="403370"/>
                </a:moveTo>
                <a:lnTo>
                  <a:pt x="74832" y="403370"/>
                </a:lnTo>
                <a:lnTo>
                  <a:pt x="252402" y="284920"/>
                </a:lnTo>
                <a:lnTo>
                  <a:pt x="252402" y="403370"/>
                </a:lnTo>
                <a:close/>
                <a:moveTo>
                  <a:pt x="0" y="353571"/>
                </a:moveTo>
                <a:lnTo>
                  <a:pt x="0" y="268415"/>
                </a:lnTo>
                <a:lnTo>
                  <a:pt x="127623" y="268415"/>
                </a:lnTo>
                <a:lnTo>
                  <a:pt x="0" y="353571"/>
                </a:lnTo>
                <a:close/>
                <a:moveTo>
                  <a:pt x="0" y="135168"/>
                </a:moveTo>
                <a:lnTo>
                  <a:pt x="0" y="50012"/>
                </a:lnTo>
                <a:lnTo>
                  <a:pt x="127623" y="135168"/>
                </a:lnTo>
                <a:close/>
              </a:path>
            </a:pathLst>
          </a:custGeom>
          <a:solidFill>
            <a:srgbClr val="0540A8"/>
          </a:solidFill>
          <a:ln w="0">
            <a:noFill/>
          </a:ln>
        </p:spPr>
        <p:style>
          <a:lnRef idx="0">
            <a:scrgbClr r="0" g="0" b="0"/>
          </a:lnRef>
          <a:fillRef idx="0">
            <a:scrgbClr r="0" g="0" b="0"/>
          </a:fillRef>
          <a:effectRef idx="0">
            <a:scrgbClr r="0" g="0" b="0"/>
          </a:effectRef>
          <a:fontRef idx="minor"/>
        </p:style>
        <p:txBody>
          <a:bodyPr/>
          <a:lstStyle/>
          <a:p>
            <a:endParaRPr lang="el-GR"/>
          </a:p>
        </p:txBody>
      </p:sp>
      <p:sp>
        <p:nvSpPr>
          <p:cNvPr id="471" name="CustomShape 96"/>
          <p:cNvSpPr/>
          <p:nvPr/>
        </p:nvSpPr>
        <p:spPr>
          <a:xfrm>
            <a:off x="631080" y="2358360"/>
            <a:ext cx="1595160" cy="1063440"/>
          </a:xfrm>
          <a:custGeom>
            <a:avLst/>
            <a:gdLst/>
            <a:ahLst/>
            <a:cxnLst/>
            <a:rect l="l" t="t" r="r" b="b"/>
            <a:pathLst>
              <a:path w="604699" h="403441">
                <a:moveTo>
                  <a:pt x="252367" y="142"/>
                </a:moveTo>
                <a:lnTo>
                  <a:pt x="271137" y="142"/>
                </a:lnTo>
                <a:lnTo>
                  <a:pt x="271137" y="160210"/>
                </a:lnTo>
                <a:lnTo>
                  <a:pt x="0" y="160210"/>
                </a:lnTo>
                <a:lnTo>
                  <a:pt x="0" y="135310"/>
                </a:lnTo>
                <a:lnTo>
                  <a:pt x="127623" y="135310"/>
                </a:lnTo>
                <a:lnTo>
                  <a:pt x="0" y="50155"/>
                </a:lnTo>
                <a:lnTo>
                  <a:pt x="0" y="18959"/>
                </a:lnTo>
                <a:lnTo>
                  <a:pt x="174371" y="135310"/>
                </a:lnTo>
                <a:lnTo>
                  <a:pt x="230468" y="135310"/>
                </a:lnTo>
                <a:lnTo>
                  <a:pt x="28049" y="142"/>
                </a:lnTo>
                <a:lnTo>
                  <a:pt x="74796" y="142"/>
                </a:lnTo>
                <a:lnTo>
                  <a:pt x="252367" y="118592"/>
                </a:lnTo>
                <a:lnTo>
                  <a:pt x="252367" y="142"/>
                </a:lnTo>
                <a:close/>
                <a:moveTo>
                  <a:pt x="333491" y="142"/>
                </a:moveTo>
                <a:lnTo>
                  <a:pt x="352261" y="142"/>
                </a:lnTo>
                <a:lnTo>
                  <a:pt x="352261" y="118592"/>
                </a:lnTo>
                <a:lnTo>
                  <a:pt x="530009" y="142"/>
                </a:lnTo>
                <a:lnTo>
                  <a:pt x="576579" y="142"/>
                </a:lnTo>
                <a:lnTo>
                  <a:pt x="374124" y="135310"/>
                </a:lnTo>
                <a:lnTo>
                  <a:pt x="430222" y="135310"/>
                </a:lnTo>
                <a:lnTo>
                  <a:pt x="604628" y="18959"/>
                </a:lnTo>
                <a:lnTo>
                  <a:pt x="604628" y="50155"/>
                </a:lnTo>
                <a:lnTo>
                  <a:pt x="477041" y="135168"/>
                </a:lnTo>
                <a:lnTo>
                  <a:pt x="604699" y="135168"/>
                </a:lnTo>
                <a:lnTo>
                  <a:pt x="604699" y="160067"/>
                </a:lnTo>
                <a:lnTo>
                  <a:pt x="333491" y="160067"/>
                </a:lnTo>
                <a:lnTo>
                  <a:pt x="333491" y="0"/>
                </a:lnTo>
                <a:close/>
                <a:moveTo>
                  <a:pt x="604628" y="243374"/>
                </a:moveTo>
                <a:lnTo>
                  <a:pt x="604628" y="268273"/>
                </a:lnTo>
                <a:lnTo>
                  <a:pt x="477041" y="268273"/>
                </a:lnTo>
                <a:lnTo>
                  <a:pt x="604699" y="353429"/>
                </a:lnTo>
                <a:lnTo>
                  <a:pt x="604699" y="384589"/>
                </a:lnTo>
                <a:lnTo>
                  <a:pt x="430293" y="268273"/>
                </a:lnTo>
                <a:lnTo>
                  <a:pt x="374124" y="268273"/>
                </a:lnTo>
                <a:lnTo>
                  <a:pt x="576579" y="403441"/>
                </a:lnTo>
                <a:lnTo>
                  <a:pt x="529832" y="403441"/>
                </a:lnTo>
                <a:lnTo>
                  <a:pt x="352084" y="284991"/>
                </a:lnTo>
                <a:lnTo>
                  <a:pt x="352084" y="403441"/>
                </a:lnTo>
                <a:lnTo>
                  <a:pt x="333313" y="403441"/>
                </a:lnTo>
                <a:lnTo>
                  <a:pt x="333313" y="243374"/>
                </a:lnTo>
                <a:close/>
                <a:moveTo>
                  <a:pt x="271137" y="403441"/>
                </a:moveTo>
                <a:lnTo>
                  <a:pt x="252367" y="403441"/>
                </a:lnTo>
                <a:lnTo>
                  <a:pt x="252367" y="284991"/>
                </a:lnTo>
                <a:lnTo>
                  <a:pt x="74796" y="403441"/>
                </a:lnTo>
                <a:lnTo>
                  <a:pt x="28049" y="403441"/>
                </a:lnTo>
                <a:lnTo>
                  <a:pt x="230468" y="268273"/>
                </a:lnTo>
                <a:lnTo>
                  <a:pt x="174371" y="268273"/>
                </a:lnTo>
                <a:lnTo>
                  <a:pt x="0" y="384589"/>
                </a:lnTo>
                <a:lnTo>
                  <a:pt x="0" y="353429"/>
                </a:lnTo>
                <a:lnTo>
                  <a:pt x="127623" y="268273"/>
                </a:lnTo>
                <a:lnTo>
                  <a:pt x="0" y="268273"/>
                </a:lnTo>
                <a:lnTo>
                  <a:pt x="0" y="243374"/>
                </a:lnTo>
                <a:lnTo>
                  <a:pt x="271137" y="243374"/>
                </a:lnTo>
                <a:lnTo>
                  <a:pt x="271137" y="403441"/>
                </a:lnTo>
                <a:close/>
              </a:path>
            </a:pathLst>
          </a:custGeom>
          <a:solidFill>
            <a:srgbClr val="F0F0F0"/>
          </a:solidFill>
          <a:ln w="0">
            <a:noFill/>
          </a:ln>
        </p:spPr>
        <p:style>
          <a:lnRef idx="0">
            <a:scrgbClr r="0" g="0" b="0"/>
          </a:lnRef>
          <a:fillRef idx="0">
            <a:scrgbClr r="0" g="0" b="0"/>
          </a:fillRef>
          <a:effectRef idx="0">
            <a:scrgbClr r="0" g="0" b="0"/>
          </a:effectRef>
          <a:fontRef idx="minor"/>
        </p:style>
        <p:txBody>
          <a:bodyPr/>
          <a:lstStyle/>
          <a:p>
            <a:endParaRPr lang="el-GR"/>
          </a:p>
        </p:txBody>
      </p:sp>
      <p:sp>
        <p:nvSpPr>
          <p:cNvPr id="472" name="CustomShape 97"/>
          <p:cNvSpPr/>
          <p:nvPr/>
        </p:nvSpPr>
        <p:spPr>
          <a:xfrm>
            <a:off x="631080" y="2358360"/>
            <a:ext cx="1595160" cy="1063800"/>
          </a:xfrm>
          <a:custGeom>
            <a:avLst/>
            <a:gdLst/>
            <a:ahLst/>
            <a:cxnLst/>
            <a:rect l="l" t="t" r="r" b="b"/>
            <a:pathLst>
              <a:path w="604628" h="403583">
                <a:moveTo>
                  <a:pt x="333491" y="142"/>
                </a:moveTo>
                <a:lnTo>
                  <a:pt x="333491" y="160210"/>
                </a:lnTo>
                <a:lnTo>
                  <a:pt x="604628" y="160210"/>
                </a:lnTo>
                <a:lnTo>
                  <a:pt x="604628" y="243374"/>
                </a:lnTo>
                <a:lnTo>
                  <a:pt x="333491" y="243374"/>
                </a:lnTo>
                <a:lnTo>
                  <a:pt x="333491" y="403441"/>
                </a:lnTo>
                <a:lnTo>
                  <a:pt x="271137" y="403441"/>
                </a:lnTo>
                <a:lnTo>
                  <a:pt x="271137" y="243374"/>
                </a:lnTo>
                <a:lnTo>
                  <a:pt x="0" y="243374"/>
                </a:lnTo>
                <a:lnTo>
                  <a:pt x="0" y="160210"/>
                </a:lnTo>
                <a:lnTo>
                  <a:pt x="271137" y="160210"/>
                </a:lnTo>
                <a:lnTo>
                  <a:pt x="271137" y="142"/>
                </a:lnTo>
                <a:lnTo>
                  <a:pt x="333491" y="142"/>
                </a:lnTo>
                <a:close/>
                <a:moveTo>
                  <a:pt x="604628" y="384731"/>
                </a:moveTo>
                <a:lnTo>
                  <a:pt x="430222" y="268416"/>
                </a:lnTo>
                <a:lnTo>
                  <a:pt x="374124" y="268416"/>
                </a:lnTo>
                <a:lnTo>
                  <a:pt x="576579" y="403584"/>
                </a:lnTo>
                <a:lnTo>
                  <a:pt x="604628" y="403584"/>
                </a:lnTo>
                <a:lnTo>
                  <a:pt x="604628" y="384874"/>
                </a:lnTo>
                <a:close/>
                <a:moveTo>
                  <a:pt x="430222" y="135168"/>
                </a:moveTo>
                <a:lnTo>
                  <a:pt x="604628" y="18817"/>
                </a:lnTo>
                <a:lnTo>
                  <a:pt x="604628" y="142"/>
                </a:lnTo>
                <a:lnTo>
                  <a:pt x="576579" y="142"/>
                </a:lnTo>
                <a:lnTo>
                  <a:pt x="374124" y="135310"/>
                </a:lnTo>
                <a:close/>
                <a:moveTo>
                  <a:pt x="230468" y="135168"/>
                </a:moveTo>
                <a:lnTo>
                  <a:pt x="28049" y="0"/>
                </a:lnTo>
                <a:lnTo>
                  <a:pt x="0" y="0"/>
                </a:lnTo>
                <a:lnTo>
                  <a:pt x="0" y="18675"/>
                </a:lnTo>
                <a:lnTo>
                  <a:pt x="174371" y="135026"/>
                </a:lnTo>
                <a:close/>
                <a:moveTo>
                  <a:pt x="174371" y="268416"/>
                </a:moveTo>
                <a:lnTo>
                  <a:pt x="0" y="384731"/>
                </a:lnTo>
                <a:lnTo>
                  <a:pt x="0" y="403441"/>
                </a:lnTo>
                <a:lnTo>
                  <a:pt x="28049" y="403441"/>
                </a:lnTo>
                <a:lnTo>
                  <a:pt x="230468" y="268273"/>
                </a:lnTo>
                <a:close/>
              </a:path>
            </a:pathLst>
          </a:custGeom>
          <a:solidFill>
            <a:srgbClr val="FF1612"/>
          </a:solidFill>
          <a:ln w="0">
            <a:noFill/>
          </a:ln>
        </p:spPr>
        <p:style>
          <a:lnRef idx="0">
            <a:scrgbClr r="0" g="0" b="0"/>
          </a:lnRef>
          <a:fillRef idx="0">
            <a:scrgbClr r="0" g="0" b="0"/>
          </a:fillRef>
          <a:effectRef idx="0">
            <a:scrgbClr r="0" g="0" b="0"/>
          </a:effectRef>
          <a:fontRef idx="minor"/>
        </p:style>
        <p:txBody>
          <a:bodyPr/>
          <a:lstStyle/>
          <a:p>
            <a:endParaRPr lang="el-GR"/>
          </a:p>
        </p:txBody>
      </p:sp>
      <p:sp>
        <p:nvSpPr>
          <p:cNvPr id="473" name="CustomShape 98"/>
          <p:cNvSpPr/>
          <p:nvPr/>
        </p:nvSpPr>
        <p:spPr>
          <a:xfrm flipH="1">
            <a:off x="4984200" y="5649840"/>
            <a:ext cx="457560" cy="451080"/>
          </a:xfrm>
          <a:custGeom>
            <a:avLst/>
            <a:gdLst/>
            <a:ahLst/>
            <a:cxnLst/>
            <a:rect l="l" t="t" r="r" b="b"/>
            <a:pathLst>
              <a:path w="21600" h="21600">
                <a:moveTo>
                  <a:pt x="0" y="0"/>
                </a:moveTo>
                <a:lnTo>
                  <a:pt x="21600" y="21600"/>
                </a:lnTo>
              </a:path>
            </a:pathLst>
          </a:custGeom>
          <a:noFill/>
          <a:ln w="9525">
            <a:solidFill>
              <a:srgbClr val="4561AA"/>
            </a:solidFill>
            <a:round/>
          </a:ln>
        </p:spPr>
        <p:style>
          <a:lnRef idx="0">
            <a:scrgbClr r="0" g="0" b="0"/>
          </a:lnRef>
          <a:fillRef idx="0">
            <a:scrgbClr r="0" g="0" b="0"/>
          </a:fillRef>
          <a:effectRef idx="0">
            <a:scrgbClr r="0" g="0" b="0"/>
          </a:effectRef>
          <a:fontRef idx="minor"/>
        </p:style>
        <p:txBody>
          <a:bodyPr/>
          <a:lstStyle/>
          <a:p>
            <a:endParaRPr lang="el-GR"/>
          </a:p>
        </p:txBody>
      </p:sp>
      <p:sp>
        <p:nvSpPr>
          <p:cNvPr id="474" name="CustomShape 99"/>
          <p:cNvSpPr/>
          <p:nvPr/>
        </p:nvSpPr>
        <p:spPr>
          <a:xfrm>
            <a:off x="7651080" y="2251080"/>
            <a:ext cx="4186440" cy="22842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marL="285840" indent="-283680">
              <a:lnSpc>
                <a:spcPct val="100000"/>
              </a:lnSpc>
              <a:buClr>
                <a:srgbClr val="000000"/>
              </a:buClr>
              <a:buFont typeface="Arial"/>
              <a:buChar char="•"/>
            </a:pPr>
            <a:r>
              <a:rPr lang="el-GR" sz="1800" b="0" strike="noStrike" spc="-1">
                <a:solidFill>
                  <a:srgbClr val="000000"/>
                </a:solidFill>
                <a:latin typeface="Calibri"/>
                <a:ea typeface="Calibri"/>
              </a:rPr>
              <a:t>Για την στελέχωση κάποιων από τις προαναφερθέντες θέσεις ΔΕΠ θα γίνει προσπάθεια προσέλκυσης ειδικοτήτων από το εξωτερικό (πχ Κύπρο και Μ. Βρετανία), παρέχοντας ένα ενδεικτικό ποσό 100.000 € εφάπαξ (golden hello) για ένα ή δύο χρόνια ως κίνητρο επαναπατρισμού</a:t>
            </a:r>
            <a:endParaRPr lang="en-US" sz="1800" b="0" strike="noStrike" spc="-1">
              <a:latin typeface="Arial"/>
            </a:endParaRPr>
          </a:p>
        </p:txBody>
      </p:sp>
      <p:sp>
        <p:nvSpPr>
          <p:cNvPr id="475" name="CustomShape 100"/>
          <p:cNvSpPr/>
          <p:nvPr/>
        </p:nvSpPr>
        <p:spPr>
          <a:xfrm rot="5400000">
            <a:off x="5796000" y="3304800"/>
            <a:ext cx="2403720" cy="368280"/>
          </a:xfrm>
          <a:prstGeom prst="triangle">
            <a:avLst>
              <a:gd name="adj" fmla="val 50000"/>
            </a:avLst>
          </a:prstGeom>
          <a:solidFill>
            <a:srgbClr val="BFBFBF"/>
          </a:solidFill>
          <a:ln w="0">
            <a:noFill/>
          </a:ln>
        </p:spPr>
        <p:style>
          <a:lnRef idx="0">
            <a:scrgbClr r="0" g="0" b="0"/>
          </a:lnRef>
          <a:fillRef idx="0">
            <a:scrgbClr r="0" g="0" b="0"/>
          </a:fillRef>
          <a:effectRef idx="0">
            <a:scrgbClr r="0" g="0" b="0"/>
          </a:effectRef>
          <a:fontRef idx="minor"/>
        </p:style>
        <p:txBody>
          <a:bodyPr/>
          <a:lstStyle/>
          <a:p>
            <a:endParaRPr lang="el-G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6" name="CustomShape 1"/>
          <p:cNvSpPr/>
          <p:nvPr/>
        </p:nvSpPr>
        <p:spPr>
          <a:xfrm>
            <a:off x="327600" y="399600"/>
            <a:ext cx="11341440" cy="833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oAutofit/>
          </a:bodyPr>
          <a:lstStyle/>
          <a:p>
            <a:pPr>
              <a:lnSpc>
                <a:spcPct val="90000"/>
              </a:lnSpc>
              <a:tabLst>
                <a:tab pos="0" algn="l"/>
              </a:tabLst>
            </a:pPr>
            <a:r>
              <a:rPr lang="el-GR" sz="2600" b="1" strike="noStrike" spc="-1">
                <a:solidFill>
                  <a:srgbClr val="31506D"/>
                </a:solidFill>
                <a:latin typeface="Calibri"/>
                <a:ea typeface="Calibri"/>
              </a:rPr>
              <a:t>Στο πλαίσιο αναμόρφωσης της ΠΦΥ, αναμένονται το επόμενο διάστημα προσλήψεις προσωπικού για την κάλυψη 1.375 θέσεων</a:t>
            </a:r>
            <a:endParaRPr lang="en-US" sz="2600" b="0" strike="noStrike" spc="-1">
              <a:latin typeface="Arial"/>
            </a:endParaRPr>
          </a:p>
        </p:txBody>
      </p:sp>
      <p:sp>
        <p:nvSpPr>
          <p:cNvPr id="477" name="CustomShape 2"/>
          <p:cNvSpPr/>
          <p:nvPr/>
        </p:nvSpPr>
        <p:spPr>
          <a:xfrm>
            <a:off x="11296440" y="6377040"/>
            <a:ext cx="519840" cy="25344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chor="ctr">
            <a:noAutofit/>
          </a:bodyPr>
          <a:lstStyle/>
          <a:p>
            <a:pPr>
              <a:lnSpc>
                <a:spcPct val="100000"/>
              </a:lnSpc>
              <a:tabLst>
                <a:tab pos="0" algn="l"/>
              </a:tabLst>
            </a:pPr>
            <a:fld id="{37ABE3D3-4706-441F-8556-250042F41359}" type="slidenum">
              <a:rPr lang="el-GR" sz="1000" b="0" strike="noStrike" spc="-1">
                <a:solidFill>
                  <a:srgbClr val="000000"/>
                </a:solidFill>
                <a:latin typeface="Calibri"/>
                <a:ea typeface="Calibri"/>
              </a:rPr>
              <a:t>17</a:t>
            </a:fld>
            <a:endParaRPr lang="en-US" sz="1000" b="0" strike="noStrike" spc="-1">
              <a:latin typeface="Arial"/>
            </a:endParaRPr>
          </a:p>
        </p:txBody>
      </p:sp>
      <p:sp>
        <p:nvSpPr>
          <p:cNvPr id="478" name="CustomShape 3"/>
          <p:cNvSpPr/>
          <p:nvPr/>
        </p:nvSpPr>
        <p:spPr>
          <a:xfrm>
            <a:off x="326160" y="1251720"/>
            <a:ext cx="11341440" cy="365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chor="ctr">
            <a:noAutofit/>
          </a:bodyPr>
          <a:lstStyle/>
          <a:p>
            <a:pPr>
              <a:lnSpc>
                <a:spcPct val="100000"/>
              </a:lnSpc>
              <a:tabLst>
                <a:tab pos="0" algn="l"/>
              </a:tabLst>
            </a:pPr>
            <a:r>
              <a:rPr lang="el-GR" sz="1800" b="1" strike="noStrike" spc="-1">
                <a:solidFill>
                  <a:srgbClr val="363636"/>
                </a:solidFill>
                <a:latin typeface="Calibri"/>
                <a:ea typeface="Calibri"/>
              </a:rPr>
              <a:t>Προσλήψεις στις δομές Πρωτοβάθμιας Φροντίδας Υγείας</a:t>
            </a:r>
            <a:endParaRPr lang="en-US" sz="1800" b="0" strike="noStrike" spc="-1">
              <a:latin typeface="Arial"/>
            </a:endParaRPr>
          </a:p>
        </p:txBody>
      </p:sp>
      <p:sp>
        <p:nvSpPr>
          <p:cNvPr id="479" name="CustomShape 4"/>
          <p:cNvSpPr/>
          <p:nvPr/>
        </p:nvSpPr>
        <p:spPr>
          <a:xfrm>
            <a:off x="6858000" y="2026440"/>
            <a:ext cx="4747680" cy="37465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7000"/>
              </a:lnSpc>
              <a:tabLst>
                <a:tab pos="0" algn="l"/>
              </a:tabLst>
            </a:pPr>
            <a:r>
              <a:rPr lang="el-GR" sz="1400" b="0" strike="noStrike" spc="-1">
                <a:solidFill>
                  <a:srgbClr val="000000"/>
                </a:solidFill>
                <a:latin typeface="Calibri"/>
                <a:ea typeface="Calibri"/>
              </a:rPr>
              <a:t>Στο πλαίσιο αναμόρφωσης της Πρωτοβάθμιας Φροντίδας Υγείας στη χώρα μας και της ενίσχυσης των δομών που παρέχουν πρωτοβάθμια φροντίδα στους πολίτες, αναμένονται το επόμενο διάστημα προσλήψεις προσωπικού.</a:t>
            </a:r>
            <a:endParaRPr lang="en-US" sz="1400" b="0" strike="noStrike" spc="-1">
              <a:latin typeface="Arial"/>
            </a:endParaRPr>
          </a:p>
          <a:p>
            <a:pPr algn="just">
              <a:lnSpc>
                <a:spcPct val="107000"/>
              </a:lnSpc>
              <a:spcBef>
                <a:spcPts val="799"/>
              </a:spcBef>
              <a:tabLst>
                <a:tab pos="0" algn="l"/>
              </a:tabLst>
            </a:pPr>
            <a:r>
              <a:rPr lang="el-GR" sz="1400" b="0" strike="noStrike" spc="-1">
                <a:solidFill>
                  <a:srgbClr val="000000"/>
                </a:solidFill>
                <a:latin typeface="Calibri"/>
                <a:ea typeface="Calibri"/>
              </a:rPr>
              <a:t>Πιο συγκεκριμένα, το επόμενο διάστημα θα προκηρυχθούν:</a:t>
            </a:r>
            <a:endParaRPr lang="en-US" sz="1400" b="0" strike="noStrike" spc="-1">
              <a:latin typeface="Arial"/>
            </a:endParaRPr>
          </a:p>
          <a:p>
            <a:pPr marL="343080" indent="-340920">
              <a:lnSpc>
                <a:spcPct val="107000"/>
              </a:lnSpc>
              <a:spcBef>
                <a:spcPts val="799"/>
              </a:spcBef>
              <a:buClr>
                <a:srgbClr val="000000"/>
              </a:buClr>
              <a:buFont typeface="Noto Sans Symbols"/>
              <a:buChar char="∙"/>
              <a:tabLst>
                <a:tab pos="0" algn="l"/>
              </a:tabLst>
            </a:pPr>
            <a:r>
              <a:rPr lang="el-GR" sz="1600" b="1" strike="noStrike" spc="-1">
                <a:solidFill>
                  <a:srgbClr val="000000"/>
                </a:solidFill>
                <a:latin typeface="Calibri"/>
                <a:ea typeface="Calibri"/>
              </a:rPr>
              <a:t>360 θέσεις ιατρικού προσωπικού</a:t>
            </a:r>
            <a:endParaRPr lang="en-US" sz="1600" b="0" strike="noStrike" spc="-1">
              <a:latin typeface="Arial"/>
            </a:endParaRPr>
          </a:p>
          <a:p>
            <a:pPr marL="343080" indent="-340920">
              <a:lnSpc>
                <a:spcPct val="107000"/>
              </a:lnSpc>
              <a:buClr>
                <a:srgbClr val="000000"/>
              </a:buClr>
              <a:buFont typeface="Noto Sans Symbols"/>
              <a:buChar char="∙"/>
              <a:tabLst>
                <a:tab pos="0" algn="l"/>
              </a:tabLst>
            </a:pPr>
            <a:r>
              <a:rPr lang="el-GR" sz="1600" b="1" strike="noStrike" spc="-1">
                <a:solidFill>
                  <a:srgbClr val="000000"/>
                </a:solidFill>
                <a:latin typeface="Calibri"/>
                <a:ea typeface="Calibri"/>
              </a:rPr>
              <a:t>600 θέσεις νοσηλευτών</a:t>
            </a:r>
            <a:endParaRPr lang="en-US" sz="1600" b="0" strike="noStrike" spc="-1">
              <a:latin typeface="Arial"/>
            </a:endParaRPr>
          </a:p>
          <a:p>
            <a:pPr marL="343080" indent="-340920">
              <a:lnSpc>
                <a:spcPct val="107000"/>
              </a:lnSpc>
              <a:buClr>
                <a:srgbClr val="000000"/>
              </a:buClr>
              <a:buFont typeface="Noto Sans Symbols"/>
              <a:buChar char="∙"/>
              <a:tabLst>
                <a:tab pos="0" algn="l"/>
              </a:tabLst>
            </a:pPr>
            <a:r>
              <a:rPr lang="el-GR" sz="1600" b="1" strike="noStrike" spc="-1">
                <a:solidFill>
                  <a:srgbClr val="000000"/>
                </a:solidFill>
                <a:latin typeface="Calibri"/>
                <a:ea typeface="Calibri"/>
              </a:rPr>
              <a:t>385 θέσεις λοιπού προσωπικού</a:t>
            </a:r>
            <a:endParaRPr lang="en-US" sz="1600" b="0" strike="noStrike" spc="-1">
              <a:latin typeface="Arial"/>
            </a:endParaRPr>
          </a:p>
          <a:p>
            <a:pPr marL="343080" indent="-340920">
              <a:lnSpc>
                <a:spcPct val="107000"/>
              </a:lnSpc>
              <a:buClr>
                <a:srgbClr val="000000"/>
              </a:buClr>
              <a:buFont typeface="Noto Sans Symbols"/>
              <a:buChar char="∙"/>
              <a:tabLst>
                <a:tab pos="0" algn="l"/>
              </a:tabLst>
            </a:pPr>
            <a:r>
              <a:rPr lang="el-GR" sz="1600" b="1" strike="noStrike" spc="-1">
                <a:solidFill>
                  <a:srgbClr val="000000"/>
                </a:solidFill>
                <a:latin typeface="Calibri"/>
                <a:ea typeface="Calibri"/>
              </a:rPr>
              <a:t>30 θέσεις ΔΕΠ για τη στελέχωση των 7 Πανεπιστημιακών Κέντρων Υγείας</a:t>
            </a:r>
            <a:endParaRPr lang="en-US" sz="1600" b="0" strike="noStrike" spc="-1">
              <a:latin typeface="Arial"/>
            </a:endParaRPr>
          </a:p>
          <a:p>
            <a:pPr algn="just">
              <a:lnSpc>
                <a:spcPct val="107000"/>
              </a:lnSpc>
              <a:spcBef>
                <a:spcPts val="799"/>
              </a:spcBef>
              <a:tabLst>
                <a:tab pos="0" algn="l"/>
              </a:tabLst>
            </a:pPr>
            <a:r>
              <a:rPr lang="el-GR" sz="1400" b="0" strike="noStrike" spc="-1">
                <a:solidFill>
                  <a:srgbClr val="000000"/>
                </a:solidFill>
                <a:latin typeface="Calibri"/>
                <a:ea typeface="Calibri"/>
              </a:rPr>
              <a:t>Συνεπώς,  το σύνολο των νέων θέσεων που αναμένεται να προκηρυχθούν για τις δομές Πρωτοβάθμιας Φροντίδας Υγείας και τα Πανεπιστημιακά Κέντρα Υγείας ανέρχεται στις </a:t>
            </a:r>
            <a:r>
              <a:rPr lang="el-GR" sz="1400" b="1" strike="noStrike" spc="-1">
                <a:solidFill>
                  <a:srgbClr val="000000"/>
                </a:solidFill>
                <a:latin typeface="Calibri"/>
                <a:ea typeface="Calibri"/>
              </a:rPr>
              <a:t>1.375 θέσεις.</a:t>
            </a:r>
            <a:endParaRPr lang="en-US" sz="1400" b="0" strike="noStrike" spc="-1">
              <a:latin typeface="Arial"/>
            </a:endParaRPr>
          </a:p>
        </p:txBody>
      </p:sp>
      <p:sp>
        <p:nvSpPr>
          <p:cNvPr id="480" name="CustomShape 5"/>
          <p:cNvSpPr/>
          <p:nvPr/>
        </p:nvSpPr>
        <p:spPr>
          <a:xfrm>
            <a:off x="3798720" y="2394000"/>
            <a:ext cx="466200" cy="360"/>
          </a:xfrm>
          <a:custGeom>
            <a:avLst/>
            <a:gdLst/>
            <a:ahLst/>
            <a:cxnLst/>
            <a:rect l="l" t="t" r="r" b="b"/>
            <a:pathLst>
              <a:path w="21600" h="21600">
                <a:moveTo>
                  <a:pt x="0" y="0"/>
                </a:moveTo>
                <a:lnTo>
                  <a:pt x="21600" y="21600"/>
                </a:lnTo>
              </a:path>
            </a:pathLst>
          </a:custGeom>
          <a:noFill/>
          <a:ln w="9525">
            <a:solidFill>
              <a:schemeClr val="dk1"/>
            </a:solidFill>
            <a:prstDash val="lgDash"/>
            <a:round/>
          </a:ln>
        </p:spPr>
        <p:style>
          <a:lnRef idx="0">
            <a:scrgbClr r="0" g="0" b="0"/>
          </a:lnRef>
          <a:fillRef idx="0">
            <a:scrgbClr r="0" g="0" b="0"/>
          </a:fillRef>
          <a:effectRef idx="0">
            <a:scrgbClr r="0" g="0" b="0"/>
          </a:effectRef>
          <a:fontRef idx="minor"/>
        </p:style>
        <p:txBody>
          <a:bodyPr/>
          <a:lstStyle/>
          <a:p>
            <a:endParaRPr lang="el-GR"/>
          </a:p>
        </p:txBody>
      </p:sp>
      <p:sp>
        <p:nvSpPr>
          <p:cNvPr id="481" name="CustomShape 6"/>
          <p:cNvSpPr/>
          <p:nvPr/>
        </p:nvSpPr>
        <p:spPr>
          <a:xfrm>
            <a:off x="4854600" y="2325600"/>
            <a:ext cx="467640" cy="360"/>
          </a:xfrm>
          <a:custGeom>
            <a:avLst/>
            <a:gdLst/>
            <a:ahLst/>
            <a:cxnLst/>
            <a:rect l="l" t="t" r="r" b="b"/>
            <a:pathLst>
              <a:path w="21600" h="21600">
                <a:moveTo>
                  <a:pt x="0" y="0"/>
                </a:moveTo>
                <a:lnTo>
                  <a:pt x="21600" y="21600"/>
                </a:lnTo>
              </a:path>
            </a:pathLst>
          </a:custGeom>
          <a:noFill/>
          <a:ln w="9525">
            <a:solidFill>
              <a:schemeClr val="dk1"/>
            </a:solidFill>
            <a:prstDash val="lgDash"/>
            <a:round/>
          </a:ln>
        </p:spPr>
        <p:style>
          <a:lnRef idx="0">
            <a:scrgbClr r="0" g="0" b="0"/>
          </a:lnRef>
          <a:fillRef idx="0">
            <a:scrgbClr r="0" g="0" b="0"/>
          </a:fillRef>
          <a:effectRef idx="0">
            <a:scrgbClr r="0" g="0" b="0"/>
          </a:effectRef>
          <a:fontRef idx="minor"/>
        </p:style>
        <p:txBody>
          <a:bodyPr/>
          <a:lstStyle/>
          <a:p>
            <a:endParaRPr lang="el-GR"/>
          </a:p>
        </p:txBody>
      </p:sp>
      <p:sp>
        <p:nvSpPr>
          <p:cNvPr id="482" name="CustomShape 7"/>
          <p:cNvSpPr/>
          <p:nvPr/>
        </p:nvSpPr>
        <p:spPr>
          <a:xfrm>
            <a:off x="1685880" y="4584600"/>
            <a:ext cx="466200" cy="360"/>
          </a:xfrm>
          <a:custGeom>
            <a:avLst/>
            <a:gdLst/>
            <a:ahLst/>
            <a:cxnLst/>
            <a:rect l="l" t="t" r="r" b="b"/>
            <a:pathLst>
              <a:path w="21600" h="21600">
                <a:moveTo>
                  <a:pt x="0" y="0"/>
                </a:moveTo>
                <a:lnTo>
                  <a:pt x="21600" y="21600"/>
                </a:lnTo>
              </a:path>
            </a:pathLst>
          </a:custGeom>
          <a:noFill/>
          <a:ln w="9525">
            <a:solidFill>
              <a:schemeClr val="dk1"/>
            </a:solidFill>
            <a:prstDash val="lgDash"/>
            <a:round/>
          </a:ln>
        </p:spPr>
        <p:style>
          <a:lnRef idx="0">
            <a:scrgbClr r="0" g="0" b="0"/>
          </a:lnRef>
          <a:fillRef idx="0">
            <a:scrgbClr r="0" g="0" b="0"/>
          </a:fillRef>
          <a:effectRef idx="0">
            <a:scrgbClr r="0" g="0" b="0"/>
          </a:effectRef>
          <a:fontRef idx="minor"/>
        </p:style>
        <p:txBody>
          <a:bodyPr/>
          <a:lstStyle/>
          <a:p>
            <a:endParaRPr lang="el-GR"/>
          </a:p>
        </p:txBody>
      </p:sp>
      <p:sp>
        <p:nvSpPr>
          <p:cNvPr id="483" name="CustomShape 8"/>
          <p:cNvSpPr/>
          <p:nvPr/>
        </p:nvSpPr>
        <p:spPr>
          <a:xfrm>
            <a:off x="2741760" y="3251160"/>
            <a:ext cx="467640" cy="360"/>
          </a:xfrm>
          <a:custGeom>
            <a:avLst/>
            <a:gdLst/>
            <a:ahLst/>
            <a:cxnLst/>
            <a:rect l="l" t="t" r="r" b="b"/>
            <a:pathLst>
              <a:path w="21600" h="21600">
                <a:moveTo>
                  <a:pt x="0" y="0"/>
                </a:moveTo>
                <a:lnTo>
                  <a:pt x="21600" y="21600"/>
                </a:lnTo>
              </a:path>
            </a:pathLst>
          </a:custGeom>
          <a:noFill/>
          <a:ln w="9525">
            <a:solidFill>
              <a:schemeClr val="dk1"/>
            </a:solidFill>
            <a:prstDash val="lgDash"/>
            <a:round/>
          </a:ln>
        </p:spPr>
        <p:style>
          <a:lnRef idx="0">
            <a:scrgbClr r="0" g="0" b="0"/>
          </a:lnRef>
          <a:fillRef idx="0">
            <a:scrgbClr r="0" g="0" b="0"/>
          </a:fillRef>
          <a:effectRef idx="0">
            <a:scrgbClr r="0" g="0" b="0"/>
          </a:effectRef>
          <a:fontRef idx="minor"/>
        </p:style>
        <p:txBody>
          <a:bodyPr/>
          <a:lstStyle/>
          <a:p>
            <a:endParaRPr lang="el-GR"/>
          </a:p>
        </p:txBody>
      </p:sp>
      <p:graphicFrame>
        <p:nvGraphicFramePr>
          <p:cNvPr id="484" name="Google Shape;483;p35"/>
          <p:cNvGraphicFramePr/>
          <p:nvPr/>
        </p:nvGraphicFramePr>
        <p:xfrm>
          <a:off x="781200" y="2058840"/>
          <a:ext cx="5446080" cy="3590280"/>
        </p:xfrm>
        <a:graphic>
          <a:graphicData uri="http://schemas.openxmlformats.org/drawingml/2006/chart">
            <c:chart xmlns:c="http://schemas.openxmlformats.org/drawingml/2006/chart" xmlns:r="http://schemas.openxmlformats.org/officeDocument/2006/relationships" r:id="rId2"/>
          </a:graphicData>
        </a:graphic>
      </p:graphicFrame>
      <p:sp>
        <p:nvSpPr>
          <p:cNvPr id="485" name="CustomShape 9"/>
          <p:cNvSpPr/>
          <p:nvPr/>
        </p:nvSpPr>
        <p:spPr>
          <a:xfrm>
            <a:off x="990720" y="5486400"/>
            <a:ext cx="802800" cy="362880"/>
          </a:xfrm>
          <a:prstGeom prst="rect">
            <a:avLst/>
          </a:prstGeom>
          <a:noFill/>
          <a:ln w="0">
            <a:noFill/>
          </a:ln>
        </p:spPr>
        <p:style>
          <a:lnRef idx="0">
            <a:scrgbClr r="0" g="0" b="0"/>
          </a:lnRef>
          <a:fillRef idx="0">
            <a:scrgbClr r="0" g="0" b="0"/>
          </a:fillRef>
          <a:effectRef idx="0">
            <a:scrgbClr r="0" g="0" b="0"/>
          </a:effectRef>
          <a:fontRef idx="minor"/>
        </p:style>
        <p:txBody>
          <a:bodyPr lIns="0" tIns="0" rIns="0" bIns="0">
            <a:noAutofit/>
          </a:bodyPr>
          <a:lstStyle/>
          <a:p>
            <a:pPr algn="ctr">
              <a:lnSpc>
                <a:spcPct val="100000"/>
              </a:lnSpc>
              <a:tabLst>
                <a:tab pos="0" algn="l"/>
              </a:tabLst>
            </a:pPr>
            <a:r>
              <a:rPr lang="el-GR" sz="1200" b="0" strike="noStrike" spc="-1">
                <a:solidFill>
                  <a:srgbClr val="000000"/>
                </a:solidFill>
                <a:latin typeface="Arial"/>
                <a:ea typeface="Arial"/>
              </a:rPr>
              <a:t>Ιατρικό Προσωπικό</a:t>
            </a:r>
            <a:endParaRPr lang="en-US" sz="1200" b="0" strike="noStrike" spc="-1">
              <a:latin typeface="Arial"/>
            </a:endParaRPr>
          </a:p>
        </p:txBody>
      </p:sp>
      <p:sp>
        <p:nvSpPr>
          <p:cNvPr id="486" name="CustomShape 10"/>
          <p:cNvSpPr/>
          <p:nvPr/>
        </p:nvSpPr>
        <p:spPr>
          <a:xfrm>
            <a:off x="4199040" y="5486400"/>
            <a:ext cx="72180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oAutofit/>
          </a:bodyPr>
          <a:lstStyle/>
          <a:p>
            <a:pPr algn="ctr">
              <a:lnSpc>
                <a:spcPct val="100000"/>
              </a:lnSpc>
              <a:tabLst>
                <a:tab pos="0" algn="l"/>
              </a:tabLst>
            </a:pPr>
            <a:r>
              <a:rPr lang="el-GR" sz="1200" b="0" strike="noStrike" spc="-1">
                <a:solidFill>
                  <a:srgbClr val="000000"/>
                </a:solidFill>
                <a:latin typeface="Arial"/>
                <a:ea typeface="Arial"/>
              </a:rPr>
              <a:t>Μέλη ΔΕΠ</a:t>
            </a:r>
            <a:endParaRPr lang="en-US" sz="1200" b="0" strike="noStrike" spc="-1">
              <a:latin typeface="Arial"/>
            </a:endParaRPr>
          </a:p>
        </p:txBody>
      </p:sp>
      <p:sp>
        <p:nvSpPr>
          <p:cNvPr id="487" name="CustomShape 11"/>
          <p:cNvSpPr/>
          <p:nvPr/>
        </p:nvSpPr>
        <p:spPr>
          <a:xfrm>
            <a:off x="5159520" y="5486400"/>
            <a:ext cx="916920" cy="362880"/>
          </a:xfrm>
          <a:prstGeom prst="rect">
            <a:avLst/>
          </a:prstGeom>
          <a:noFill/>
          <a:ln w="0">
            <a:noFill/>
          </a:ln>
        </p:spPr>
        <p:style>
          <a:lnRef idx="0">
            <a:scrgbClr r="0" g="0" b="0"/>
          </a:lnRef>
          <a:fillRef idx="0">
            <a:scrgbClr r="0" g="0" b="0"/>
          </a:fillRef>
          <a:effectRef idx="0">
            <a:scrgbClr r="0" g="0" b="0"/>
          </a:effectRef>
          <a:fontRef idx="minor"/>
        </p:style>
        <p:txBody>
          <a:bodyPr lIns="0" tIns="0" rIns="0" bIns="0">
            <a:noAutofit/>
          </a:bodyPr>
          <a:lstStyle/>
          <a:p>
            <a:pPr algn="ctr">
              <a:lnSpc>
                <a:spcPct val="100000"/>
              </a:lnSpc>
              <a:tabLst>
                <a:tab pos="0" algn="l"/>
              </a:tabLst>
            </a:pPr>
            <a:r>
              <a:rPr lang="el-GR" sz="1200" b="0" strike="noStrike" spc="-1">
                <a:solidFill>
                  <a:srgbClr val="000000"/>
                </a:solidFill>
                <a:latin typeface="Arial"/>
                <a:ea typeface="Arial"/>
              </a:rPr>
              <a:t>Σύνολο Προσλήψεων</a:t>
            </a:r>
            <a:endParaRPr lang="en-US" sz="1200" b="0" strike="noStrike" spc="-1">
              <a:latin typeface="Arial"/>
            </a:endParaRPr>
          </a:p>
        </p:txBody>
      </p:sp>
      <p:sp>
        <p:nvSpPr>
          <p:cNvPr id="488" name="CustomShape 12"/>
          <p:cNvSpPr/>
          <p:nvPr/>
        </p:nvSpPr>
        <p:spPr>
          <a:xfrm>
            <a:off x="4451400" y="2268360"/>
            <a:ext cx="217080" cy="180360"/>
          </a:xfrm>
          <a:prstGeom prst="rect">
            <a:avLst/>
          </a:prstGeom>
          <a:solidFill>
            <a:srgbClr val="0070C0"/>
          </a:solidFill>
          <a:ln w="0">
            <a:noFill/>
          </a:ln>
        </p:spPr>
        <p:style>
          <a:lnRef idx="0">
            <a:scrgbClr r="0" g="0" b="0"/>
          </a:lnRef>
          <a:fillRef idx="0">
            <a:scrgbClr r="0" g="0" b="0"/>
          </a:fillRef>
          <a:effectRef idx="0">
            <a:scrgbClr r="0" g="0" b="0"/>
          </a:effectRef>
          <a:fontRef idx="minor"/>
        </p:style>
        <p:txBody>
          <a:bodyPr lIns="25560" tIns="0" rIns="25560" bIns="0" anchor="ctr">
            <a:noAutofit/>
          </a:bodyPr>
          <a:lstStyle/>
          <a:p>
            <a:pPr algn="ctr">
              <a:lnSpc>
                <a:spcPct val="100000"/>
              </a:lnSpc>
              <a:tabLst>
                <a:tab pos="0" algn="l"/>
              </a:tabLst>
            </a:pPr>
            <a:r>
              <a:rPr lang="el-GR" sz="1200" b="0" strike="noStrike" spc="-1">
                <a:solidFill>
                  <a:srgbClr val="FFFFFF"/>
                </a:solidFill>
                <a:latin typeface="Arial"/>
                <a:ea typeface="Arial"/>
              </a:rPr>
              <a:t>30</a:t>
            </a:r>
            <a:endParaRPr lang="en-US" sz="1200" b="0" strike="noStrike" spc="-1">
              <a:latin typeface="Arial"/>
            </a:endParaRPr>
          </a:p>
        </p:txBody>
      </p:sp>
      <p:sp>
        <p:nvSpPr>
          <p:cNvPr id="489" name="CustomShape 13"/>
          <p:cNvSpPr/>
          <p:nvPr/>
        </p:nvSpPr>
        <p:spPr>
          <a:xfrm>
            <a:off x="2014560" y="5486400"/>
            <a:ext cx="864720" cy="362880"/>
          </a:xfrm>
          <a:prstGeom prst="rect">
            <a:avLst/>
          </a:prstGeom>
          <a:noFill/>
          <a:ln w="0">
            <a:noFill/>
          </a:ln>
        </p:spPr>
        <p:style>
          <a:lnRef idx="0">
            <a:scrgbClr r="0" g="0" b="0"/>
          </a:lnRef>
          <a:fillRef idx="0">
            <a:scrgbClr r="0" g="0" b="0"/>
          </a:fillRef>
          <a:effectRef idx="0">
            <a:scrgbClr r="0" g="0" b="0"/>
          </a:effectRef>
          <a:fontRef idx="minor"/>
        </p:style>
        <p:txBody>
          <a:bodyPr lIns="0" tIns="0" rIns="0" bIns="0">
            <a:noAutofit/>
          </a:bodyPr>
          <a:lstStyle/>
          <a:p>
            <a:pPr algn="ctr">
              <a:lnSpc>
                <a:spcPct val="100000"/>
              </a:lnSpc>
              <a:tabLst>
                <a:tab pos="0" algn="l"/>
              </a:tabLst>
            </a:pPr>
            <a:r>
              <a:rPr lang="el-GR" sz="1200" b="0" strike="noStrike" spc="-1">
                <a:solidFill>
                  <a:srgbClr val="000000"/>
                </a:solidFill>
                <a:latin typeface="Arial"/>
                <a:ea typeface="Arial"/>
              </a:rPr>
              <a:t>Νοσηλευτικό Προσωπικό</a:t>
            </a:r>
            <a:endParaRPr lang="en-US" sz="1200" b="0" strike="noStrike" spc="-1">
              <a:latin typeface="Arial"/>
            </a:endParaRPr>
          </a:p>
        </p:txBody>
      </p:sp>
      <p:sp>
        <p:nvSpPr>
          <p:cNvPr id="490" name="CustomShape 14"/>
          <p:cNvSpPr/>
          <p:nvPr/>
        </p:nvSpPr>
        <p:spPr>
          <a:xfrm>
            <a:off x="3103560" y="5486400"/>
            <a:ext cx="802800" cy="362880"/>
          </a:xfrm>
          <a:prstGeom prst="rect">
            <a:avLst/>
          </a:prstGeom>
          <a:noFill/>
          <a:ln w="0">
            <a:noFill/>
          </a:ln>
        </p:spPr>
        <p:style>
          <a:lnRef idx="0">
            <a:scrgbClr r="0" g="0" b="0"/>
          </a:lnRef>
          <a:fillRef idx="0">
            <a:scrgbClr r="0" g="0" b="0"/>
          </a:fillRef>
          <a:effectRef idx="0">
            <a:scrgbClr r="0" g="0" b="0"/>
          </a:effectRef>
          <a:fontRef idx="minor"/>
        </p:style>
        <p:txBody>
          <a:bodyPr lIns="0" tIns="0" rIns="0" bIns="0">
            <a:noAutofit/>
          </a:bodyPr>
          <a:lstStyle/>
          <a:p>
            <a:pPr algn="ctr">
              <a:lnSpc>
                <a:spcPct val="100000"/>
              </a:lnSpc>
              <a:tabLst>
                <a:tab pos="0" algn="l"/>
              </a:tabLst>
            </a:pPr>
            <a:r>
              <a:rPr lang="el-GR" sz="1200" b="0" strike="noStrike" spc="-1">
                <a:solidFill>
                  <a:srgbClr val="000000"/>
                </a:solidFill>
                <a:latin typeface="Arial"/>
                <a:ea typeface="Arial"/>
              </a:rPr>
              <a:t>Λοιπό Προσωπικό</a:t>
            </a:r>
            <a:endParaRPr lang="en-US" sz="1200" b="0" strike="noStrike" spc="-1">
              <a:latin typeface="Arial"/>
            </a:endParaRPr>
          </a:p>
        </p:txBody>
      </p:sp>
      <p:sp>
        <p:nvSpPr>
          <p:cNvPr id="491" name="CustomShape 15"/>
          <p:cNvSpPr/>
          <p:nvPr/>
        </p:nvSpPr>
        <p:spPr>
          <a:xfrm>
            <a:off x="5403960" y="2117880"/>
            <a:ext cx="428040" cy="180360"/>
          </a:xfrm>
          <a:prstGeom prst="rect">
            <a:avLst/>
          </a:prstGeom>
          <a:noFill/>
          <a:ln w="0">
            <a:noFill/>
          </a:ln>
        </p:spPr>
        <p:style>
          <a:lnRef idx="0">
            <a:scrgbClr r="0" g="0" b="0"/>
          </a:lnRef>
          <a:fillRef idx="0">
            <a:scrgbClr r="0" g="0" b="0"/>
          </a:fillRef>
          <a:effectRef idx="0">
            <a:scrgbClr r="0" g="0" b="0"/>
          </a:effectRef>
          <a:fontRef idx="minor"/>
        </p:style>
        <p:txBody>
          <a:bodyPr lIns="25560" tIns="0" rIns="25560" bIns="0" anchor="b">
            <a:noAutofit/>
          </a:bodyPr>
          <a:lstStyle/>
          <a:p>
            <a:pPr algn="ctr">
              <a:lnSpc>
                <a:spcPct val="100000"/>
              </a:lnSpc>
              <a:tabLst>
                <a:tab pos="0" algn="l"/>
              </a:tabLst>
            </a:pPr>
            <a:r>
              <a:rPr lang="el-GR" sz="1200" b="1" strike="noStrike" spc="-1">
                <a:solidFill>
                  <a:srgbClr val="000000"/>
                </a:solidFill>
                <a:latin typeface="Arial"/>
                <a:ea typeface="Arial"/>
              </a:rPr>
              <a:t>1,375</a:t>
            </a:r>
            <a:endParaRPr lang="en-US" sz="1200" b="0" strike="noStrike" spc="-1">
              <a:latin typeface="Aria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2" name="CustomShape 1"/>
          <p:cNvSpPr/>
          <p:nvPr/>
        </p:nvSpPr>
        <p:spPr>
          <a:xfrm>
            <a:off x="327600" y="399600"/>
            <a:ext cx="11488680" cy="833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oAutofit/>
          </a:bodyPr>
          <a:lstStyle/>
          <a:p>
            <a:pPr>
              <a:lnSpc>
                <a:spcPct val="90000"/>
              </a:lnSpc>
              <a:tabLst>
                <a:tab pos="0" algn="l"/>
              </a:tabLst>
            </a:pPr>
            <a:r>
              <a:rPr lang="el-GR" sz="2600" b="1" strike="noStrike" spc="-1">
                <a:solidFill>
                  <a:srgbClr val="31506D"/>
                </a:solidFill>
                <a:latin typeface="Calibri"/>
                <a:ea typeface="Calibri"/>
              </a:rPr>
              <a:t>Επίσης ενισχύουμε περαιτέρω τα Κέντρα Υγείας μέσω της ανακαίνισης, της αγοράς εξοπλισμού και της δημιουργίας ιατρείων χρόνιων παθήσεων</a:t>
            </a:r>
            <a:endParaRPr lang="en-US" sz="2600" b="0" strike="noStrike" spc="-1">
              <a:latin typeface="Arial"/>
            </a:endParaRPr>
          </a:p>
        </p:txBody>
      </p:sp>
      <p:sp>
        <p:nvSpPr>
          <p:cNvPr id="493" name="CustomShape 2"/>
          <p:cNvSpPr/>
          <p:nvPr/>
        </p:nvSpPr>
        <p:spPr>
          <a:xfrm>
            <a:off x="11296440" y="6377040"/>
            <a:ext cx="519840" cy="25344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chor="ctr">
            <a:noAutofit/>
          </a:bodyPr>
          <a:lstStyle/>
          <a:p>
            <a:pPr>
              <a:lnSpc>
                <a:spcPct val="100000"/>
              </a:lnSpc>
              <a:tabLst>
                <a:tab pos="0" algn="l"/>
              </a:tabLst>
            </a:pPr>
            <a:fld id="{5E9C2349-DCB4-4942-A41F-06A02746250B}" type="slidenum">
              <a:rPr lang="el-GR" sz="1000" b="0" strike="noStrike" spc="-1">
                <a:solidFill>
                  <a:srgbClr val="000000"/>
                </a:solidFill>
                <a:latin typeface="Calibri"/>
                <a:ea typeface="Calibri"/>
              </a:rPr>
              <a:t>18</a:t>
            </a:fld>
            <a:endParaRPr lang="en-US" sz="1000" b="0" strike="noStrike" spc="-1">
              <a:latin typeface="Arial"/>
            </a:endParaRPr>
          </a:p>
        </p:txBody>
      </p:sp>
      <p:sp>
        <p:nvSpPr>
          <p:cNvPr id="494" name="CustomShape 3"/>
          <p:cNvSpPr/>
          <p:nvPr/>
        </p:nvSpPr>
        <p:spPr>
          <a:xfrm>
            <a:off x="326160" y="1251720"/>
            <a:ext cx="11341440" cy="365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chor="ctr">
            <a:noAutofit/>
          </a:bodyPr>
          <a:lstStyle/>
          <a:p>
            <a:pPr>
              <a:lnSpc>
                <a:spcPct val="100000"/>
              </a:lnSpc>
              <a:tabLst>
                <a:tab pos="0" algn="l"/>
              </a:tabLst>
            </a:pPr>
            <a:r>
              <a:rPr lang="el-GR" sz="1800" b="1" strike="noStrike" spc="-1">
                <a:solidFill>
                  <a:srgbClr val="363636"/>
                </a:solidFill>
                <a:latin typeface="Calibri"/>
                <a:ea typeface="Calibri"/>
              </a:rPr>
              <a:t>Ενίσχυση των Κέντρων Υγείας και Ανάπτυξη Ιατρείων Διαχείρισης Χρόνιων Παθήσεων </a:t>
            </a:r>
            <a:endParaRPr lang="en-US" sz="1800" b="0" strike="noStrike" spc="-1">
              <a:latin typeface="Arial"/>
            </a:endParaRPr>
          </a:p>
        </p:txBody>
      </p:sp>
      <p:sp>
        <p:nvSpPr>
          <p:cNvPr id="495" name="CustomShape 4"/>
          <p:cNvSpPr/>
          <p:nvPr/>
        </p:nvSpPr>
        <p:spPr>
          <a:xfrm>
            <a:off x="3853440" y="1931760"/>
            <a:ext cx="6863040" cy="123984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nSpc>
                <a:spcPct val="100000"/>
              </a:lnSpc>
              <a:tabLst>
                <a:tab pos="0" algn="l"/>
              </a:tabLst>
            </a:pPr>
            <a:r>
              <a:rPr lang="el-GR" sz="1600" b="1" strike="noStrike" spc="-1">
                <a:solidFill>
                  <a:srgbClr val="000000"/>
                </a:solidFill>
                <a:latin typeface="Calibri"/>
                <a:ea typeface="Calibri"/>
              </a:rPr>
              <a:t>Ανακαίνιση 156 Κέντρων Υγείας</a:t>
            </a:r>
            <a:r>
              <a:rPr lang="el-GR" sz="1600" b="0" strike="noStrike" spc="-1">
                <a:solidFill>
                  <a:srgbClr val="000000"/>
                </a:solidFill>
                <a:latin typeface="Calibri"/>
                <a:ea typeface="Calibri"/>
              </a:rPr>
              <a:t> σε όλη τη χώρα, που περιλαμβάνει: </a:t>
            </a:r>
            <a:endParaRPr lang="en-US" sz="1600" b="0" strike="noStrike" spc="-1">
              <a:latin typeface="Arial"/>
            </a:endParaRPr>
          </a:p>
          <a:p>
            <a:pPr marL="285840" indent="-283680">
              <a:lnSpc>
                <a:spcPct val="100000"/>
              </a:lnSpc>
              <a:buClr>
                <a:srgbClr val="000000"/>
              </a:buClr>
              <a:buFont typeface="Arial"/>
              <a:buChar char="•"/>
              <a:tabLst>
                <a:tab pos="0" algn="l"/>
              </a:tabLst>
            </a:pPr>
            <a:r>
              <a:rPr lang="el-GR" sz="1600" b="0" strike="noStrike" spc="-1">
                <a:solidFill>
                  <a:srgbClr val="000000"/>
                </a:solidFill>
                <a:latin typeface="Calibri"/>
                <a:ea typeface="Calibri"/>
              </a:rPr>
              <a:t>ενεργειακή αναβάθμιση</a:t>
            </a:r>
            <a:endParaRPr lang="en-US" sz="1600" b="0" strike="noStrike" spc="-1">
              <a:latin typeface="Arial"/>
            </a:endParaRPr>
          </a:p>
          <a:p>
            <a:pPr marL="285840" indent="-283680">
              <a:lnSpc>
                <a:spcPct val="100000"/>
              </a:lnSpc>
              <a:buClr>
                <a:srgbClr val="000000"/>
              </a:buClr>
              <a:buFont typeface="Arial"/>
              <a:buChar char="•"/>
              <a:tabLst>
                <a:tab pos="0" algn="l"/>
              </a:tabLst>
            </a:pPr>
            <a:r>
              <a:rPr lang="el-GR" sz="1600" b="0" strike="noStrike" spc="-1">
                <a:solidFill>
                  <a:srgbClr val="000000"/>
                </a:solidFill>
                <a:latin typeface="Calibri"/>
                <a:ea typeface="Calibri"/>
              </a:rPr>
              <a:t>αναβάθμιση ηλεκτρομηχανολογικού εξοπλισμού και δικτύων</a:t>
            </a:r>
            <a:endParaRPr lang="en-US" sz="1600" b="0" strike="noStrike" spc="-1">
              <a:latin typeface="Arial"/>
            </a:endParaRPr>
          </a:p>
          <a:p>
            <a:pPr marL="285840" indent="-283680">
              <a:lnSpc>
                <a:spcPct val="100000"/>
              </a:lnSpc>
              <a:buClr>
                <a:srgbClr val="000000"/>
              </a:buClr>
              <a:buFont typeface="Arial"/>
              <a:buChar char="•"/>
              <a:tabLst>
                <a:tab pos="0" algn="l"/>
              </a:tabLst>
            </a:pPr>
            <a:r>
              <a:rPr lang="el-GR" sz="1600" b="0" strike="noStrike" spc="-1">
                <a:solidFill>
                  <a:srgbClr val="000000"/>
                </a:solidFill>
                <a:latin typeface="Calibri"/>
                <a:ea typeface="Calibri"/>
              </a:rPr>
              <a:t>αναβάθμιση - εξυγίανση κτιριακών υποδομών</a:t>
            </a:r>
            <a:endParaRPr lang="en-US" sz="1600" b="0" strike="noStrike" spc="-1">
              <a:latin typeface="Arial"/>
            </a:endParaRPr>
          </a:p>
        </p:txBody>
      </p:sp>
      <p:sp>
        <p:nvSpPr>
          <p:cNvPr id="496" name="CustomShape 5"/>
          <p:cNvSpPr/>
          <p:nvPr/>
        </p:nvSpPr>
        <p:spPr>
          <a:xfrm>
            <a:off x="968400" y="1931760"/>
            <a:ext cx="2214720" cy="1239840"/>
          </a:xfrm>
          <a:prstGeom prst="rect">
            <a:avLst/>
          </a:prstGeom>
          <a:solidFill>
            <a:srgbClr val="4A66AC"/>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l-GR" sz="1600" b="1" strike="noStrike" spc="-1">
                <a:solidFill>
                  <a:srgbClr val="FFFFFF"/>
                </a:solidFill>
                <a:latin typeface="Arial"/>
                <a:ea typeface="Arial"/>
              </a:rPr>
              <a:t>Ανακαίνιση Κέντρων Υγείας</a:t>
            </a:r>
            <a:endParaRPr lang="en-US" sz="1600" b="0" strike="noStrike" spc="-1">
              <a:latin typeface="Arial"/>
            </a:endParaRPr>
          </a:p>
        </p:txBody>
      </p:sp>
      <p:sp>
        <p:nvSpPr>
          <p:cNvPr id="497" name="CustomShape 6"/>
          <p:cNvSpPr/>
          <p:nvPr/>
        </p:nvSpPr>
        <p:spPr>
          <a:xfrm>
            <a:off x="3853440" y="3377160"/>
            <a:ext cx="6863040" cy="123984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nSpc>
                <a:spcPct val="100000"/>
              </a:lnSpc>
              <a:tabLst>
                <a:tab pos="0" algn="l"/>
              </a:tabLst>
            </a:pPr>
            <a:r>
              <a:rPr lang="el-GR" sz="1600" b="1" strike="noStrike" spc="-1">
                <a:solidFill>
                  <a:srgbClr val="000000"/>
                </a:solidFill>
                <a:latin typeface="Calibri"/>
                <a:ea typeface="Calibri"/>
              </a:rPr>
              <a:t>Αγορά ιατροτεχνολογικού εξοπλισμού σε 312 Κέντρα Υγείας</a:t>
            </a:r>
            <a:r>
              <a:rPr lang="el-GR" sz="1600" b="0" strike="noStrike" spc="-1">
                <a:solidFill>
                  <a:srgbClr val="000000"/>
                </a:solidFill>
                <a:latin typeface="Calibri"/>
                <a:ea typeface="Calibri"/>
              </a:rPr>
              <a:t>, όπως π.χ. υπερηχογράφος, καρδιογράφος, σετ οδοντικής, καθετήρες, κλπ</a:t>
            </a:r>
            <a:endParaRPr lang="en-US" sz="1600" b="0" strike="noStrike" spc="-1">
              <a:latin typeface="Arial"/>
            </a:endParaRPr>
          </a:p>
        </p:txBody>
      </p:sp>
      <p:sp>
        <p:nvSpPr>
          <p:cNvPr id="498" name="CustomShape 7"/>
          <p:cNvSpPr/>
          <p:nvPr/>
        </p:nvSpPr>
        <p:spPr>
          <a:xfrm>
            <a:off x="968400" y="3377160"/>
            <a:ext cx="2214720" cy="1239840"/>
          </a:xfrm>
          <a:prstGeom prst="rect">
            <a:avLst/>
          </a:prstGeom>
          <a:solidFill>
            <a:srgbClr val="4A66AC"/>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100000"/>
              </a:lnSpc>
              <a:tabLst>
                <a:tab pos="0" algn="l"/>
              </a:tabLst>
            </a:pPr>
            <a:r>
              <a:rPr lang="el-GR" sz="1600" b="1" strike="noStrike" spc="-1">
                <a:solidFill>
                  <a:srgbClr val="FFFFFF"/>
                </a:solidFill>
                <a:latin typeface="Arial"/>
                <a:ea typeface="Arial"/>
              </a:rPr>
              <a:t>Αγορά Ιατροτεχνολογικού Εξοπλισμού</a:t>
            </a:r>
            <a:endParaRPr lang="en-US" sz="1600" b="0" strike="noStrike" spc="-1">
              <a:latin typeface="Arial"/>
            </a:endParaRPr>
          </a:p>
        </p:txBody>
      </p:sp>
      <p:sp>
        <p:nvSpPr>
          <p:cNvPr id="499" name="CustomShape 8"/>
          <p:cNvSpPr/>
          <p:nvPr/>
        </p:nvSpPr>
        <p:spPr>
          <a:xfrm>
            <a:off x="3853440" y="4822200"/>
            <a:ext cx="6863040" cy="123984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nSpc>
                <a:spcPct val="100000"/>
              </a:lnSpc>
              <a:tabLst>
                <a:tab pos="0" algn="l"/>
              </a:tabLst>
            </a:pPr>
            <a:r>
              <a:rPr lang="el-GR" sz="1600" b="1" strike="noStrike" spc="-1">
                <a:solidFill>
                  <a:srgbClr val="000000"/>
                </a:solidFill>
                <a:latin typeface="Calibri"/>
                <a:ea typeface="Calibri"/>
              </a:rPr>
              <a:t>Δημιουργία 312 Ιατρείων Διαχείρισης Χρόνιων Παθήσεων </a:t>
            </a:r>
            <a:r>
              <a:rPr lang="el-GR" sz="1600" b="0" strike="noStrike" spc="-1">
                <a:solidFill>
                  <a:srgbClr val="000000"/>
                </a:solidFill>
                <a:latin typeface="Calibri"/>
                <a:ea typeface="Calibri"/>
              </a:rPr>
              <a:t>σε δομές της Πρωτοβάθμιας Φροντίδας Υγείας. Το έργο αυτό προβλέπει τη διαμόρφωση κατάλληλων χώρων και την αγορά ιατροτεχνολικού εξοπλισμού</a:t>
            </a:r>
            <a:endParaRPr lang="en-US" sz="1600" b="0" strike="noStrike" spc="-1">
              <a:latin typeface="Arial"/>
            </a:endParaRPr>
          </a:p>
        </p:txBody>
      </p:sp>
      <p:sp>
        <p:nvSpPr>
          <p:cNvPr id="500" name="CustomShape 9"/>
          <p:cNvSpPr/>
          <p:nvPr/>
        </p:nvSpPr>
        <p:spPr>
          <a:xfrm>
            <a:off x="968400" y="4822200"/>
            <a:ext cx="2214720" cy="1239840"/>
          </a:xfrm>
          <a:prstGeom prst="rect">
            <a:avLst/>
          </a:prstGeom>
          <a:solidFill>
            <a:srgbClr val="4A66AC"/>
          </a:solid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nSpc>
                <a:spcPct val="100000"/>
              </a:lnSpc>
              <a:tabLst>
                <a:tab pos="0" algn="l"/>
              </a:tabLst>
            </a:pPr>
            <a:r>
              <a:rPr lang="el-GR" sz="1600" b="1" strike="noStrike" spc="-1">
                <a:solidFill>
                  <a:srgbClr val="FFFFFF"/>
                </a:solidFill>
                <a:latin typeface="Arial"/>
                <a:ea typeface="Arial"/>
              </a:rPr>
              <a:t>Δημιουργία Ιατρείων Διαχείρισης Χρόνιων Παθήσεων </a:t>
            </a:r>
            <a:endParaRPr lang="en-US" sz="1600" b="0" strike="noStrike" spc="-1">
              <a:latin typeface="Arial"/>
            </a:endParaRPr>
          </a:p>
        </p:txBody>
      </p:sp>
      <p:sp>
        <p:nvSpPr>
          <p:cNvPr id="501" name="CustomShape 10"/>
          <p:cNvSpPr/>
          <p:nvPr/>
        </p:nvSpPr>
        <p:spPr>
          <a:xfrm rot="5400000">
            <a:off x="3119040" y="2434680"/>
            <a:ext cx="663120" cy="233640"/>
          </a:xfrm>
          <a:prstGeom prst="triangle">
            <a:avLst>
              <a:gd name="adj" fmla="val 50000"/>
            </a:avLst>
          </a:prstGeom>
          <a:solidFill>
            <a:srgbClr val="7F7F7F"/>
          </a:solidFill>
          <a:ln w="0">
            <a:noFill/>
          </a:ln>
        </p:spPr>
        <p:style>
          <a:lnRef idx="0">
            <a:scrgbClr r="0" g="0" b="0"/>
          </a:lnRef>
          <a:fillRef idx="0">
            <a:scrgbClr r="0" g="0" b="0"/>
          </a:fillRef>
          <a:effectRef idx="0">
            <a:scrgbClr r="0" g="0" b="0"/>
          </a:effectRef>
          <a:fontRef idx="minor"/>
        </p:style>
        <p:txBody>
          <a:bodyPr/>
          <a:lstStyle/>
          <a:p>
            <a:endParaRPr lang="el-GR"/>
          </a:p>
        </p:txBody>
      </p:sp>
      <p:sp>
        <p:nvSpPr>
          <p:cNvPr id="502" name="CustomShape 11"/>
          <p:cNvSpPr/>
          <p:nvPr/>
        </p:nvSpPr>
        <p:spPr>
          <a:xfrm rot="5400000">
            <a:off x="3119040" y="3880080"/>
            <a:ext cx="663120" cy="233640"/>
          </a:xfrm>
          <a:prstGeom prst="triangle">
            <a:avLst>
              <a:gd name="adj" fmla="val 50000"/>
            </a:avLst>
          </a:prstGeom>
          <a:solidFill>
            <a:srgbClr val="7F7F7F"/>
          </a:solidFill>
          <a:ln w="0">
            <a:noFill/>
          </a:ln>
        </p:spPr>
        <p:style>
          <a:lnRef idx="0">
            <a:scrgbClr r="0" g="0" b="0"/>
          </a:lnRef>
          <a:fillRef idx="0">
            <a:scrgbClr r="0" g="0" b="0"/>
          </a:fillRef>
          <a:effectRef idx="0">
            <a:scrgbClr r="0" g="0" b="0"/>
          </a:effectRef>
          <a:fontRef idx="minor"/>
        </p:style>
        <p:txBody>
          <a:bodyPr/>
          <a:lstStyle/>
          <a:p>
            <a:endParaRPr lang="el-GR"/>
          </a:p>
        </p:txBody>
      </p:sp>
      <p:sp>
        <p:nvSpPr>
          <p:cNvPr id="503" name="CustomShape 12"/>
          <p:cNvSpPr/>
          <p:nvPr/>
        </p:nvSpPr>
        <p:spPr>
          <a:xfrm rot="5400000">
            <a:off x="3119040" y="5325120"/>
            <a:ext cx="663120" cy="233640"/>
          </a:xfrm>
          <a:prstGeom prst="triangle">
            <a:avLst>
              <a:gd name="adj" fmla="val 50000"/>
            </a:avLst>
          </a:prstGeom>
          <a:solidFill>
            <a:srgbClr val="7F7F7F"/>
          </a:solidFill>
          <a:ln w="0">
            <a:noFill/>
          </a:ln>
        </p:spPr>
        <p:style>
          <a:lnRef idx="0">
            <a:scrgbClr r="0" g="0" b="0"/>
          </a:lnRef>
          <a:fillRef idx="0">
            <a:scrgbClr r="0" g="0" b="0"/>
          </a:fillRef>
          <a:effectRef idx="0">
            <a:scrgbClr r="0" g="0" b="0"/>
          </a:effectRef>
          <a:fontRef idx="minor"/>
        </p:style>
        <p:txBody>
          <a:bodyPr/>
          <a:lstStyle/>
          <a:p>
            <a:endParaRPr lang="el-G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4" name="CustomShape 1"/>
          <p:cNvSpPr/>
          <p:nvPr/>
        </p:nvSpPr>
        <p:spPr>
          <a:xfrm>
            <a:off x="414000" y="597600"/>
            <a:ext cx="10513440" cy="132336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oAutofit/>
          </a:bodyPr>
          <a:lstStyle/>
          <a:p>
            <a:pPr>
              <a:lnSpc>
                <a:spcPct val="100000"/>
              </a:lnSpc>
              <a:tabLst>
                <a:tab pos="0" algn="l"/>
              </a:tabLst>
            </a:pPr>
            <a:r>
              <a:rPr lang="el-GR" sz="3600" b="1" strike="noStrike" spc="-1">
                <a:solidFill>
                  <a:srgbClr val="FFFFFF"/>
                </a:solidFill>
                <a:latin typeface="Calibri"/>
                <a:ea typeface="Calibri"/>
              </a:rPr>
              <a:t>Παράρτημα</a:t>
            </a:r>
            <a:endParaRPr lang="en-US" sz="3600" b="0" strike="noStrike" spc="-1">
              <a:latin typeface="Arial"/>
            </a:endParaRPr>
          </a:p>
        </p:txBody>
      </p:sp>
      <p:sp>
        <p:nvSpPr>
          <p:cNvPr id="505" name="CustomShape 2"/>
          <p:cNvSpPr/>
          <p:nvPr/>
        </p:nvSpPr>
        <p:spPr>
          <a:xfrm>
            <a:off x="11296440" y="6377040"/>
            <a:ext cx="519840" cy="25344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chor="ctr">
            <a:noAutofit/>
          </a:bodyPr>
          <a:lstStyle/>
          <a:p>
            <a:pPr>
              <a:lnSpc>
                <a:spcPct val="100000"/>
              </a:lnSpc>
              <a:tabLst>
                <a:tab pos="0" algn="l"/>
              </a:tabLst>
            </a:pPr>
            <a:fld id="{7B387CAC-5695-4710-A6AF-A6B9FD0E6961}" type="slidenum">
              <a:rPr lang="el-GR" sz="1000" b="0" strike="noStrike" spc="-1">
                <a:solidFill>
                  <a:srgbClr val="7F7F7F"/>
                </a:solidFill>
                <a:latin typeface="Calibri"/>
                <a:ea typeface="Calibri"/>
              </a:rPr>
              <a:t>19</a:t>
            </a:fld>
            <a:endParaRPr lang="en-US" sz="1000" b="0" strike="noStrike" spc="-1">
              <a:latin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 name="CustomShape 1"/>
          <p:cNvSpPr/>
          <p:nvPr/>
        </p:nvSpPr>
        <p:spPr>
          <a:xfrm>
            <a:off x="152280" y="375120"/>
            <a:ext cx="4011120" cy="892080"/>
          </a:xfrm>
          <a:prstGeom prst="rect">
            <a:avLst/>
          </a:prstGeom>
          <a:noFill/>
          <a:ln w="0">
            <a:noFill/>
          </a:ln>
        </p:spPr>
        <p:style>
          <a:lnRef idx="0">
            <a:scrgbClr r="0" g="0" b="0"/>
          </a:lnRef>
          <a:fillRef idx="0">
            <a:scrgbClr r="0" g="0" b="0"/>
          </a:fillRef>
          <a:effectRef idx="0">
            <a:scrgbClr r="0" g="0" b="0"/>
          </a:effectRef>
          <a:fontRef idx="minor"/>
        </p:style>
        <p:txBody>
          <a:bodyPr lIns="90000" tIns="144000" rIns="90000" bIns="91440">
            <a:noAutofit/>
          </a:bodyPr>
          <a:lstStyle/>
          <a:p>
            <a:pPr algn="r">
              <a:lnSpc>
                <a:spcPct val="100000"/>
              </a:lnSpc>
              <a:tabLst>
                <a:tab pos="0" algn="l"/>
              </a:tabLst>
            </a:pPr>
            <a:r>
              <a:rPr lang="el-GR" sz="3600" b="1" strike="noStrike" spc="-1">
                <a:solidFill>
                  <a:srgbClr val="FFFFFF"/>
                </a:solidFill>
                <a:latin typeface="Calibri"/>
                <a:ea typeface="Calibri"/>
              </a:rPr>
              <a:t>Θεματολογία</a:t>
            </a:r>
            <a:endParaRPr lang="en-US" sz="3600" b="0" strike="noStrike" spc="-1">
              <a:latin typeface="Arial"/>
            </a:endParaRPr>
          </a:p>
        </p:txBody>
      </p:sp>
      <p:sp>
        <p:nvSpPr>
          <p:cNvPr id="218" name="CustomShape 2"/>
          <p:cNvSpPr/>
          <p:nvPr/>
        </p:nvSpPr>
        <p:spPr>
          <a:xfrm>
            <a:off x="5127120" y="1453320"/>
            <a:ext cx="6971400" cy="11865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tabLst>
                <a:tab pos="0" algn="l"/>
              </a:tabLst>
            </a:pPr>
            <a:r>
              <a:rPr lang="el-GR" sz="2500" b="1" strike="noStrike" spc="-1">
                <a:solidFill>
                  <a:srgbClr val="31506D"/>
                </a:solidFill>
                <a:latin typeface="Calibri"/>
                <a:ea typeface="Calibri"/>
              </a:rPr>
              <a:t>Προσωπικός Ιατρός</a:t>
            </a:r>
            <a:endParaRPr lang="en-US" sz="2500" b="0" strike="noStrike" spc="-1">
              <a:latin typeface="Arial"/>
            </a:endParaRPr>
          </a:p>
          <a:p>
            <a:pPr>
              <a:lnSpc>
                <a:spcPct val="100000"/>
              </a:lnSpc>
              <a:tabLst>
                <a:tab pos="0" algn="l"/>
              </a:tabLst>
            </a:pPr>
            <a:endParaRPr lang="en-US" sz="2500" b="0" strike="noStrike" spc="-1">
              <a:latin typeface="Arial"/>
            </a:endParaRPr>
          </a:p>
          <a:p>
            <a:pPr>
              <a:lnSpc>
                <a:spcPct val="100000"/>
              </a:lnSpc>
              <a:tabLst>
                <a:tab pos="0" algn="l"/>
              </a:tabLst>
            </a:pPr>
            <a:r>
              <a:rPr lang="el-GR" sz="2200" b="1" strike="noStrike" spc="-1">
                <a:solidFill>
                  <a:srgbClr val="31506D"/>
                </a:solidFill>
                <a:latin typeface="Calibri"/>
                <a:ea typeface="Calibri"/>
              </a:rPr>
              <a:t>-Ευρύτερο πλαίσιο και υφιστάμενη κατάσταση</a:t>
            </a:r>
            <a:endParaRPr lang="en-US" sz="2200" b="0" strike="noStrike" spc="-1">
              <a:latin typeface="Arial"/>
            </a:endParaRPr>
          </a:p>
        </p:txBody>
      </p:sp>
      <p:sp>
        <p:nvSpPr>
          <p:cNvPr id="219" name="CustomShape 3"/>
          <p:cNvSpPr/>
          <p:nvPr/>
        </p:nvSpPr>
        <p:spPr>
          <a:xfrm>
            <a:off x="5127120" y="2653920"/>
            <a:ext cx="6971400" cy="7599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tabLst>
                <a:tab pos="0" algn="l"/>
              </a:tabLst>
            </a:pPr>
            <a:r>
              <a:rPr lang="el-GR" sz="2200" b="1" strike="noStrike" spc="-1">
                <a:solidFill>
                  <a:srgbClr val="31506D"/>
                </a:solidFill>
                <a:latin typeface="Calibri"/>
                <a:ea typeface="Calibri"/>
              </a:rPr>
              <a:t>-Ρόλος του Π.Ι.</a:t>
            </a:r>
            <a:endParaRPr lang="en-US" sz="2200" b="0" strike="noStrike" spc="-1">
              <a:latin typeface="Arial"/>
            </a:endParaRPr>
          </a:p>
          <a:p>
            <a:pPr>
              <a:lnSpc>
                <a:spcPct val="100000"/>
              </a:lnSpc>
              <a:tabLst>
                <a:tab pos="0" algn="l"/>
              </a:tabLst>
            </a:pPr>
            <a:r>
              <a:rPr lang="el-GR" sz="2200" b="1" strike="noStrike" spc="-1">
                <a:solidFill>
                  <a:srgbClr val="31506D"/>
                </a:solidFill>
                <a:latin typeface="Calibri"/>
                <a:ea typeface="Calibri"/>
              </a:rPr>
              <a:t>-Κατηγορίες των Π.Ι.</a:t>
            </a:r>
            <a:endParaRPr lang="en-US" sz="2200" b="0" strike="noStrike" spc="-1">
              <a:latin typeface="Arial"/>
            </a:endParaRPr>
          </a:p>
        </p:txBody>
      </p:sp>
      <p:sp>
        <p:nvSpPr>
          <p:cNvPr id="220" name="CustomShape 4"/>
          <p:cNvSpPr/>
          <p:nvPr/>
        </p:nvSpPr>
        <p:spPr>
          <a:xfrm>
            <a:off x="5127120" y="3423240"/>
            <a:ext cx="6971400" cy="4248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tabLst>
                <a:tab pos="0" algn="l"/>
              </a:tabLst>
            </a:pPr>
            <a:r>
              <a:rPr lang="el-GR" sz="2200" b="1" strike="noStrike" spc="-1">
                <a:solidFill>
                  <a:srgbClr val="31506D"/>
                </a:solidFill>
                <a:latin typeface="Calibri"/>
                <a:ea typeface="Calibri"/>
              </a:rPr>
              <a:t>-Εκπαίδευση των Π.Ι.</a:t>
            </a:r>
            <a:endParaRPr lang="en-US" sz="2200" b="0" strike="noStrike" spc="-1">
              <a:latin typeface="Arial"/>
            </a:endParaRPr>
          </a:p>
        </p:txBody>
      </p:sp>
      <p:sp>
        <p:nvSpPr>
          <p:cNvPr id="221" name="CustomShape 5"/>
          <p:cNvSpPr/>
          <p:nvPr/>
        </p:nvSpPr>
        <p:spPr>
          <a:xfrm>
            <a:off x="5040000" y="3854160"/>
            <a:ext cx="6971400" cy="4248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tabLst>
                <a:tab pos="0" algn="l"/>
              </a:tabLst>
            </a:pPr>
            <a:r>
              <a:rPr lang="el-GR" sz="2200" b="1" strike="noStrike" spc="-1" dirty="0">
                <a:solidFill>
                  <a:srgbClr val="31506D"/>
                </a:solidFill>
                <a:latin typeface="Calibri"/>
                <a:ea typeface="Calibri"/>
              </a:rPr>
              <a:t> -Εποπτεία και Ενίσχυση των νέων Π.Ι</a:t>
            </a:r>
            <a:endParaRPr lang="en-US" sz="2200" b="0" strike="noStrike" spc="-1" dirty="0">
              <a:latin typeface="Arial"/>
            </a:endParaRPr>
          </a:p>
        </p:txBody>
      </p:sp>
      <p:sp>
        <p:nvSpPr>
          <p:cNvPr id="222" name="CustomShape 6"/>
          <p:cNvSpPr/>
          <p:nvPr/>
        </p:nvSpPr>
        <p:spPr>
          <a:xfrm>
            <a:off x="5127120" y="4715640"/>
            <a:ext cx="6971400" cy="15526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tabLst>
                <a:tab pos="0" algn="l"/>
              </a:tabLst>
            </a:pPr>
            <a:r>
              <a:rPr lang="el-GR" sz="2400" b="1" strike="noStrike" spc="-1">
                <a:solidFill>
                  <a:srgbClr val="31506D"/>
                </a:solidFill>
                <a:latin typeface="Calibri"/>
                <a:ea typeface="Calibri"/>
              </a:rPr>
              <a:t>Αύξηση ιατρών και προσλήψεις</a:t>
            </a:r>
            <a:endParaRPr lang="en-US" sz="2400" b="0" strike="noStrike" spc="-1">
              <a:latin typeface="Arial"/>
            </a:endParaRPr>
          </a:p>
          <a:p>
            <a:pPr>
              <a:lnSpc>
                <a:spcPct val="100000"/>
              </a:lnSpc>
              <a:tabLst>
                <a:tab pos="0" algn="l"/>
              </a:tabLst>
            </a:pPr>
            <a:endParaRPr lang="en-US" sz="2400" b="0" strike="noStrike" spc="-1">
              <a:latin typeface="Arial"/>
            </a:endParaRPr>
          </a:p>
          <a:p>
            <a:pPr>
              <a:lnSpc>
                <a:spcPct val="100000"/>
              </a:lnSpc>
              <a:tabLst>
                <a:tab pos="0" algn="l"/>
              </a:tabLst>
            </a:pPr>
            <a:r>
              <a:rPr lang="el-GR" sz="2400" b="1" strike="noStrike" spc="-1">
                <a:solidFill>
                  <a:srgbClr val="31506D"/>
                </a:solidFill>
                <a:latin typeface="Calibri"/>
                <a:ea typeface="Calibri"/>
              </a:rPr>
              <a:t>Ενίσχυση των Κέντρων Υγείας και Ανάπτυξη Ιατρείων Διαχείρισης Χρόνιων Παθήσεων </a:t>
            </a:r>
            <a:endParaRPr lang="en-US" sz="2400" b="0" strike="noStrike" spc="-1">
              <a:latin typeface="Aria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E6DDCAD-1525-F893-70EA-1CCAFAD504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54" imgW="328" imgH="328" progId="TCLayout.ActiveDocument.1">
                  <p:embed/>
                </p:oleObj>
              </mc:Choice>
              <mc:Fallback>
                <p:oleObj name="think-cell Slide" r:id="rId54" imgW="328" imgH="328" progId="TCLayout.ActiveDocument.1">
                  <p:embed/>
                  <p:pic>
                    <p:nvPicPr>
                      <p:cNvPr id="7" name="think-cell data - do not delete" hidden="1">
                        <a:extLst>
                          <a:ext uri="{FF2B5EF4-FFF2-40B4-BE49-F238E27FC236}">
                            <a16:creationId xmlns:a16="http://schemas.microsoft.com/office/drawing/2014/main" id="{CE6DDCAD-1525-F893-70EA-1CCAFAD504DD}"/>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ADCAD7-AA50-8E07-2846-06BB5A5E9661}"/>
              </a:ext>
            </a:extLst>
          </p:cNvPr>
          <p:cNvSpPr>
            <a:spLocks noGrp="1"/>
          </p:cNvSpPr>
          <p:nvPr>
            <p:ph type="title"/>
          </p:nvPr>
        </p:nvSpPr>
        <p:spPr/>
        <p:txBody>
          <a:bodyPr vert="horz"/>
          <a:lstStyle/>
          <a:p>
            <a:r>
              <a:rPr lang="el-GR" dirty="0"/>
              <a:t>Μόνο το </a:t>
            </a:r>
            <a:r>
              <a:rPr lang="en-US" dirty="0"/>
              <a:t>6</a:t>
            </a:r>
            <a:r>
              <a:rPr lang="el-GR" dirty="0"/>
              <a:t>% των γιατρών στην Ελλάδα είναι Γενικοί ή Παθολόγοι σε αντίθεση με τον μέσο όρο των Ευρωπαϊκών χωρών που είναι </a:t>
            </a:r>
            <a:r>
              <a:rPr lang="en-US" dirty="0"/>
              <a:t>2</a:t>
            </a:r>
            <a:r>
              <a:rPr lang="el-GR" dirty="0"/>
              <a:t>6%</a:t>
            </a:r>
            <a:endParaRPr lang="en-GB" dirty="0"/>
          </a:p>
        </p:txBody>
      </p:sp>
      <p:sp>
        <p:nvSpPr>
          <p:cNvPr id="3" name="Slide Number Placeholder 2">
            <a:extLst>
              <a:ext uri="{FF2B5EF4-FFF2-40B4-BE49-F238E27FC236}">
                <a16:creationId xmlns:a16="http://schemas.microsoft.com/office/drawing/2014/main" id="{AA2C9A4B-F7C0-DE1D-CFCB-38AA7FFBE5BF}"/>
              </a:ext>
            </a:extLst>
          </p:cNvPr>
          <p:cNvSpPr>
            <a:spLocks noGrp="1"/>
          </p:cNvSpPr>
          <p:nvPr>
            <p:ph type="sldNum" idx="12"/>
          </p:nvPr>
        </p:nvSpPr>
        <p:spPr/>
        <p:txBody>
          <a:bodyPr/>
          <a:lstStyle/>
          <a:p>
            <a:pPr marL="0" marR="0" lvl="0" indent="0" algn="l" defTabSz="914400" rtl="0" eaLnBrk="1" fontAlgn="auto" latinLnBrk="0" hangingPunct="1">
              <a:lnSpc>
                <a:spcPct val="100000"/>
              </a:lnSpc>
              <a:spcBef>
                <a:spcPts val="0"/>
              </a:spcBef>
              <a:spcAft>
                <a:spcPts val="0"/>
              </a:spcAft>
              <a:buClr>
                <a:srgbClr val="FFFFFF"/>
              </a:buClr>
              <a:buSzPts val="1000"/>
              <a:buFont typeface="Calibri"/>
              <a:buNone/>
              <a:tabLst/>
              <a:defRPr/>
            </a:pPr>
            <a:fld id="{00000000-1234-1234-1234-123412341234}" type="slidenum">
              <a:rPr kumimoji="0" lang="el-GR" sz="10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FFFFFF"/>
                </a:buClr>
                <a:buSzPts val="1000"/>
                <a:buFont typeface="Calibri"/>
                <a:buNone/>
                <a:tabLst/>
                <a:defRPr/>
              </a:pPr>
              <a:t>20</a:t>
            </a:fld>
            <a:endParaRPr kumimoji="0" lang="el-GR" sz="10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5" name="Text Placeholder 4">
            <a:extLst>
              <a:ext uri="{FF2B5EF4-FFF2-40B4-BE49-F238E27FC236}">
                <a16:creationId xmlns:a16="http://schemas.microsoft.com/office/drawing/2014/main" id="{312689D6-FAA0-A885-44E9-B58E4E63B365}"/>
              </a:ext>
            </a:extLst>
          </p:cNvPr>
          <p:cNvSpPr>
            <a:spLocks noGrp="1"/>
          </p:cNvSpPr>
          <p:nvPr>
            <p:ph type="body" sz="quarter" idx="14"/>
          </p:nvPr>
        </p:nvSpPr>
        <p:spPr/>
        <p:txBody>
          <a:bodyPr/>
          <a:lstStyle/>
          <a:p>
            <a:r>
              <a:rPr lang="el-GR" dirty="0"/>
              <a:t>Ποσοστό διαφορετικών κατηγοριών γιατρών, Ευρωπαϊκή Ένωση 20</a:t>
            </a:r>
            <a:r>
              <a:rPr lang="en-US" dirty="0"/>
              <a:t>20</a:t>
            </a:r>
            <a:r>
              <a:rPr lang="el-GR" dirty="0"/>
              <a:t> (ή πλησιέστερο έτος)</a:t>
            </a:r>
            <a:endParaRPr lang="en-GB" dirty="0"/>
          </a:p>
        </p:txBody>
      </p:sp>
      <p:cxnSp>
        <p:nvCxnSpPr>
          <p:cNvPr id="2007" name="Straight Connector 2006">
            <a:extLst>
              <a:ext uri="{FF2B5EF4-FFF2-40B4-BE49-F238E27FC236}">
                <a16:creationId xmlns:a16="http://schemas.microsoft.com/office/drawing/2014/main" id="{82F4A727-79BC-CEEA-31DF-4F608D2982B1}"/>
              </a:ext>
            </a:extLst>
          </p:cNvPr>
          <p:cNvCxnSpPr/>
          <p:nvPr>
            <p:custDataLst>
              <p:tags r:id="rId3"/>
            </p:custDataLst>
          </p:nvPr>
        </p:nvCxnSpPr>
        <p:spPr bwMode="gray">
          <a:xfrm>
            <a:off x="554038" y="4511675"/>
            <a:ext cx="11115675" cy="0"/>
          </a:xfrm>
          <a:prstGeom prst="line">
            <a:avLst/>
          </a:prstGeom>
          <a:ln w="6350" cap="flat" cmpd="sng" algn="ctr">
            <a:solidFill>
              <a:srgbClr val="DEDEDE"/>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8" name="Straight Connector 2007">
            <a:extLst>
              <a:ext uri="{FF2B5EF4-FFF2-40B4-BE49-F238E27FC236}">
                <a16:creationId xmlns:a16="http://schemas.microsoft.com/office/drawing/2014/main" id="{E2766296-F12C-A374-B32B-34BE45925BA4}"/>
              </a:ext>
            </a:extLst>
          </p:cNvPr>
          <p:cNvCxnSpPr/>
          <p:nvPr>
            <p:custDataLst>
              <p:tags r:id="rId4"/>
            </p:custDataLst>
          </p:nvPr>
        </p:nvCxnSpPr>
        <p:spPr bwMode="gray">
          <a:xfrm>
            <a:off x="554038" y="4243388"/>
            <a:ext cx="11115675" cy="0"/>
          </a:xfrm>
          <a:prstGeom prst="line">
            <a:avLst/>
          </a:prstGeom>
          <a:ln w="6350" cap="flat" cmpd="sng" algn="ctr">
            <a:solidFill>
              <a:srgbClr val="DEDEDE"/>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9" name="Straight Connector 2008">
            <a:extLst>
              <a:ext uri="{FF2B5EF4-FFF2-40B4-BE49-F238E27FC236}">
                <a16:creationId xmlns:a16="http://schemas.microsoft.com/office/drawing/2014/main" id="{9BA7AF4B-26CC-7A6A-0D10-A4E57DCC6645}"/>
              </a:ext>
            </a:extLst>
          </p:cNvPr>
          <p:cNvCxnSpPr/>
          <p:nvPr>
            <p:custDataLst>
              <p:tags r:id="rId5"/>
            </p:custDataLst>
          </p:nvPr>
        </p:nvCxnSpPr>
        <p:spPr bwMode="gray">
          <a:xfrm>
            <a:off x="554038" y="3976688"/>
            <a:ext cx="11115675" cy="0"/>
          </a:xfrm>
          <a:prstGeom prst="line">
            <a:avLst/>
          </a:prstGeom>
          <a:ln w="6350" cap="flat" cmpd="sng" algn="ctr">
            <a:solidFill>
              <a:srgbClr val="DEDEDE"/>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0" name="Straight Connector 2009">
            <a:extLst>
              <a:ext uri="{FF2B5EF4-FFF2-40B4-BE49-F238E27FC236}">
                <a16:creationId xmlns:a16="http://schemas.microsoft.com/office/drawing/2014/main" id="{C26CEB0C-F2D9-EFFE-987E-55BA380FAEB9}"/>
              </a:ext>
            </a:extLst>
          </p:cNvPr>
          <p:cNvCxnSpPr/>
          <p:nvPr>
            <p:custDataLst>
              <p:tags r:id="rId6"/>
            </p:custDataLst>
          </p:nvPr>
        </p:nvCxnSpPr>
        <p:spPr bwMode="gray">
          <a:xfrm>
            <a:off x="554038" y="3709988"/>
            <a:ext cx="11115675" cy="0"/>
          </a:xfrm>
          <a:prstGeom prst="line">
            <a:avLst/>
          </a:prstGeom>
          <a:ln w="6350" cap="flat" cmpd="sng" algn="ctr">
            <a:solidFill>
              <a:srgbClr val="DEDEDE"/>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060A8CAF-4763-9E7E-9272-FAC4A25B2111}"/>
              </a:ext>
            </a:extLst>
          </p:cNvPr>
          <p:cNvCxnSpPr/>
          <p:nvPr>
            <p:custDataLst>
              <p:tags r:id="rId7"/>
            </p:custDataLst>
          </p:nvPr>
        </p:nvCxnSpPr>
        <p:spPr bwMode="gray">
          <a:xfrm>
            <a:off x="554038" y="3441700"/>
            <a:ext cx="11115675" cy="0"/>
          </a:xfrm>
          <a:prstGeom prst="line">
            <a:avLst/>
          </a:prstGeom>
          <a:ln w="6350" cap="flat" cmpd="sng" algn="ctr">
            <a:solidFill>
              <a:srgbClr val="DEDEDE"/>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1" name="Straight Connector 2010">
            <a:extLst>
              <a:ext uri="{FF2B5EF4-FFF2-40B4-BE49-F238E27FC236}">
                <a16:creationId xmlns:a16="http://schemas.microsoft.com/office/drawing/2014/main" id="{1383F261-E41C-C263-7B92-5F0DBB828FE2}"/>
              </a:ext>
            </a:extLst>
          </p:cNvPr>
          <p:cNvCxnSpPr/>
          <p:nvPr>
            <p:custDataLst>
              <p:tags r:id="rId8"/>
            </p:custDataLst>
          </p:nvPr>
        </p:nvCxnSpPr>
        <p:spPr bwMode="gray">
          <a:xfrm>
            <a:off x="554038" y="3175000"/>
            <a:ext cx="11115675" cy="0"/>
          </a:xfrm>
          <a:prstGeom prst="line">
            <a:avLst/>
          </a:prstGeom>
          <a:ln w="6350" cap="flat" cmpd="sng" algn="ctr">
            <a:solidFill>
              <a:srgbClr val="DEDEDE"/>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2" name="Straight Connector 2011">
            <a:extLst>
              <a:ext uri="{FF2B5EF4-FFF2-40B4-BE49-F238E27FC236}">
                <a16:creationId xmlns:a16="http://schemas.microsoft.com/office/drawing/2014/main" id="{42F1773F-8ED2-AF89-9467-FA5A175AF14B}"/>
              </a:ext>
            </a:extLst>
          </p:cNvPr>
          <p:cNvCxnSpPr/>
          <p:nvPr>
            <p:custDataLst>
              <p:tags r:id="rId9"/>
            </p:custDataLst>
          </p:nvPr>
        </p:nvCxnSpPr>
        <p:spPr bwMode="gray">
          <a:xfrm>
            <a:off x="554038" y="2906713"/>
            <a:ext cx="11115675" cy="0"/>
          </a:xfrm>
          <a:prstGeom prst="line">
            <a:avLst/>
          </a:prstGeom>
          <a:ln w="6350" cap="flat" cmpd="sng" algn="ctr">
            <a:solidFill>
              <a:srgbClr val="DEDEDE"/>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3" name="Straight Connector 2012">
            <a:extLst>
              <a:ext uri="{FF2B5EF4-FFF2-40B4-BE49-F238E27FC236}">
                <a16:creationId xmlns:a16="http://schemas.microsoft.com/office/drawing/2014/main" id="{5689C1FA-B9B9-896C-D97F-296D44C47B04}"/>
              </a:ext>
            </a:extLst>
          </p:cNvPr>
          <p:cNvCxnSpPr/>
          <p:nvPr>
            <p:custDataLst>
              <p:tags r:id="rId10"/>
            </p:custDataLst>
          </p:nvPr>
        </p:nvCxnSpPr>
        <p:spPr bwMode="gray">
          <a:xfrm>
            <a:off x="554038" y="2640013"/>
            <a:ext cx="11115675" cy="0"/>
          </a:xfrm>
          <a:prstGeom prst="line">
            <a:avLst/>
          </a:prstGeom>
          <a:ln w="6350" cap="flat" cmpd="sng" algn="ctr">
            <a:solidFill>
              <a:srgbClr val="DEDEDE"/>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4" name="Straight Connector 2013">
            <a:extLst>
              <a:ext uri="{FF2B5EF4-FFF2-40B4-BE49-F238E27FC236}">
                <a16:creationId xmlns:a16="http://schemas.microsoft.com/office/drawing/2014/main" id="{77ECE331-A127-7299-475A-23F3428B5375}"/>
              </a:ext>
            </a:extLst>
          </p:cNvPr>
          <p:cNvCxnSpPr/>
          <p:nvPr>
            <p:custDataLst>
              <p:tags r:id="rId11"/>
            </p:custDataLst>
          </p:nvPr>
        </p:nvCxnSpPr>
        <p:spPr bwMode="gray">
          <a:xfrm>
            <a:off x="554038" y="2373313"/>
            <a:ext cx="11115675" cy="0"/>
          </a:xfrm>
          <a:prstGeom prst="line">
            <a:avLst/>
          </a:prstGeom>
          <a:ln w="6350" cap="flat" cmpd="sng" algn="ctr">
            <a:solidFill>
              <a:srgbClr val="DEDEDE"/>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2" name="Straight Connector 681">
            <a:extLst>
              <a:ext uri="{FF2B5EF4-FFF2-40B4-BE49-F238E27FC236}">
                <a16:creationId xmlns:a16="http://schemas.microsoft.com/office/drawing/2014/main" id="{4DB59318-BCBC-ECEB-F58E-054A33B58783}"/>
              </a:ext>
            </a:extLst>
          </p:cNvPr>
          <p:cNvCxnSpPr/>
          <p:nvPr>
            <p:custDataLst>
              <p:tags r:id="rId12"/>
            </p:custDataLst>
          </p:nvPr>
        </p:nvCxnSpPr>
        <p:spPr bwMode="gray">
          <a:xfrm>
            <a:off x="554038" y="2105025"/>
            <a:ext cx="11115675" cy="0"/>
          </a:xfrm>
          <a:prstGeom prst="line">
            <a:avLst/>
          </a:prstGeom>
          <a:ln w="6350" cap="flat" cmpd="sng" algn="ctr">
            <a:solidFill>
              <a:srgbClr val="DEDEDE"/>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 name="Chart 5">
            <a:extLst>
              <a:ext uri="{FF2B5EF4-FFF2-40B4-BE49-F238E27FC236}">
                <a16:creationId xmlns:a16="http://schemas.microsoft.com/office/drawing/2014/main" id="{CC02DC3D-3F8D-414D-A268-13C517D9B8C0}"/>
              </a:ext>
            </a:extLst>
          </p:cNvPr>
          <p:cNvGraphicFramePr/>
          <p:nvPr>
            <p:custDataLst>
              <p:tags r:id="rId13"/>
            </p:custDataLst>
          </p:nvPr>
        </p:nvGraphicFramePr>
        <p:xfrm>
          <a:off x="471488" y="1612900"/>
          <a:ext cx="11280775" cy="3390900"/>
        </p:xfrm>
        <a:graphic>
          <a:graphicData uri="http://schemas.openxmlformats.org/drawingml/2006/chart">
            <c:chart xmlns:c="http://schemas.openxmlformats.org/drawingml/2006/chart" xmlns:r="http://schemas.openxmlformats.org/officeDocument/2006/relationships" r:id="rId56"/>
          </a:graphicData>
        </a:graphic>
      </p:graphicFrame>
      <p:sp>
        <p:nvSpPr>
          <p:cNvPr id="55" name="Text Placeholder 3">
            <a:extLst>
              <a:ext uri="{FF2B5EF4-FFF2-40B4-BE49-F238E27FC236}">
                <a16:creationId xmlns:a16="http://schemas.microsoft.com/office/drawing/2014/main" id="{3B144126-0B6E-EBFD-15AA-5BBC7E99FDB7}"/>
              </a:ext>
            </a:extLst>
          </p:cNvPr>
          <p:cNvSpPr>
            <a:spLocks noGrp="1"/>
          </p:cNvSpPr>
          <p:nvPr>
            <p:custDataLst>
              <p:tags r:id="rId14"/>
            </p:custDataLst>
          </p:nvPr>
        </p:nvSpPr>
        <p:spPr bwMode="auto">
          <a:xfrm>
            <a:off x="708025" y="4878388"/>
            <a:ext cx="136525" cy="542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0F599824-478D-43DB-9041-0F20DA1919A5}" type="datetime'''''''''''''P''o''rtu''''g''a''''l''''^''''''''''''''''2'">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Portugal^2</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2191" name="Text Placeholder 3">
            <a:extLst>
              <a:ext uri="{FF2B5EF4-FFF2-40B4-BE49-F238E27FC236}">
                <a16:creationId xmlns:a16="http://schemas.microsoft.com/office/drawing/2014/main" id="{5B29B487-4EDD-99FC-0DF3-8B46875DF310}"/>
              </a:ext>
            </a:extLst>
          </p:cNvPr>
          <p:cNvSpPr>
            <a:spLocks noGrp="1"/>
          </p:cNvSpPr>
          <p:nvPr>
            <p:custDataLst>
              <p:tags r:id="rId15"/>
            </p:custDataLst>
          </p:nvPr>
        </p:nvSpPr>
        <p:spPr bwMode="gray">
          <a:xfrm>
            <a:off x="1122363" y="4687888"/>
            <a:ext cx="196850" cy="152400"/>
          </a:xfrm>
          <a:prstGeom prst="rect">
            <a:avLst/>
          </a:prstGeom>
          <a:solidFill>
            <a:schemeClr val="accent4"/>
          </a:solidFill>
          <a:ln>
            <a:noFill/>
          </a:ln>
          <a:effectLst/>
        </p:spPr>
        <p:txBody>
          <a:bodyPr vert="horz" wrap="none" lIns="20638" tIns="0" rIns="20638"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B0220433-81F9-4A28-8F34-B3CD0364429C}" type="datetime'''''''''''''''''''''''''''''''''''1''''''''''%'''''">
              <a:rPr kumimoji="0" lang="en-GB" altLang="en-US" sz="1000" b="0" i="0" u="none" strike="noStrike" kern="1200" cap="none" spc="0" normalizeH="0" baseline="0" noProof="0" smtClean="0">
                <a:ln>
                  <a:noFill/>
                </a:ln>
                <a:solidFill>
                  <a:srgbClr val="FFFFFF"/>
                </a:solidFill>
                <a:effectLst/>
                <a:uLnTx/>
                <a:uFillTx/>
                <a:latin typeface="Calibri"/>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1%</a:t>
            </a:fld>
            <a:endParaRPr kumimoji="0" lang="en-GB" sz="1000" b="0" i="0" u="none" strike="noStrike" kern="1200" cap="none" spc="0" normalizeH="0" baseline="0" noProof="0" dirty="0">
              <a:ln>
                <a:noFill/>
              </a:ln>
              <a:solidFill>
                <a:srgbClr val="FFFFFF"/>
              </a:solidFill>
              <a:effectLst/>
              <a:uLnTx/>
              <a:uFillTx/>
              <a:latin typeface="Calibri"/>
              <a:ea typeface="+mn-ea"/>
              <a:cs typeface="Arial"/>
              <a:sym typeface="Arial"/>
            </a:endParaRPr>
          </a:p>
        </p:txBody>
      </p:sp>
      <p:sp>
        <p:nvSpPr>
          <p:cNvPr id="91" name="Text Placeholder 3">
            <a:extLst>
              <a:ext uri="{FF2B5EF4-FFF2-40B4-BE49-F238E27FC236}">
                <a16:creationId xmlns:a16="http://schemas.microsoft.com/office/drawing/2014/main" id="{3F0A8AF7-735E-E200-82F5-988AD5AA3731}"/>
              </a:ext>
            </a:extLst>
          </p:cNvPr>
          <p:cNvSpPr>
            <a:spLocks noGrp="1"/>
          </p:cNvSpPr>
          <p:nvPr>
            <p:custDataLst>
              <p:tags r:id="rId16"/>
            </p:custDataLst>
          </p:nvPr>
        </p:nvSpPr>
        <p:spPr bwMode="auto">
          <a:xfrm>
            <a:off x="1152525" y="4878388"/>
            <a:ext cx="136525" cy="4127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4DC87926-8CD6-4BFB-BB8C-6E4023A359C6}" type="datetime'B''e''l''''''''gi''''''''''''u''m'''''''''''''''''''''''">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Belgium</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106" name="Text Placeholder 3">
            <a:extLst>
              <a:ext uri="{FF2B5EF4-FFF2-40B4-BE49-F238E27FC236}">
                <a16:creationId xmlns:a16="http://schemas.microsoft.com/office/drawing/2014/main" id="{5A6AEC5A-9E06-2726-7798-BFFED4B73E1E}"/>
              </a:ext>
            </a:extLst>
          </p:cNvPr>
          <p:cNvSpPr>
            <a:spLocks noGrp="1"/>
          </p:cNvSpPr>
          <p:nvPr>
            <p:custDataLst>
              <p:tags r:id="rId17"/>
            </p:custDataLst>
          </p:nvPr>
        </p:nvSpPr>
        <p:spPr bwMode="auto">
          <a:xfrm>
            <a:off x="1597025" y="4878388"/>
            <a:ext cx="136525" cy="635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9984062C-5BB9-46AC-A7E1-A880D5AF5500}" type="datetime'''L''''''uxe''''''''''m''''b''o''''''''u''''''''''''r''g'">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Luxembourg</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109" name="Text Placeholder 3">
            <a:extLst>
              <a:ext uri="{FF2B5EF4-FFF2-40B4-BE49-F238E27FC236}">
                <a16:creationId xmlns:a16="http://schemas.microsoft.com/office/drawing/2014/main" id="{A023DE93-1757-3607-4C6F-4BDB0F9FF80C}"/>
              </a:ext>
            </a:extLst>
          </p:cNvPr>
          <p:cNvSpPr>
            <a:spLocks noGrp="1"/>
          </p:cNvSpPr>
          <p:nvPr>
            <p:custDataLst>
              <p:tags r:id="rId18"/>
            </p:custDataLst>
          </p:nvPr>
        </p:nvSpPr>
        <p:spPr bwMode="auto">
          <a:xfrm>
            <a:off x="2041525" y="4878388"/>
            <a:ext cx="136525" cy="355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CFCB43C7-09F4-4E9E-897D-D20AD6485321}" type="datetime'''''''F''''''r''''''''a''''''''n''''''''''''''c''e'''''">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France</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115" name="Text Placeholder 3">
            <a:extLst>
              <a:ext uri="{FF2B5EF4-FFF2-40B4-BE49-F238E27FC236}">
                <a16:creationId xmlns:a16="http://schemas.microsoft.com/office/drawing/2014/main" id="{F19231EF-7BD3-C63F-8370-95604CC08EE8}"/>
              </a:ext>
            </a:extLst>
          </p:cNvPr>
          <p:cNvSpPr>
            <a:spLocks noGrp="1"/>
          </p:cNvSpPr>
          <p:nvPr>
            <p:custDataLst>
              <p:tags r:id="rId19"/>
            </p:custDataLst>
          </p:nvPr>
        </p:nvSpPr>
        <p:spPr bwMode="auto">
          <a:xfrm>
            <a:off x="2486025" y="4878388"/>
            <a:ext cx="136525" cy="349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E68A909C-8527-43E0-B105-34434BD267CE}" type="datetime'''''''Ir''''''el''a''''''''''''''''n''''''''''''''''''''''''d'">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Ireland</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118" name="Text Placeholder 3">
            <a:extLst>
              <a:ext uri="{FF2B5EF4-FFF2-40B4-BE49-F238E27FC236}">
                <a16:creationId xmlns:a16="http://schemas.microsoft.com/office/drawing/2014/main" id="{0D82872E-3465-D762-8F03-35E2AD5B4B58}"/>
              </a:ext>
            </a:extLst>
          </p:cNvPr>
          <p:cNvSpPr>
            <a:spLocks noGrp="1"/>
          </p:cNvSpPr>
          <p:nvPr>
            <p:custDataLst>
              <p:tags r:id="rId20"/>
            </p:custDataLst>
          </p:nvPr>
        </p:nvSpPr>
        <p:spPr bwMode="auto">
          <a:xfrm>
            <a:off x="2930525" y="4878388"/>
            <a:ext cx="136525" cy="615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8B5E8ED5-825B-4DC3-9339-09872458CA75}" type="datetime'''''''Ne''t''''he''''r''''l''''''''''a''''n''''ds'''''">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Netherlands</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1953" name="Text Placeholder 3">
            <a:extLst>
              <a:ext uri="{FF2B5EF4-FFF2-40B4-BE49-F238E27FC236}">
                <a16:creationId xmlns:a16="http://schemas.microsoft.com/office/drawing/2014/main" id="{5C1C773E-9BCA-BCF7-F5A2-BC216BDF0B8E}"/>
              </a:ext>
            </a:extLst>
          </p:cNvPr>
          <p:cNvSpPr>
            <a:spLocks noGrp="1"/>
          </p:cNvSpPr>
          <p:nvPr>
            <p:custDataLst>
              <p:tags r:id="rId21"/>
            </p:custDataLst>
          </p:nvPr>
        </p:nvSpPr>
        <p:spPr bwMode="auto">
          <a:xfrm>
            <a:off x="3375025" y="4878388"/>
            <a:ext cx="136525" cy="361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C6568E1C-6D7B-46A4-9938-7E09281962DD}" type="datetime'''''''''C''y''p''''''r''''''''''''''''''''us'''''''''''''''''">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Cyprus</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121" name="Text Placeholder 3">
            <a:extLst>
              <a:ext uri="{FF2B5EF4-FFF2-40B4-BE49-F238E27FC236}">
                <a16:creationId xmlns:a16="http://schemas.microsoft.com/office/drawing/2014/main" id="{C3E30166-243E-ED2E-4672-BF11369206AA}"/>
              </a:ext>
            </a:extLst>
          </p:cNvPr>
          <p:cNvSpPr>
            <a:spLocks noGrp="1"/>
          </p:cNvSpPr>
          <p:nvPr>
            <p:custDataLst>
              <p:tags r:id="rId22"/>
            </p:custDataLst>
          </p:nvPr>
        </p:nvSpPr>
        <p:spPr bwMode="auto">
          <a:xfrm>
            <a:off x="3821113" y="4878388"/>
            <a:ext cx="1365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0D2C6AA8-253A-408C-8355-CEA982174465}" type="datetime'''''''''L''''''a''''''''''t''''''''v''''''''''''i''''''a'''">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Latvia</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2203" name="Text Placeholder 3">
            <a:extLst>
              <a:ext uri="{FF2B5EF4-FFF2-40B4-BE49-F238E27FC236}">
                <a16:creationId xmlns:a16="http://schemas.microsoft.com/office/drawing/2014/main" id="{A1F912BD-974D-22F5-86AF-0D7A23C4CE0E}"/>
              </a:ext>
            </a:extLst>
          </p:cNvPr>
          <p:cNvSpPr>
            <a:spLocks noGrp="1"/>
          </p:cNvSpPr>
          <p:nvPr>
            <p:custDataLst>
              <p:tags r:id="rId23"/>
            </p:custDataLst>
          </p:nvPr>
        </p:nvSpPr>
        <p:spPr bwMode="gray">
          <a:xfrm>
            <a:off x="4235450" y="4660900"/>
            <a:ext cx="196850" cy="152400"/>
          </a:xfrm>
          <a:prstGeom prst="rect">
            <a:avLst/>
          </a:prstGeom>
          <a:solidFill>
            <a:schemeClr val="accent4"/>
          </a:solidFill>
          <a:ln>
            <a:noFill/>
          </a:ln>
          <a:effectLst/>
        </p:spPr>
        <p:txBody>
          <a:bodyPr vert="horz" wrap="none" lIns="20638" tIns="0" rIns="20638"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D2568AD6-EFA0-4674-8609-90FF90BDE492}" type="datetime'''''''''''3''''%'''''''''''''''''''''''''''''''''''''''''''">
              <a:rPr kumimoji="0" lang="en-GB" altLang="en-US" sz="1000" b="0" i="0" u="none" strike="noStrike" kern="1200" cap="none" spc="0" normalizeH="0" baseline="0" noProof="0" smtClean="0">
                <a:ln>
                  <a:noFill/>
                </a:ln>
                <a:solidFill>
                  <a:srgbClr val="FFFFFF"/>
                </a:solidFill>
                <a:effectLst/>
                <a:uLnTx/>
                <a:uFillTx/>
                <a:latin typeface="Calibri"/>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3%</a:t>
            </a:fld>
            <a:endParaRPr kumimoji="0" lang="en-GB" sz="1000" b="0" i="0" u="none" strike="noStrike" kern="1200" cap="none" spc="0" normalizeH="0" baseline="0" noProof="0" dirty="0">
              <a:ln>
                <a:noFill/>
              </a:ln>
              <a:solidFill>
                <a:srgbClr val="FFFFFF"/>
              </a:solidFill>
              <a:effectLst/>
              <a:uLnTx/>
              <a:uFillTx/>
              <a:latin typeface="Calibri"/>
              <a:ea typeface="+mn-ea"/>
              <a:cs typeface="Arial"/>
              <a:sym typeface="Arial"/>
            </a:endParaRPr>
          </a:p>
        </p:txBody>
      </p:sp>
      <p:sp>
        <p:nvSpPr>
          <p:cNvPr id="1960" name="Text Placeholder 3">
            <a:extLst>
              <a:ext uri="{FF2B5EF4-FFF2-40B4-BE49-F238E27FC236}">
                <a16:creationId xmlns:a16="http://schemas.microsoft.com/office/drawing/2014/main" id="{A3A1AC19-FC39-71E5-11A9-739CAFB4EFEA}"/>
              </a:ext>
            </a:extLst>
          </p:cNvPr>
          <p:cNvSpPr>
            <a:spLocks noGrp="1"/>
          </p:cNvSpPr>
          <p:nvPr>
            <p:custDataLst>
              <p:tags r:id="rId24"/>
            </p:custDataLst>
          </p:nvPr>
        </p:nvSpPr>
        <p:spPr bwMode="auto">
          <a:xfrm>
            <a:off x="4265613" y="4878388"/>
            <a:ext cx="136525" cy="381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8229B947-A100-4851-BFA5-750438B04A27}" type="datetime'E''st''o''''''''''''''''''''''''''''''''''''n''i''''''''''a'">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Estonia</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124" name="Text Placeholder 3">
            <a:extLst>
              <a:ext uri="{FF2B5EF4-FFF2-40B4-BE49-F238E27FC236}">
                <a16:creationId xmlns:a16="http://schemas.microsoft.com/office/drawing/2014/main" id="{12E22DE3-3E51-2F7F-F404-416EC4CBDD65}"/>
              </a:ext>
            </a:extLst>
          </p:cNvPr>
          <p:cNvSpPr>
            <a:spLocks noGrp="1"/>
          </p:cNvSpPr>
          <p:nvPr>
            <p:custDataLst>
              <p:tags r:id="rId25"/>
            </p:custDataLst>
          </p:nvPr>
        </p:nvSpPr>
        <p:spPr bwMode="auto">
          <a:xfrm>
            <a:off x="4710113" y="4878388"/>
            <a:ext cx="136525" cy="2857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B515E555-1453-4183-BE80-F34B0FD8B40B}" type="datetime'''''E''''U''''''''''''''''''24'''''''''''''''''''''''">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EU24</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2209" name="Text Placeholder 3">
            <a:extLst>
              <a:ext uri="{FF2B5EF4-FFF2-40B4-BE49-F238E27FC236}">
                <a16:creationId xmlns:a16="http://schemas.microsoft.com/office/drawing/2014/main" id="{74EF6EB7-1774-E1FB-916F-11C520183D49}"/>
              </a:ext>
            </a:extLst>
          </p:cNvPr>
          <p:cNvSpPr>
            <a:spLocks noGrp="1"/>
          </p:cNvSpPr>
          <p:nvPr>
            <p:custDataLst>
              <p:tags r:id="rId26"/>
            </p:custDataLst>
          </p:nvPr>
        </p:nvSpPr>
        <p:spPr bwMode="gray">
          <a:xfrm>
            <a:off x="5124450" y="4675188"/>
            <a:ext cx="196850" cy="152400"/>
          </a:xfrm>
          <a:prstGeom prst="rect">
            <a:avLst/>
          </a:prstGeom>
          <a:solidFill>
            <a:schemeClr val="accent4"/>
          </a:solidFill>
          <a:ln>
            <a:noFill/>
          </a:ln>
          <a:effectLst/>
        </p:spPr>
        <p:txBody>
          <a:bodyPr vert="horz" wrap="none" lIns="20638" tIns="0" rIns="20638"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E788D326-7A7E-4D83-B9E6-570DEC48392F}" type="datetime'''''''''''''''''''''2''''''''%'''''''''''''''''">
              <a:rPr kumimoji="0" lang="en-GB" altLang="en-US" sz="1000" b="0" i="0" u="none" strike="noStrike" kern="1200" cap="none" spc="0" normalizeH="0" baseline="0" noProof="0" smtClean="0">
                <a:ln>
                  <a:noFill/>
                </a:ln>
                <a:solidFill>
                  <a:srgbClr val="FFFFFF"/>
                </a:solidFill>
                <a:effectLst/>
                <a:uLnTx/>
                <a:uFillTx/>
                <a:latin typeface="Calibri"/>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2%</a:t>
            </a:fld>
            <a:endParaRPr kumimoji="0" lang="en-GB" sz="1000" b="0" i="0" u="none" strike="noStrike" kern="1200" cap="none" spc="0" normalizeH="0" baseline="0" noProof="0" dirty="0">
              <a:ln>
                <a:noFill/>
              </a:ln>
              <a:solidFill>
                <a:srgbClr val="FFFFFF"/>
              </a:solidFill>
              <a:effectLst/>
              <a:uLnTx/>
              <a:uFillTx/>
              <a:latin typeface="Calibri"/>
              <a:ea typeface="+mn-ea"/>
              <a:cs typeface="Arial"/>
              <a:sym typeface="Arial"/>
            </a:endParaRPr>
          </a:p>
        </p:txBody>
      </p:sp>
      <p:sp>
        <p:nvSpPr>
          <p:cNvPr id="514" name="Text Placeholder 3">
            <a:extLst>
              <a:ext uri="{FF2B5EF4-FFF2-40B4-BE49-F238E27FC236}">
                <a16:creationId xmlns:a16="http://schemas.microsoft.com/office/drawing/2014/main" id="{D5F41F3E-5484-3D4C-E147-4FFC1296E92E}"/>
              </a:ext>
            </a:extLst>
          </p:cNvPr>
          <p:cNvSpPr>
            <a:spLocks noGrp="1"/>
          </p:cNvSpPr>
          <p:nvPr>
            <p:custDataLst>
              <p:tags r:id="rId27"/>
            </p:custDataLst>
          </p:nvPr>
        </p:nvSpPr>
        <p:spPr bwMode="auto">
          <a:xfrm>
            <a:off x="5154613" y="4878388"/>
            <a:ext cx="136525" cy="463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03550093-9FB2-4766-8E73-E2F3E1CE5141}" type="datetime'''''''Li''t''''''h''''''''''u''a''''''''''''n''''''''i''a'''">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Lithuania</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2212" name="Text Placeholder 3">
            <a:extLst>
              <a:ext uri="{FF2B5EF4-FFF2-40B4-BE49-F238E27FC236}">
                <a16:creationId xmlns:a16="http://schemas.microsoft.com/office/drawing/2014/main" id="{DC3C0549-9FA5-B9DA-D2A0-1743BDCA385A}"/>
              </a:ext>
            </a:extLst>
          </p:cNvPr>
          <p:cNvSpPr>
            <a:spLocks noGrp="1"/>
          </p:cNvSpPr>
          <p:nvPr>
            <p:custDataLst>
              <p:tags r:id="rId28"/>
            </p:custDataLst>
          </p:nvPr>
        </p:nvSpPr>
        <p:spPr bwMode="gray">
          <a:xfrm>
            <a:off x="5568950" y="4648200"/>
            <a:ext cx="196850" cy="152400"/>
          </a:xfrm>
          <a:prstGeom prst="rect">
            <a:avLst/>
          </a:prstGeom>
          <a:solidFill>
            <a:schemeClr val="accent4"/>
          </a:solidFill>
          <a:ln>
            <a:noFill/>
          </a:ln>
          <a:effectLst/>
        </p:spPr>
        <p:txBody>
          <a:bodyPr vert="horz" wrap="none" lIns="20638" tIns="0" rIns="20638"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B922B59F-0EEA-45A6-8AA6-564741F379B6}" type="datetime'''''''''4''%'''''''''''''''''''''">
              <a:rPr kumimoji="0" lang="en-GB" altLang="en-US" sz="1000" b="0" i="0" u="none" strike="noStrike" kern="1200" cap="none" spc="0" normalizeH="0" baseline="0" noProof="0" smtClean="0">
                <a:ln>
                  <a:noFill/>
                </a:ln>
                <a:solidFill>
                  <a:srgbClr val="FFFFFF"/>
                </a:solidFill>
                <a:effectLst/>
                <a:uLnTx/>
                <a:uFillTx/>
                <a:latin typeface="Calibri"/>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4%</a:t>
            </a:fld>
            <a:endParaRPr kumimoji="0" lang="en-GB" sz="1000" b="0" i="0" u="none" strike="noStrike" kern="1200" cap="none" spc="0" normalizeH="0" baseline="0" noProof="0" dirty="0">
              <a:ln>
                <a:noFill/>
              </a:ln>
              <a:solidFill>
                <a:srgbClr val="FFFFFF"/>
              </a:solidFill>
              <a:effectLst/>
              <a:uLnTx/>
              <a:uFillTx/>
              <a:latin typeface="Calibri"/>
              <a:ea typeface="+mn-ea"/>
              <a:cs typeface="Arial"/>
              <a:sym typeface="Arial"/>
            </a:endParaRPr>
          </a:p>
        </p:txBody>
      </p:sp>
      <p:sp>
        <p:nvSpPr>
          <p:cNvPr id="517" name="Text Placeholder 3">
            <a:extLst>
              <a:ext uri="{FF2B5EF4-FFF2-40B4-BE49-F238E27FC236}">
                <a16:creationId xmlns:a16="http://schemas.microsoft.com/office/drawing/2014/main" id="{8A0490EE-96C1-9062-DF14-F68FB0CECFDE}"/>
              </a:ext>
            </a:extLst>
          </p:cNvPr>
          <p:cNvSpPr>
            <a:spLocks noGrp="1"/>
          </p:cNvSpPr>
          <p:nvPr>
            <p:custDataLst>
              <p:tags r:id="rId29"/>
            </p:custDataLst>
          </p:nvPr>
        </p:nvSpPr>
        <p:spPr bwMode="auto">
          <a:xfrm>
            <a:off x="5599113" y="4878388"/>
            <a:ext cx="13652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0C449E57-47E7-4EBF-9BC3-4A182E00AA72}" type="datetime'''''''''''''''R''''''o''m''''''a''''n''''''i''''''''a'''''''''">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Romania</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1967" name="Text Placeholder 3">
            <a:extLst>
              <a:ext uri="{FF2B5EF4-FFF2-40B4-BE49-F238E27FC236}">
                <a16:creationId xmlns:a16="http://schemas.microsoft.com/office/drawing/2014/main" id="{A1D32391-2C1E-9542-4245-72BAF55B7B23}"/>
              </a:ext>
            </a:extLst>
          </p:cNvPr>
          <p:cNvSpPr>
            <a:spLocks noGrp="1"/>
          </p:cNvSpPr>
          <p:nvPr>
            <p:custDataLst>
              <p:tags r:id="rId30"/>
            </p:custDataLst>
          </p:nvPr>
        </p:nvSpPr>
        <p:spPr bwMode="auto">
          <a:xfrm>
            <a:off x="6043613" y="4878388"/>
            <a:ext cx="136525" cy="279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9C6BDBAC-7A80-4B8F-8DA9-E17E365DDCE9}" type="datetime'M''''''''al''''''''''''''''t''''''''''''a'''''''">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Malta</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1972" name="Text Placeholder 3">
            <a:extLst>
              <a:ext uri="{FF2B5EF4-FFF2-40B4-BE49-F238E27FC236}">
                <a16:creationId xmlns:a16="http://schemas.microsoft.com/office/drawing/2014/main" id="{5452BC5D-DEE1-E839-A1F6-7AFE1C6E3AB2}"/>
              </a:ext>
            </a:extLst>
          </p:cNvPr>
          <p:cNvSpPr>
            <a:spLocks noGrp="1"/>
          </p:cNvSpPr>
          <p:nvPr>
            <p:custDataLst>
              <p:tags r:id="rId31"/>
            </p:custDataLst>
          </p:nvPr>
        </p:nvSpPr>
        <p:spPr bwMode="auto">
          <a:xfrm>
            <a:off x="6488113" y="4878388"/>
            <a:ext cx="136525" cy="463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E73192A9-70D7-423F-A6BA-908B4DBA495B}" type="datetime'''''Den''''m''''''''''''''a''''''''r''''''k'''''''">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Denmark</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1975" name="Text Placeholder 3">
            <a:extLst>
              <a:ext uri="{FF2B5EF4-FFF2-40B4-BE49-F238E27FC236}">
                <a16:creationId xmlns:a16="http://schemas.microsoft.com/office/drawing/2014/main" id="{ED096E7A-FC4B-9AA3-7BCC-0AB34A20446F}"/>
              </a:ext>
            </a:extLst>
          </p:cNvPr>
          <p:cNvSpPr>
            <a:spLocks noGrp="1"/>
          </p:cNvSpPr>
          <p:nvPr>
            <p:custDataLst>
              <p:tags r:id="rId32"/>
            </p:custDataLst>
          </p:nvPr>
        </p:nvSpPr>
        <p:spPr bwMode="auto">
          <a:xfrm>
            <a:off x="6932613" y="4878388"/>
            <a:ext cx="136525" cy="438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B4925491-7DFC-4011-967E-7A7817515E8D}" type="datetime'''''''''''Sl''''ov''''''''en''''''''''''''''''''ia'''''''''">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Slovenia</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2225" name="Text Placeholder 3">
            <a:extLst>
              <a:ext uri="{FF2B5EF4-FFF2-40B4-BE49-F238E27FC236}">
                <a16:creationId xmlns:a16="http://schemas.microsoft.com/office/drawing/2014/main" id="{42124464-D9A0-68E0-98EC-101FB5F4FB40}"/>
              </a:ext>
            </a:extLst>
          </p:cNvPr>
          <p:cNvSpPr>
            <a:spLocks noGrp="1"/>
          </p:cNvSpPr>
          <p:nvPr>
            <p:custDataLst>
              <p:tags r:id="rId33"/>
            </p:custDataLst>
          </p:nvPr>
        </p:nvSpPr>
        <p:spPr bwMode="gray">
          <a:xfrm>
            <a:off x="7346950" y="4648200"/>
            <a:ext cx="196850" cy="152400"/>
          </a:xfrm>
          <a:prstGeom prst="rect">
            <a:avLst/>
          </a:prstGeom>
          <a:solidFill>
            <a:schemeClr val="accent4"/>
          </a:solidFill>
          <a:ln>
            <a:noFill/>
          </a:ln>
          <a:effectLst/>
        </p:spPr>
        <p:txBody>
          <a:bodyPr vert="horz" wrap="none" lIns="20638" tIns="0" rIns="20638"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3E787AC3-0190-47F7-9CCE-994D370746AB}" type="datetime'''4''''''''''''''%'''''''''''''''''''''''''''''''">
              <a:rPr kumimoji="0" lang="en-GB" altLang="en-US" sz="1000" b="0" i="0" u="none" strike="noStrike" kern="1200" cap="none" spc="0" normalizeH="0" baseline="0" noProof="0" smtClean="0">
                <a:ln>
                  <a:noFill/>
                </a:ln>
                <a:solidFill>
                  <a:srgbClr val="FFFFFF"/>
                </a:solidFill>
                <a:effectLst/>
                <a:uLnTx/>
                <a:uFillTx/>
                <a:latin typeface="Calibri"/>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4%</a:t>
            </a:fld>
            <a:endParaRPr kumimoji="0" lang="en-GB" sz="1000" b="0" i="0" u="none" strike="noStrike" kern="1200" cap="none" spc="0" normalizeH="0" baseline="0" noProof="0" dirty="0">
              <a:ln>
                <a:noFill/>
              </a:ln>
              <a:solidFill>
                <a:srgbClr val="FFFFFF"/>
              </a:solidFill>
              <a:effectLst/>
              <a:uLnTx/>
              <a:uFillTx/>
              <a:latin typeface="Calibri"/>
              <a:ea typeface="+mn-ea"/>
              <a:cs typeface="Arial"/>
              <a:sym typeface="Arial"/>
            </a:endParaRPr>
          </a:p>
        </p:txBody>
      </p:sp>
      <p:sp>
        <p:nvSpPr>
          <p:cNvPr id="529" name="Text Placeholder 3">
            <a:extLst>
              <a:ext uri="{FF2B5EF4-FFF2-40B4-BE49-F238E27FC236}">
                <a16:creationId xmlns:a16="http://schemas.microsoft.com/office/drawing/2014/main" id="{260811F7-BE23-4407-9085-391FC544A9E2}"/>
              </a:ext>
            </a:extLst>
          </p:cNvPr>
          <p:cNvSpPr>
            <a:spLocks noGrp="1"/>
          </p:cNvSpPr>
          <p:nvPr>
            <p:custDataLst>
              <p:tags r:id="rId34"/>
            </p:custDataLst>
          </p:nvPr>
        </p:nvSpPr>
        <p:spPr bwMode="auto">
          <a:xfrm>
            <a:off x="7377113" y="4878388"/>
            <a:ext cx="136525"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058916D9-D8DF-46D5-ABBA-F65241CAFFBD}" type="datetime'''''I''''''''''''t''''''''''''''a''''''l''y'''''''''''">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Italy</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532" name="Text Placeholder 3">
            <a:extLst>
              <a:ext uri="{FF2B5EF4-FFF2-40B4-BE49-F238E27FC236}">
                <a16:creationId xmlns:a16="http://schemas.microsoft.com/office/drawing/2014/main" id="{736FA9A1-4D9A-928F-69F6-4F21B032A398}"/>
              </a:ext>
            </a:extLst>
          </p:cNvPr>
          <p:cNvSpPr>
            <a:spLocks noGrp="1"/>
          </p:cNvSpPr>
          <p:nvPr>
            <p:custDataLst>
              <p:tags r:id="rId35"/>
            </p:custDataLst>
          </p:nvPr>
        </p:nvSpPr>
        <p:spPr bwMode="auto">
          <a:xfrm>
            <a:off x="7821613" y="4878388"/>
            <a:ext cx="136525"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F2B77DB0-310E-4766-8B03-B1F30F559547}" type="datetime'C''r''''''''''''o''''''a''''''t''''''''i''''''''a'''">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Croatia</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2019" name="Text Placeholder 3">
            <a:extLst>
              <a:ext uri="{FF2B5EF4-FFF2-40B4-BE49-F238E27FC236}">
                <a16:creationId xmlns:a16="http://schemas.microsoft.com/office/drawing/2014/main" id="{DA690DA1-3416-7108-8178-AF012C51BB80}"/>
              </a:ext>
            </a:extLst>
          </p:cNvPr>
          <p:cNvSpPr>
            <a:spLocks noGrp="1"/>
          </p:cNvSpPr>
          <p:nvPr>
            <p:custDataLst>
              <p:tags r:id="rId36"/>
            </p:custDataLst>
          </p:nvPr>
        </p:nvSpPr>
        <p:spPr bwMode="gray">
          <a:xfrm>
            <a:off x="677863" y="4660900"/>
            <a:ext cx="196850" cy="152400"/>
          </a:xfrm>
          <a:prstGeom prst="rect">
            <a:avLst/>
          </a:prstGeom>
          <a:solidFill>
            <a:schemeClr val="accent4"/>
          </a:solidFill>
          <a:ln>
            <a:noFill/>
          </a:ln>
          <a:effectLst/>
        </p:spPr>
        <p:txBody>
          <a:bodyPr vert="horz" wrap="none" lIns="20638" tIns="0" rIns="20638"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80B3EE27-C637-41A8-9FC4-051F691E71A9}" type="datetime'''''''''''''''''3''''''''''''''''''''''''''''''''%'">
              <a:rPr kumimoji="0" lang="en-GB" altLang="en-US" sz="1000" b="0" i="0" u="none" strike="noStrike" kern="1200" cap="none" spc="0" normalizeH="0" baseline="0" noProof="0" smtClean="0">
                <a:ln>
                  <a:noFill/>
                </a:ln>
                <a:solidFill>
                  <a:srgbClr val="FFFFFF"/>
                </a:solidFill>
                <a:effectLst/>
                <a:uLnTx/>
                <a:uFillTx/>
                <a:latin typeface="Calibri"/>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3%</a:t>
            </a:fld>
            <a:endParaRPr kumimoji="0" lang="en-GB" sz="1000" b="0" i="0" u="none" strike="noStrike" kern="1200" cap="none" spc="0" normalizeH="0" baseline="0" noProof="0" dirty="0">
              <a:ln>
                <a:noFill/>
              </a:ln>
              <a:solidFill>
                <a:srgbClr val="FFFFFF"/>
              </a:solidFill>
              <a:effectLst/>
              <a:uLnTx/>
              <a:uFillTx/>
              <a:latin typeface="Calibri"/>
              <a:ea typeface="+mn-ea"/>
              <a:cs typeface="Arial"/>
              <a:sym typeface="Arial"/>
            </a:endParaRPr>
          </a:p>
        </p:txBody>
      </p:sp>
      <p:sp>
        <p:nvSpPr>
          <p:cNvPr id="535" name="Text Placeholder 3">
            <a:extLst>
              <a:ext uri="{FF2B5EF4-FFF2-40B4-BE49-F238E27FC236}">
                <a16:creationId xmlns:a16="http://schemas.microsoft.com/office/drawing/2014/main" id="{B65FFEEE-F373-406D-A126-C643A10A8A8B}"/>
              </a:ext>
            </a:extLst>
          </p:cNvPr>
          <p:cNvSpPr>
            <a:spLocks noGrp="1"/>
          </p:cNvSpPr>
          <p:nvPr>
            <p:custDataLst>
              <p:tags r:id="rId37"/>
            </p:custDataLst>
          </p:nvPr>
        </p:nvSpPr>
        <p:spPr bwMode="auto">
          <a:xfrm>
            <a:off x="8266113" y="4878388"/>
            <a:ext cx="136525" cy="800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BF4FD404-AC7A-4AFC-8BA8-2B7FC13D09D8}" type="datetime'''''''''Cz''ec''h'' ''Re''''pu''''''''bl''''''''''''''ic'">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Czech Republic</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1980" name="Text Placeholder 3">
            <a:extLst>
              <a:ext uri="{FF2B5EF4-FFF2-40B4-BE49-F238E27FC236}">
                <a16:creationId xmlns:a16="http://schemas.microsoft.com/office/drawing/2014/main" id="{712348EA-55EF-E123-A973-58E026AC8B38}"/>
              </a:ext>
            </a:extLst>
          </p:cNvPr>
          <p:cNvSpPr>
            <a:spLocks noGrp="1"/>
          </p:cNvSpPr>
          <p:nvPr>
            <p:custDataLst>
              <p:tags r:id="rId38"/>
            </p:custDataLst>
          </p:nvPr>
        </p:nvSpPr>
        <p:spPr bwMode="auto">
          <a:xfrm>
            <a:off x="8710613" y="4878388"/>
            <a:ext cx="136525" cy="4699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3157EAA9-CB73-4B0D-ACAD-BA4564CFBF69}" type="datetime'G''''e''''r''''''''''m''''''''''''''''a''''n''''''''y'''">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Germany</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541" name="Text Placeholder 3">
            <a:extLst>
              <a:ext uri="{FF2B5EF4-FFF2-40B4-BE49-F238E27FC236}">
                <a16:creationId xmlns:a16="http://schemas.microsoft.com/office/drawing/2014/main" id="{4B855FCA-6DA9-F1F0-C368-9408530820F3}"/>
              </a:ext>
            </a:extLst>
          </p:cNvPr>
          <p:cNvSpPr>
            <a:spLocks noGrp="1"/>
          </p:cNvSpPr>
          <p:nvPr>
            <p:custDataLst>
              <p:tags r:id="rId39"/>
            </p:custDataLst>
          </p:nvPr>
        </p:nvSpPr>
        <p:spPr bwMode="auto">
          <a:xfrm>
            <a:off x="9156700" y="4878388"/>
            <a:ext cx="136525" cy="4127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CB5B7C8D-274D-47B0-B971-4A513C6DB7A5}" type="datetime'S''''''''''''w''e''''''''''''''''''''''''''''''de''n'">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Sweden</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544" name="Text Placeholder 3">
            <a:extLst>
              <a:ext uri="{FF2B5EF4-FFF2-40B4-BE49-F238E27FC236}">
                <a16:creationId xmlns:a16="http://schemas.microsoft.com/office/drawing/2014/main" id="{E19A430C-7328-C51D-4611-313E4DFB2747}"/>
              </a:ext>
            </a:extLst>
          </p:cNvPr>
          <p:cNvSpPr>
            <a:spLocks noGrp="1"/>
          </p:cNvSpPr>
          <p:nvPr>
            <p:custDataLst>
              <p:tags r:id="rId40"/>
            </p:custDataLst>
          </p:nvPr>
        </p:nvSpPr>
        <p:spPr bwMode="auto">
          <a:xfrm>
            <a:off x="9601200" y="4878388"/>
            <a:ext cx="136525" cy="355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89D449EE-831B-4C84-A3C5-172C455E6C9A}" type="datetime'''Au''''''''s''''''t''''r''''''''i''''''''''''''''''''''''a'''">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Austria</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2231" name="Text Placeholder 3">
            <a:extLst>
              <a:ext uri="{FF2B5EF4-FFF2-40B4-BE49-F238E27FC236}">
                <a16:creationId xmlns:a16="http://schemas.microsoft.com/office/drawing/2014/main" id="{42124464-D9A0-68E0-98EC-101FB5F4FB40}"/>
              </a:ext>
            </a:extLst>
          </p:cNvPr>
          <p:cNvSpPr>
            <a:spLocks noGrp="1"/>
          </p:cNvSpPr>
          <p:nvPr>
            <p:custDataLst>
              <p:tags r:id="rId41"/>
            </p:custDataLst>
          </p:nvPr>
        </p:nvSpPr>
        <p:spPr bwMode="gray">
          <a:xfrm>
            <a:off x="8235950" y="4660900"/>
            <a:ext cx="196850" cy="152400"/>
          </a:xfrm>
          <a:prstGeom prst="rect">
            <a:avLst/>
          </a:prstGeom>
          <a:solidFill>
            <a:schemeClr val="accent4"/>
          </a:solidFill>
          <a:ln>
            <a:noFill/>
          </a:ln>
          <a:effectLst/>
        </p:spPr>
        <p:txBody>
          <a:bodyPr vert="horz" wrap="none" lIns="20638" tIns="0" rIns="20638"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91968E18-CC39-403B-8786-E7E9F1106B87}" type="datetime'''''''3''''''''''%'''''''''''''''''''''''''''''''''''">
              <a:rPr kumimoji="0" lang="en-GB" altLang="en-US" sz="1000" b="0" i="0" u="none" strike="noStrike" kern="1200" cap="none" spc="0" normalizeH="0" baseline="0" noProof="0" smtClean="0">
                <a:ln>
                  <a:noFill/>
                </a:ln>
                <a:solidFill>
                  <a:srgbClr val="FFFFFF"/>
                </a:solidFill>
                <a:effectLst/>
                <a:uLnTx/>
                <a:uFillTx/>
                <a:latin typeface="Calibri"/>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3%</a:t>
            </a:fld>
            <a:endParaRPr kumimoji="0" lang="en-GB" sz="1000" b="0" i="0" u="none" strike="noStrike" kern="1200" cap="none" spc="0" normalizeH="0" baseline="0" noProof="0" dirty="0">
              <a:ln>
                <a:noFill/>
              </a:ln>
              <a:solidFill>
                <a:srgbClr val="FFFFFF"/>
              </a:solidFill>
              <a:effectLst/>
              <a:uLnTx/>
              <a:uFillTx/>
              <a:latin typeface="Calibri"/>
              <a:ea typeface="+mn-ea"/>
              <a:cs typeface="Arial"/>
              <a:sym typeface="Arial"/>
            </a:endParaRPr>
          </a:p>
        </p:txBody>
      </p:sp>
      <p:sp>
        <p:nvSpPr>
          <p:cNvPr id="548" name="Text Placeholder 3">
            <a:extLst>
              <a:ext uri="{FF2B5EF4-FFF2-40B4-BE49-F238E27FC236}">
                <a16:creationId xmlns:a16="http://schemas.microsoft.com/office/drawing/2014/main" id="{93C31EEC-9CEB-7AAB-9820-4E819D6345D8}"/>
              </a:ext>
            </a:extLst>
          </p:cNvPr>
          <p:cNvSpPr>
            <a:spLocks noGrp="1"/>
          </p:cNvSpPr>
          <p:nvPr>
            <p:custDataLst>
              <p:tags r:id="rId42"/>
            </p:custDataLst>
          </p:nvPr>
        </p:nvSpPr>
        <p:spPr bwMode="auto">
          <a:xfrm>
            <a:off x="10045700" y="4878388"/>
            <a:ext cx="136525" cy="419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7F793D31-3D9D-48C2-90CB-E3E6056EBEE5}" type="datetime'''''''''B''ul''''g''a''''''''''''''''r''''i''''''''a'''">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Bulgaria</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551" name="Text Placeholder 3">
            <a:extLst>
              <a:ext uri="{FF2B5EF4-FFF2-40B4-BE49-F238E27FC236}">
                <a16:creationId xmlns:a16="http://schemas.microsoft.com/office/drawing/2014/main" id="{7EE0FFDB-2B3F-85D6-8B76-CF4DC8A44E07}"/>
              </a:ext>
            </a:extLst>
          </p:cNvPr>
          <p:cNvSpPr>
            <a:spLocks noGrp="1"/>
          </p:cNvSpPr>
          <p:nvPr>
            <p:custDataLst>
              <p:tags r:id="rId43"/>
            </p:custDataLst>
          </p:nvPr>
        </p:nvSpPr>
        <p:spPr bwMode="auto">
          <a:xfrm>
            <a:off x="10490200" y="4878388"/>
            <a:ext cx="136525" cy="431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1E9A18DB-BF91-474A-A1E9-26D28EEA1AC4}" type="datetime'''H''''''''''''''''''u''''''''''''''ng''''a''''''''r''y'''''">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Hungary</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554" name="Text Placeholder 3">
            <a:extLst>
              <a:ext uri="{FF2B5EF4-FFF2-40B4-BE49-F238E27FC236}">
                <a16:creationId xmlns:a16="http://schemas.microsoft.com/office/drawing/2014/main" id="{6E197033-19A6-0FC4-B8E2-1EB6E257B6C4}"/>
              </a:ext>
            </a:extLst>
          </p:cNvPr>
          <p:cNvSpPr>
            <a:spLocks noGrp="1"/>
          </p:cNvSpPr>
          <p:nvPr>
            <p:custDataLst>
              <p:tags r:id="rId44"/>
            </p:custDataLst>
          </p:nvPr>
        </p:nvSpPr>
        <p:spPr bwMode="auto">
          <a:xfrm>
            <a:off x="10934700" y="4878388"/>
            <a:ext cx="136525" cy="355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1990C5B7-8F8E-4C98-910A-FAFEE41199DD}" type="datetime'''''''P''''o''''''''l''''a''''''''''''n''''''d'''''''''''''">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Poland</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557" name="Text Placeholder 3">
            <a:extLst>
              <a:ext uri="{FF2B5EF4-FFF2-40B4-BE49-F238E27FC236}">
                <a16:creationId xmlns:a16="http://schemas.microsoft.com/office/drawing/2014/main" id="{E2BB29BB-A14E-69E1-C1AE-C3339B87829D}"/>
              </a:ext>
            </a:extLst>
          </p:cNvPr>
          <p:cNvSpPr>
            <a:spLocks noGrp="1"/>
          </p:cNvSpPr>
          <p:nvPr>
            <p:custDataLst>
              <p:tags r:id="rId45"/>
            </p:custDataLst>
          </p:nvPr>
        </p:nvSpPr>
        <p:spPr bwMode="auto">
          <a:xfrm>
            <a:off x="11379200" y="4878388"/>
            <a:ext cx="136525" cy="374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fld id="{5D921B47-6A4C-4608-A9AA-A28DA6F97EC9}" type="datetime'''''''''''''G''''r''''''''ee''c''''''''''''e'''''''''''">
              <a:rPr kumimoji="0" lang="en-GB" altLang="en-US" sz="9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ct val="0"/>
                </a:spcBef>
                <a:spcAft>
                  <a:spcPct val="0"/>
                </a:spcAft>
                <a:buClr>
                  <a:srgbClr val="000000"/>
                </a:buClr>
                <a:buSzTx/>
                <a:buFont typeface="Arial"/>
                <a:buNone/>
                <a:tabLst/>
                <a:defRPr/>
              </a:pPr>
              <a:t>Greece</a:t>
            </a:fld>
            <a:endParaRPr kumimoji="0" lang="en-GB"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panose="020B0604020202020204" pitchFamily="34" charset="0"/>
            </a:endParaRPr>
          </a:p>
        </p:txBody>
      </p:sp>
      <p:sp>
        <p:nvSpPr>
          <p:cNvPr id="2242" name="Text Placeholder 3">
            <a:extLst>
              <a:ext uri="{FF2B5EF4-FFF2-40B4-BE49-F238E27FC236}">
                <a16:creationId xmlns:a16="http://schemas.microsoft.com/office/drawing/2014/main" id="{461F78A6-376F-AD6E-0D04-80BD47ECDCA8}"/>
              </a:ext>
            </a:extLst>
          </p:cNvPr>
          <p:cNvSpPr>
            <a:spLocks noGrp="1"/>
          </p:cNvSpPr>
          <p:nvPr>
            <p:custDataLst>
              <p:tags r:id="rId46"/>
            </p:custDataLst>
          </p:nvPr>
        </p:nvSpPr>
        <p:spPr bwMode="gray">
          <a:xfrm>
            <a:off x="10015538" y="4687888"/>
            <a:ext cx="196850" cy="152400"/>
          </a:xfrm>
          <a:prstGeom prst="rect">
            <a:avLst/>
          </a:prstGeom>
          <a:solidFill>
            <a:schemeClr val="accent4"/>
          </a:solidFill>
          <a:ln>
            <a:noFill/>
          </a:ln>
          <a:effectLst/>
        </p:spPr>
        <p:txBody>
          <a:bodyPr vert="horz" wrap="none" lIns="20638" tIns="0" rIns="20638"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EE4DC93E-4601-44C0-BE87-7B9E40D8FFEF}" type="datetime'''''''''''''''''''''''1''''''''''''''''''%'''''''">
              <a:rPr kumimoji="0" lang="en-GB" altLang="en-US" sz="1000" b="0" i="0" u="none" strike="noStrike" kern="1200" cap="none" spc="0" normalizeH="0" baseline="0" noProof="0" smtClean="0">
                <a:ln>
                  <a:noFill/>
                </a:ln>
                <a:solidFill>
                  <a:srgbClr val="FFFFFF"/>
                </a:solidFill>
                <a:effectLst/>
                <a:uLnTx/>
                <a:uFillTx/>
                <a:latin typeface="Calibri"/>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1%</a:t>
            </a:fld>
            <a:endParaRPr kumimoji="0" lang="en-GB" sz="1000" b="0" i="0" u="none" strike="noStrike" kern="1200" cap="none" spc="0" normalizeH="0" baseline="0" noProof="0" dirty="0">
              <a:ln>
                <a:noFill/>
              </a:ln>
              <a:solidFill>
                <a:srgbClr val="FFFFFF"/>
              </a:solidFill>
              <a:effectLst/>
              <a:uLnTx/>
              <a:uFillTx/>
              <a:latin typeface="Calibri"/>
              <a:ea typeface="+mn-ea"/>
              <a:cs typeface="Arial"/>
              <a:sym typeface="Arial"/>
            </a:endParaRPr>
          </a:p>
        </p:txBody>
      </p:sp>
      <p:sp>
        <p:nvSpPr>
          <p:cNvPr id="546" name="Footer Placeholder 3">
            <a:extLst>
              <a:ext uri="{FF2B5EF4-FFF2-40B4-BE49-F238E27FC236}">
                <a16:creationId xmlns:a16="http://schemas.microsoft.com/office/drawing/2014/main" id="{7A66BCF1-9B17-ACC7-ADFB-F0CF03E1B3EB}"/>
              </a:ext>
            </a:extLst>
          </p:cNvPr>
          <p:cNvSpPr>
            <a:spLocks noGrp="1"/>
          </p:cNvSpPr>
          <p:nvPr>
            <p:ph type="ftr" sz="quarter" idx="3"/>
          </p:nvPr>
        </p:nvSpPr>
        <p:spPr>
          <a:xfrm>
            <a:off x="938349" y="6143625"/>
            <a:ext cx="10315303" cy="635000"/>
          </a:xfrm>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900" b="0" i="0" u="none" strike="noStrike" kern="0" cap="none" spc="0" normalizeH="0" baseline="0" noProof="0" dirty="0">
                <a:ln>
                  <a:noFill/>
                </a:ln>
                <a:solidFill>
                  <a:srgbClr val="000000"/>
                </a:solidFill>
                <a:effectLst/>
                <a:uLnTx/>
                <a:uFillTx/>
                <a:latin typeface="Calibri"/>
                <a:cs typeface="Arial"/>
                <a:sym typeface="Arial"/>
              </a:rPr>
              <a:t>Σημείωση</a:t>
            </a:r>
            <a:r>
              <a:rPr kumimoji="0" lang="en-US" sz="900" b="0" i="0" u="none" strike="noStrike" kern="0" cap="none" spc="0" normalizeH="0" baseline="30000" noProof="0" dirty="0">
                <a:ln>
                  <a:noFill/>
                </a:ln>
                <a:solidFill>
                  <a:srgbClr val="000000"/>
                </a:solidFill>
                <a:effectLst/>
                <a:uLnTx/>
                <a:uFillTx/>
                <a:latin typeface="Calibri"/>
                <a:cs typeface="Arial"/>
                <a:sym typeface="Arial"/>
              </a:rPr>
              <a:t>1</a:t>
            </a:r>
            <a:r>
              <a:rPr kumimoji="0" lang="en-US" sz="900" b="0" i="0" u="none" strike="noStrike" kern="0" cap="none" spc="0" normalizeH="0" baseline="0" noProof="0" dirty="0">
                <a:ln>
                  <a:noFill/>
                </a:ln>
                <a:solidFill>
                  <a:srgbClr val="000000"/>
                </a:solidFill>
                <a:effectLst/>
                <a:uLnTx/>
                <a:uFillTx/>
                <a:latin typeface="Calibri"/>
                <a:cs typeface="Arial"/>
                <a:sym typeface="Arial"/>
              </a:rPr>
              <a:t>: </a:t>
            </a:r>
            <a:r>
              <a:rPr kumimoji="0" lang="el-GR" sz="900" b="0" i="0" u="none" strike="noStrike" kern="0" cap="none" spc="0" normalizeH="0" baseline="0" noProof="0" dirty="0">
                <a:ln>
                  <a:noFill/>
                </a:ln>
                <a:solidFill>
                  <a:srgbClr val="000000"/>
                </a:solidFill>
                <a:effectLst/>
                <a:uLnTx/>
                <a:uFillTx/>
                <a:latin typeface="Calibri"/>
                <a:cs typeface="Arial"/>
                <a:sym typeface="Arial"/>
              </a:rPr>
              <a:t>Περιλαμβάνει μη ειδικούς γιατρούς που εργάζονται σε νοσοκομεία και πρόσφατους πτυχιούχους ιατρικής που δεν έχουν ακόμη ξεκινήσει μεταπτυχιακή εκπαίδευση ειδικότητας</a:t>
            </a:r>
            <a:endParaRPr kumimoji="0" lang="en-US" sz="900" b="0" i="0" u="none" strike="noStrike" kern="0" cap="none" spc="0" normalizeH="0" baseline="0" noProof="0" dirty="0">
              <a:ln>
                <a:noFill/>
              </a:ln>
              <a:solidFill>
                <a:srgbClr val="000000"/>
              </a:solidFill>
              <a:effectLst/>
              <a:uLnTx/>
              <a:uFillTx/>
              <a:latin typeface="Calibri"/>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900" b="0" i="0" u="none" strike="noStrike" kern="0" cap="none" spc="0" normalizeH="0" baseline="0" noProof="0" dirty="0">
                <a:ln>
                  <a:noFill/>
                </a:ln>
                <a:solidFill>
                  <a:srgbClr val="000000"/>
                </a:solidFill>
                <a:effectLst/>
                <a:uLnTx/>
                <a:uFillTx/>
                <a:latin typeface="Calibri"/>
                <a:cs typeface="Arial"/>
                <a:sym typeface="Arial"/>
              </a:rPr>
              <a:t>Σημείωση</a:t>
            </a:r>
            <a:r>
              <a:rPr kumimoji="0" lang="en-US" sz="900" b="0" i="0" u="none" strike="noStrike" kern="0" cap="none" spc="0" normalizeH="0" baseline="30000" noProof="0" dirty="0">
                <a:ln>
                  <a:noFill/>
                </a:ln>
                <a:solidFill>
                  <a:srgbClr val="000000"/>
                </a:solidFill>
                <a:effectLst/>
                <a:uLnTx/>
                <a:uFillTx/>
                <a:latin typeface="Calibri"/>
                <a:cs typeface="Arial"/>
                <a:sym typeface="Arial"/>
              </a:rPr>
              <a:t>2</a:t>
            </a:r>
            <a:r>
              <a:rPr kumimoji="0" lang="en-US" sz="900" b="0" i="0" u="none" strike="noStrike" kern="0" cap="none" spc="0" normalizeH="0" baseline="0" noProof="0" dirty="0">
                <a:ln>
                  <a:noFill/>
                </a:ln>
                <a:solidFill>
                  <a:srgbClr val="000000"/>
                </a:solidFill>
                <a:effectLst/>
                <a:uLnTx/>
                <a:uFillTx/>
                <a:latin typeface="Calibri"/>
                <a:cs typeface="Arial"/>
                <a:sym typeface="Arial"/>
              </a:rPr>
              <a:t>: </a:t>
            </a:r>
            <a:r>
              <a:rPr kumimoji="0" lang="el-GR" sz="900" b="0" i="0" u="none" strike="noStrike" kern="0" cap="none" spc="0" normalizeH="0" baseline="0" noProof="0" dirty="0">
                <a:ln>
                  <a:noFill/>
                </a:ln>
                <a:solidFill>
                  <a:srgbClr val="000000"/>
                </a:solidFill>
                <a:effectLst/>
                <a:uLnTx/>
                <a:uFillTx/>
                <a:latin typeface="Calibri"/>
                <a:cs typeface="Arial"/>
                <a:sym typeface="Arial"/>
              </a:rPr>
              <a:t>Στην Πορτογαλία, μόνο το 30% περίπου των γιατρών που απασχολούνται στο δημόσιο τομέα εργάζονται ως γενικοί γιατροί στην πρωτοβάθμια περίθαλψη – το υπόλοιπο 70% εργάζεται σε νοσοκομεία</a:t>
            </a:r>
            <a:endParaRPr kumimoji="0" lang="en-US" sz="900" b="0" i="0" u="none" strike="noStrike" kern="0" cap="none" spc="0" normalizeH="0" baseline="0" noProof="0" dirty="0">
              <a:ln>
                <a:noFill/>
              </a:ln>
              <a:solidFill>
                <a:srgbClr val="000000"/>
              </a:solidFill>
              <a:effectLst/>
              <a:uLnTx/>
              <a:uFillTx/>
              <a:latin typeface="Calibri"/>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900" b="0" i="0" u="none" strike="noStrike" kern="0" cap="none" spc="0" normalizeH="0" baseline="0" noProof="0" dirty="0">
                <a:ln>
                  <a:noFill/>
                </a:ln>
                <a:solidFill>
                  <a:srgbClr val="000000"/>
                </a:solidFill>
                <a:effectLst/>
                <a:uLnTx/>
                <a:uFillTx/>
                <a:latin typeface="Calibri"/>
                <a:cs typeface="Arial"/>
                <a:sym typeface="Arial"/>
              </a:rPr>
              <a:t>Σημείωση</a:t>
            </a:r>
            <a:r>
              <a:rPr kumimoji="0" lang="el-GR" sz="900" b="0" i="0" u="none" strike="noStrike" kern="0" cap="none" spc="0" normalizeH="0" baseline="30000" noProof="0" dirty="0">
                <a:ln>
                  <a:noFill/>
                </a:ln>
                <a:solidFill>
                  <a:srgbClr val="000000"/>
                </a:solidFill>
                <a:effectLst/>
                <a:uLnTx/>
                <a:uFillTx/>
                <a:latin typeface="Calibri"/>
                <a:cs typeface="Arial"/>
                <a:sym typeface="Arial"/>
              </a:rPr>
              <a:t>3</a:t>
            </a:r>
            <a:r>
              <a:rPr kumimoji="0" lang="el-GR" sz="900" b="0" i="0" u="none" strike="noStrike" kern="0" cap="none" spc="0" normalizeH="0" baseline="0" noProof="0" dirty="0">
                <a:ln>
                  <a:noFill/>
                </a:ln>
                <a:solidFill>
                  <a:srgbClr val="000000"/>
                </a:solidFill>
                <a:effectLst/>
                <a:uLnTx/>
                <a:uFillTx/>
                <a:latin typeface="Calibri"/>
                <a:cs typeface="Arial"/>
                <a:sym typeface="Arial"/>
              </a:rPr>
              <a:t>: Ο μέσος όρος της ΕΕ είναι μη σταθμισμένος</a:t>
            </a:r>
            <a:endParaRPr kumimoji="0" lang="en-US" sz="900" b="0" i="0" u="none" strike="noStrike" kern="0" cap="none" spc="0" normalizeH="0" baseline="0" noProof="0" dirty="0">
              <a:ln>
                <a:noFill/>
              </a:ln>
              <a:solidFill>
                <a:srgbClr val="000000"/>
              </a:solidFill>
              <a:effectLst/>
              <a:uLnTx/>
              <a:uFillTx/>
              <a:latin typeface="Calibri"/>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900" b="0" i="0" u="none" strike="noStrike" kern="0" cap="none" spc="0" normalizeH="0" baseline="0" noProof="0" dirty="0">
                <a:ln>
                  <a:noFill/>
                </a:ln>
                <a:solidFill>
                  <a:srgbClr val="000000"/>
                </a:solidFill>
                <a:effectLst/>
                <a:uLnTx/>
                <a:uFillTx/>
                <a:latin typeface="Calibri"/>
                <a:cs typeface="Arial"/>
                <a:sym typeface="Arial"/>
              </a:rPr>
              <a:t>Πηγή</a:t>
            </a:r>
            <a:r>
              <a:rPr kumimoji="0" lang="en-US" sz="900" b="0" i="0" u="none" strike="noStrike" kern="0" cap="none" spc="0" normalizeH="0" baseline="0" noProof="0" dirty="0">
                <a:ln>
                  <a:noFill/>
                </a:ln>
                <a:solidFill>
                  <a:srgbClr val="000000"/>
                </a:solidFill>
                <a:effectLst/>
                <a:uLnTx/>
                <a:uFillTx/>
                <a:latin typeface="Calibri"/>
                <a:cs typeface="Arial"/>
                <a:sym typeface="Arial"/>
              </a:rPr>
              <a:t>: Health at a Glance: Europe 2022</a:t>
            </a:r>
            <a:endParaRPr kumimoji="0" lang="en-US" sz="900" b="0" i="1" u="none" strike="noStrike" kern="0" cap="none" spc="0" normalizeH="0" baseline="0" noProof="0" dirty="0">
              <a:ln>
                <a:noFill/>
              </a:ln>
              <a:solidFill>
                <a:srgbClr val="000000"/>
              </a:solidFill>
              <a:effectLst/>
              <a:uLnTx/>
              <a:uFillTx/>
              <a:latin typeface="Calibri"/>
              <a:cs typeface="Arial"/>
              <a:sym typeface="Arial"/>
            </a:endParaRPr>
          </a:p>
        </p:txBody>
      </p:sp>
      <p:sp>
        <p:nvSpPr>
          <p:cNvPr id="319" name="Google Shape;322;p30">
            <a:extLst>
              <a:ext uri="{FF2B5EF4-FFF2-40B4-BE49-F238E27FC236}">
                <a16:creationId xmlns:a16="http://schemas.microsoft.com/office/drawing/2014/main" id="{15D0469D-C9E8-5D15-9263-9B22A90A459E}"/>
              </a:ext>
            </a:extLst>
          </p:cNvPr>
          <p:cNvSpPr/>
          <p:nvPr/>
        </p:nvSpPr>
        <p:spPr>
          <a:xfrm rot="5400000">
            <a:off x="9784983" y="3435112"/>
            <a:ext cx="3342778" cy="369276"/>
          </a:xfrm>
          <a:prstGeom prst="rect">
            <a:avLst/>
          </a:prstGeom>
          <a:noFill/>
          <a:ln w="19050" cap="flat" cmpd="sng">
            <a:solidFill>
              <a:srgbClr val="FF0000"/>
            </a:solidFill>
            <a:prstDash val="dash"/>
            <a:round/>
            <a:headEnd type="none" w="sm" len="sm"/>
            <a:tailEnd type="none" w="sm" len="sm"/>
          </a:ln>
        </p:spPr>
        <p:txBody>
          <a:bodyPr spcFirstLastPara="1" wrap="square" lIns="91425" tIns="468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400" b="0" i="0" u="none" strike="noStrike" kern="0" cap="none" spc="0" normalizeH="0" baseline="0" noProof="0" dirty="0">
              <a:ln>
                <a:noFill/>
              </a:ln>
              <a:solidFill>
                <a:srgbClr val="FF0000"/>
              </a:solidFill>
              <a:effectLst/>
              <a:uLnTx/>
              <a:uFillTx/>
              <a:latin typeface="Arial"/>
              <a:ea typeface="Arial"/>
              <a:cs typeface="Arial"/>
              <a:sym typeface="Arial"/>
            </a:endParaRPr>
          </a:p>
        </p:txBody>
      </p:sp>
      <p:sp>
        <p:nvSpPr>
          <p:cNvPr id="1573" name="Rectangle 1572">
            <a:extLst>
              <a:ext uri="{FF2B5EF4-FFF2-40B4-BE49-F238E27FC236}">
                <a16:creationId xmlns:a16="http://schemas.microsoft.com/office/drawing/2014/main" id="{323AF891-B033-8C7F-55F1-0E22BDE172A6}"/>
              </a:ext>
            </a:extLst>
          </p:cNvPr>
          <p:cNvSpPr/>
          <p:nvPr>
            <p:custDataLst>
              <p:tags r:id="rId47"/>
            </p:custDataLst>
          </p:nvPr>
        </p:nvSpPr>
        <p:spPr bwMode="auto">
          <a:xfrm>
            <a:off x="3968750" y="5767388"/>
            <a:ext cx="179388" cy="133350"/>
          </a:xfrm>
          <a:prstGeom prst="rect">
            <a:avLst/>
          </a:prstGeom>
          <a:solidFill>
            <a:srgbClr val="175C2C"/>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Calibri"/>
              <a:ea typeface="+mn-ea"/>
              <a:cs typeface="+mn-cs"/>
              <a:sym typeface="Arial"/>
            </a:endParaRPr>
          </a:p>
        </p:txBody>
      </p:sp>
      <p:sp>
        <p:nvSpPr>
          <p:cNvPr id="1575" name="Rectangle 1574">
            <a:extLst>
              <a:ext uri="{FF2B5EF4-FFF2-40B4-BE49-F238E27FC236}">
                <a16:creationId xmlns:a16="http://schemas.microsoft.com/office/drawing/2014/main" id="{EE104E7F-D167-68AF-C4FA-1FC92850691A}"/>
              </a:ext>
            </a:extLst>
          </p:cNvPr>
          <p:cNvSpPr/>
          <p:nvPr>
            <p:custDataLst>
              <p:tags r:id="rId48"/>
            </p:custDataLst>
          </p:nvPr>
        </p:nvSpPr>
        <p:spPr bwMode="auto">
          <a:xfrm>
            <a:off x="5786438" y="5767388"/>
            <a:ext cx="179388" cy="133350"/>
          </a:xfrm>
          <a:prstGeom prst="rect">
            <a:avLst/>
          </a:prstGeom>
          <a:solidFill>
            <a:schemeClr val="accent5"/>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Calibri"/>
              <a:ea typeface="+mn-ea"/>
              <a:cs typeface="+mn-cs"/>
              <a:sym typeface="Arial"/>
            </a:endParaRPr>
          </a:p>
        </p:txBody>
      </p:sp>
      <p:sp>
        <p:nvSpPr>
          <p:cNvPr id="1576" name="Rectangle 1575">
            <a:extLst>
              <a:ext uri="{FF2B5EF4-FFF2-40B4-BE49-F238E27FC236}">
                <a16:creationId xmlns:a16="http://schemas.microsoft.com/office/drawing/2014/main" id="{FFAC18D6-15C3-22E7-5A08-D3CD9C0CDF4E}"/>
              </a:ext>
            </a:extLst>
          </p:cNvPr>
          <p:cNvSpPr/>
          <p:nvPr>
            <p:custDataLst>
              <p:tags r:id="rId49"/>
            </p:custDataLst>
          </p:nvPr>
        </p:nvSpPr>
        <p:spPr bwMode="auto">
          <a:xfrm>
            <a:off x="6813550" y="5767388"/>
            <a:ext cx="179388" cy="133350"/>
          </a:xfrm>
          <a:prstGeom prst="rect">
            <a:avLst/>
          </a:prstGeom>
          <a:solidFill>
            <a:schemeClr val="accent4"/>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Calibri"/>
              <a:ea typeface="+mn-ea"/>
              <a:cs typeface="+mn-cs"/>
              <a:sym typeface="Arial"/>
            </a:endParaRPr>
          </a:p>
        </p:txBody>
      </p:sp>
      <p:sp>
        <p:nvSpPr>
          <p:cNvPr id="1567" name="Text Placeholder 3">
            <a:extLst>
              <a:ext uri="{FF2B5EF4-FFF2-40B4-BE49-F238E27FC236}">
                <a16:creationId xmlns:a16="http://schemas.microsoft.com/office/drawing/2014/main" id="{42124464-D9A0-68E0-98EC-101FB5F4FB40}"/>
              </a:ext>
            </a:extLst>
          </p:cNvPr>
          <p:cNvSpPr>
            <a:spLocks noGrp="1"/>
          </p:cNvSpPr>
          <p:nvPr>
            <p:custDataLst>
              <p:tags r:id="rId50"/>
            </p:custDataLst>
          </p:nvPr>
        </p:nvSpPr>
        <p:spPr bwMode="auto">
          <a:xfrm>
            <a:off x="4198937" y="5762625"/>
            <a:ext cx="1485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fld id="{DE74B55E-44B2-4FCD-970C-60E1229C2B52}" type="datetime'''''Γ''ε''νικ''ο''''''ί'' Ι''α''τροί ή Π''α''''''θολόγο''ι'''">
              <a:rPr kumimoji="0" lang="el-GR" altLang="en-US" sz="10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t>Γενικοί Ιατροί ή Παθολόγοι</a:t>
            </a:fld>
            <a:endParaRPr kumimoji="0" lang="en-GB" sz="1000" b="0" i="0" u="none" strike="noStrike" kern="0" cap="none" spc="0" normalizeH="0" baseline="0" noProof="0" dirty="0">
              <a:ln>
                <a:noFill/>
              </a:ln>
              <a:solidFill>
                <a:srgbClr val="000000"/>
              </a:solidFill>
              <a:effectLst/>
              <a:uLnTx/>
              <a:uFillTx/>
              <a:latin typeface="Arial"/>
              <a:cs typeface="Arial"/>
              <a:sym typeface="Arial"/>
            </a:endParaRPr>
          </a:p>
        </p:txBody>
      </p:sp>
      <p:sp>
        <p:nvSpPr>
          <p:cNvPr id="1570" name="Text Placeholder 3">
            <a:extLst>
              <a:ext uri="{FF2B5EF4-FFF2-40B4-BE49-F238E27FC236}">
                <a16:creationId xmlns:a16="http://schemas.microsoft.com/office/drawing/2014/main" id="{42124464-D9A0-68E0-98EC-101FB5F4FB40}"/>
              </a:ext>
            </a:extLst>
          </p:cNvPr>
          <p:cNvSpPr>
            <a:spLocks noGrp="1"/>
          </p:cNvSpPr>
          <p:nvPr>
            <p:custDataLst>
              <p:tags r:id="rId51"/>
            </p:custDataLst>
          </p:nvPr>
        </p:nvSpPr>
        <p:spPr bwMode="auto">
          <a:xfrm>
            <a:off x="6016625" y="5762625"/>
            <a:ext cx="695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fld id="{19A0D142-4BEC-4461-B157-029B483F7D0F}" type="datetime'''Ειδ''''''''ικε''υ''''''''''''''''''μ''έν''''οι'''''''''''''">
              <a:rPr kumimoji="0" lang="el-GR" altLang="en-US" sz="10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t>Ειδικευμένοι</a:t>
            </a:fld>
            <a:endParaRPr kumimoji="0" lang="en-GB" sz="1000" b="0" i="0" u="none" strike="noStrike" kern="0" cap="none" spc="0" normalizeH="0" baseline="0" noProof="0" dirty="0">
              <a:ln>
                <a:noFill/>
              </a:ln>
              <a:solidFill>
                <a:srgbClr val="000000"/>
              </a:solidFill>
              <a:effectLst/>
              <a:uLnTx/>
              <a:uFillTx/>
              <a:latin typeface="Arial"/>
              <a:cs typeface="Arial"/>
              <a:sym typeface="Arial"/>
            </a:endParaRPr>
          </a:p>
        </p:txBody>
      </p:sp>
      <p:sp>
        <p:nvSpPr>
          <p:cNvPr id="1571" name="Text Placeholder 3">
            <a:extLst>
              <a:ext uri="{FF2B5EF4-FFF2-40B4-BE49-F238E27FC236}">
                <a16:creationId xmlns:a16="http://schemas.microsoft.com/office/drawing/2014/main" id="{42124464-D9A0-68E0-98EC-101FB5F4FB40}"/>
              </a:ext>
            </a:extLst>
          </p:cNvPr>
          <p:cNvSpPr>
            <a:spLocks noGrp="1"/>
          </p:cNvSpPr>
          <p:nvPr>
            <p:custDataLst>
              <p:tags r:id="rId52"/>
            </p:custDataLst>
          </p:nvPr>
        </p:nvSpPr>
        <p:spPr bwMode="auto">
          <a:xfrm>
            <a:off x="7043738" y="5762625"/>
            <a:ext cx="804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fld id="{D414BAB8-5201-45AE-A236-D1F404EB4F3A}" type="datetime'Ά''''λ''''''λ''''''''''''οι'''' ''Ι''ατ''ρο''''''ί^''''1'">
              <a:rPr kumimoji="0" lang="el-GR" altLang="en-US" sz="10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t>Άλλοι Ιατροί^1</a:t>
            </a:fld>
            <a:endParaRPr kumimoji="0" lang="en-GB" sz="10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06609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 name="CustomShape 1"/>
          <p:cNvSpPr/>
          <p:nvPr/>
        </p:nvSpPr>
        <p:spPr>
          <a:xfrm>
            <a:off x="107280" y="2348640"/>
            <a:ext cx="7427520" cy="186552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oAutofit/>
          </a:bodyPr>
          <a:lstStyle/>
          <a:p>
            <a:pPr>
              <a:tabLst>
                <a:tab pos="0" algn="l"/>
              </a:tabLst>
            </a:pPr>
            <a:r>
              <a:rPr lang="el-GR" sz="3600" b="1" spc="-1" dirty="0">
                <a:solidFill>
                  <a:srgbClr val="F2F2F2"/>
                </a:solidFill>
                <a:latin typeface="Calibri"/>
                <a:ea typeface="Calibri"/>
              </a:rPr>
              <a:t>Αναβάθμιση ΠΦΥ</a:t>
            </a:r>
            <a:r>
              <a:rPr dirty="0">
                <a:solidFill>
                  <a:prstClr val="black"/>
                </a:solidFill>
              </a:rPr>
              <a:t/>
            </a:r>
            <a:br>
              <a:rPr dirty="0">
                <a:solidFill>
                  <a:prstClr val="black"/>
                </a:solidFill>
              </a:rPr>
            </a:br>
            <a:r>
              <a:rPr lang="el-GR" sz="3600" b="1" spc="-1" dirty="0">
                <a:solidFill>
                  <a:srgbClr val="F2F2F2"/>
                </a:solidFill>
                <a:latin typeface="Calibri"/>
                <a:ea typeface="Calibri"/>
              </a:rPr>
              <a:t>Β’ φάση Μεταρρύθμισης Προσωπικού Ιατρού </a:t>
            </a:r>
            <a:r>
              <a:rPr dirty="0">
                <a:solidFill>
                  <a:prstClr val="black"/>
                </a:solidFill>
              </a:rPr>
              <a:t/>
            </a:r>
            <a:br>
              <a:rPr dirty="0">
                <a:solidFill>
                  <a:prstClr val="black"/>
                </a:solidFill>
              </a:rPr>
            </a:br>
            <a:r>
              <a:rPr lang="el-GR" sz="2800" spc="-1" dirty="0">
                <a:solidFill>
                  <a:srgbClr val="F2F2F2"/>
                </a:solidFill>
                <a:latin typeface="Calibri"/>
                <a:ea typeface="Calibri"/>
              </a:rPr>
              <a:t>Παρουσίαση </a:t>
            </a:r>
            <a:endParaRPr lang="en-US" sz="2800" spc="-1" dirty="0">
              <a:solidFill>
                <a:prstClr val="black"/>
              </a:solidFill>
            </a:endParaRPr>
          </a:p>
        </p:txBody>
      </p:sp>
      <p:sp>
        <p:nvSpPr>
          <p:cNvPr id="214" name="CustomShape 2"/>
          <p:cNvSpPr/>
          <p:nvPr/>
        </p:nvSpPr>
        <p:spPr>
          <a:xfrm>
            <a:off x="11296440" y="6377040"/>
            <a:ext cx="519840" cy="25344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chor="ctr">
            <a:noAutofit/>
          </a:bodyPr>
          <a:lstStyle/>
          <a:p>
            <a:pPr>
              <a:tabLst>
                <a:tab pos="0" algn="l"/>
              </a:tabLst>
            </a:pPr>
            <a:fld id="{8CB9CB97-6D87-4F13-9D4E-BD5433C298A3}" type="slidenum">
              <a:rPr lang="el-GR" sz="1000" spc="-1">
                <a:solidFill>
                  <a:srgbClr val="A5A5A5"/>
                </a:solidFill>
                <a:latin typeface="Calibri"/>
                <a:ea typeface="Calibri"/>
              </a:rPr>
              <a:pPr>
                <a:tabLst>
                  <a:tab pos="0" algn="l"/>
                </a:tabLst>
              </a:pPr>
              <a:t>21</a:t>
            </a:fld>
            <a:endParaRPr lang="en-US" sz="1000" spc="-1">
              <a:solidFill>
                <a:prstClr val="black"/>
              </a:solidFill>
            </a:endParaRPr>
          </a:p>
        </p:txBody>
      </p:sp>
      <p:sp>
        <p:nvSpPr>
          <p:cNvPr id="215" name="CustomShape 3"/>
          <p:cNvSpPr/>
          <p:nvPr/>
        </p:nvSpPr>
        <p:spPr>
          <a:xfrm>
            <a:off x="107280" y="4657680"/>
            <a:ext cx="6253200" cy="91224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ormAutofit/>
          </a:bodyPr>
          <a:lstStyle/>
          <a:p>
            <a:pPr>
              <a:tabLst>
                <a:tab pos="0" algn="l"/>
              </a:tabLst>
            </a:pPr>
            <a:r>
              <a:rPr lang="el-GR" sz="3600" spc="-1" dirty="0">
                <a:solidFill>
                  <a:srgbClr val="FFFFFF"/>
                </a:solidFill>
                <a:ea typeface="Arial"/>
              </a:rPr>
              <a:t>06/03/2024</a:t>
            </a:r>
            <a:endParaRPr lang="en-US" sz="3600" spc="-1" dirty="0">
              <a:solidFill>
                <a:prstClr val="black"/>
              </a:solidFill>
            </a:endParaRPr>
          </a:p>
        </p:txBody>
      </p:sp>
      <p:sp>
        <p:nvSpPr>
          <p:cNvPr id="216" name="CustomShape 4"/>
          <p:cNvSpPr/>
          <p:nvPr/>
        </p:nvSpPr>
        <p:spPr>
          <a:xfrm>
            <a:off x="2456784" y="1095912"/>
            <a:ext cx="4655520" cy="461160"/>
          </a:xfrm>
          <a:prstGeom prst="rect">
            <a:avLst/>
          </a:prstGeom>
          <a:noFill/>
          <a:ln w="0">
            <a:noFill/>
          </a:ln>
        </p:spPr>
        <p:style>
          <a:lnRef idx="0">
            <a:scrgbClr r="0" g="0" b="0"/>
          </a:lnRef>
          <a:fillRef idx="0">
            <a:scrgbClr r="0" g="0" b="0"/>
          </a:fillRef>
          <a:effectRef idx="0">
            <a:scrgbClr r="0" g="0" b="0"/>
          </a:effectRef>
          <a:fontRef idx="minor"/>
        </p:style>
        <p:txBody>
          <a:bodyPr lIns="111600" tIns="45000" rIns="90000" bIns="45000">
            <a:noAutofit/>
          </a:bodyPr>
          <a:lstStyle/>
          <a:p>
            <a:pPr>
              <a:tabLst>
                <a:tab pos="0" algn="l"/>
              </a:tabLst>
            </a:pPr>
            <a:r>
              <a:rPr lang="el-GR" sz="2400" spc="-1" dirty="0" smtClean="0">
                <a:solidFill>
                  <a:srgbClr val="FFFFFF"/>
                </a:solidFill>
                <a:ea typeface="Arial"/>
              </a:rPr>
              <a:t>ΥΠΟΥΡΓΕΙΟ ΥΓΕΙΑΣ</a:t>
            </a:r>
            <a:endParaRPr lang="en-US" sz="2400" spc="-1" dirty="0">
              <a:solidFill>
                <a:prstClr val="black"/>
              </a:solidFill>
            </a:endParaRPr>
          </a:p>
        </p:txBody>
      </p:sp>
    </p:spTree>
    <p:extLst>
      <p:ext uri="{BB962C8B-B14F-4D97-AF65-F5344CB8AC3E}">
        <p14:creationId xmlns:p14="http://schemas.microsoft.com/office/powerpoint/2010/main" val="33239933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 name="CustomShape 1"/>
          <p:cNvSpPr/>
          <p:nvPr/>
        </p:nvSpPr>
        <p:spPr>
          <a:xfrm>
            <a:off x="327600" y="399600"/>
            <a:ext cx="11341440" cy="833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oAutofit/>
          </a:bodyPr>
          <a:lstStyle/>
          <a:p>
            <a:pPr>
              <a:lnSpc>
                <a:spcPct val="90000"/>
              </a:lnSpc>
              <a:tabLst>
                <a:tab pos="0" algn="l"/>
              </a:tabLst>
            </a:pPr>
            <a:r>
              <a:rPr lang="el-GR" sz="2600" b="1" strike="noStrike" spc="-1">
                <a:solidFill>
                  <a:srgbClr val="31506D"/>
                </a:solidFill>
                <a:latin typeface="Calibri"/>
                <a:ea typeface="Calibri"/>
              </a:rPr>
              <a:t>Προχωράμε στην β' φάση της μεταρρύθμισης με την ενίσχυση του θεσμού μέσω της δημιουργίας μιας νέας δεξαμενής γιατρών</a:t>
            </a:r>
            <a:endParaRPr lang="en-US" sz="2600" b="0" strike="noStrike" spc="-1">
              <a:latin typeface="Arial"/>
            </a:endParaRPr>
          </a:p>
        </p:txBody>
      </p:sp>
      <p:sp>
        <p:nvSpPr>
          <p:cNvPr id="224" name="CustomShape 2"/>
          <p:cNvSpPr/>
          <p:nvPr/>
        </p:nvSpPr>
        <p:spPr>
          <a:xfrm>
            <a:off x="11296440" y="6377040"/>
            <a:ext cx="519840" cy="25344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chor="ctr">
            <a:noAutofit/>
          </a:bodyPr>
          <a:lstStyle/>
          <a:p>
            <a:pPr>
              <a:lnSpc>
                <a:spcPct val="100000"/>
              </a:lnSpc>
              <a:tabLst>
                <a:tab pos="0" algn="l"/>
              </a:tabLst>
            </a:pPr>
            <a:fld id="{85277875-05F9-4575-9ECA-66424A12D47D}" type="slidenum">
              <a:rPr lang="el-GR" sz="1000" b="0" strike="noStrike" spc="-1">
                <a:solidFill>
                  <a:srgbClr val="000000"/>
                </a:solidFill>
                <a:latin typeface="Calibri"/>
                <a:ea typeface="Calibri"/>
              </a:rPr>
              <a:t>3</a:t>
            </a:fld>
            <a:endParaRPr lang="en-US" sz="1000" b="0" strike="noStrike" spc="-1">
              <a:latin typeface="Arial"/>
            </a:endParaRPr>
          </a:p>
        </p:txBody>
      </p:sp>
      <p:sp>
        <p:nvSpPr>
          <p:cNvPr id="225" name="CustomShape 3"/>
          <p:cNvSpPr/>
          <p:nvPr/>
        </p:nvSpPr>
        <p:spPr>
          <a:xfrm>
            <a:off x="326160" y="1251720"/>
            <a:ext cx="11341440" cy="365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chor="ctr">
            <a:noAutofit/>
          </a:bodyPr>
          <a:lstStyle/>
          <a:p>
            <a:pPr>
              <a:lnSpc>
                <a:spcPct val="100000"/>
              </a:lnSpc>
              <a:tabLst>
                <a:tab pos="0" algn="l"/>
              </a:tabLst>
            </a:pPr>
            <a:r>
              <a:rPr lang="el-GR" sz="1800" b="1" strike="noStrike" spc="-1">
                <a:solidFill>
                  <a:srgbClr val="363636"/>
                </a:solidFill>
                <a:latin typeface="Calibri"/>
                <a:ea typeface="Calibri"/>
              </a:rPr>
              <a:t>Ο στόχος &amp; το πλαίσιο</a:t>
            </a:r>
            <a:endParaRPr lang="en-US" sz="1800" b="0" strike="noStrike" spc="-1">
              <a:latin typeface="Arial"/>
            </a:endParaRPr>
          </a:p>
        </p:txBody>
      </p:sp>
      <p:sp>
        <p:nvSpPr>
          <p:cNvPr id="226" name="CustomShape 4"/>
          <p:cNvSpPr/>
          <p:nvPr/>
        </p:nvSpPr>
        <p:spPr>
          <a:xfrm>
            <a:off x="2647800" y="1873800"/>
            <a:ext cx="8805240" cy="604481"/>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7000"/>
              </a:lnSpc>
              <a:tabLst>
                <a:tab pos="0" algn="l"/>
              </a:tabLst>
            </a:pPr>
            <a:r>
              <a:rPr lang="el-GR" sz="1600" b="0" strike="noStrike" spc="-1" dirty="0">
                <a:solidFill>
                  <a:srgbClr val="000000"/>
                </a:solidFill>
                <a:latin typeface="Calibri"/>
                <a:ea typeface="Calibri"/>
              </a:rPr>
              <a:t>Ως εκ τούτου, </a:t>
            </a:r>
            <a:r>
              <a:rPr lang="el-GR" sz="1600" b="1" strike="noStrike" spc="-1" dirty="0">
                <a:solidFill>
                  <a:srgbClr val="00B0F0"/>
                </a:solidFill>
                <a:latin typeface="Calibri"/>
                <a:ea typeface="Calibri"/>
              </a:rPr>
              <a:t>στόχος</a:t>
            </a:r>
            <a:r>
              <a:rPr lang="el-GR" sz="1600" b="0" strike="noStrike" spc="-1" dirty="0">
                <a:solidFill>
                  <a:srgbClr val="000000"/>
                </a:solidFill>
                <a:latin typeface="Calibri"/>
                <a:ea typeface="Calibri"/>
              </a:rPr>
              <a:t> είναι να προχωρήσουμε στην β' φάση της μεταρρύθμισης με την ενίσχυση του θεσμού μέσω της δημιουργίας μιας νέας δεξαμενής γιατρών στο σύστημα.  </a:t>
            </a:r>
            <a:endParaRPr lang="en-US" sz="1600" b="0" strike="noStrike" spc="-1" dirty="0">
              <a:latin typeface="Arial"/>
            </a:endParaRPr>
          </a:p>
        </p:txBody>
      </p:sp>
      <p:sp>
        <p:nvSpPr>
          <p:cNvPr id="227" name="CustomShape 5"/>
          <p:cNvSpPr/>
          <p:nvPr/>
        </p:nvSpPr>
        <p:spPr>
          <a:xfrm>
            <a:off x="1147680" y="1873800"/>
            <a:ext cx="1123560" cy="1126800"/>
          </a:xfrm>
          <a:custGeom>
            <a:avLst/>
            <a:gdLst/>
            <a:ahLst/>
            <a:cxnLst/>
            <a:rect l="l" t="t" r="r" b="b"/>
            <a:pathLst>
              <a:path w="576" h="576">
                <a:moveTo>
                  <a:pt x="288" y="224"/>
                </a:moveTo>
                <a:cubicBezTo>
                  <a:pt x="253" y="224"/>
                  <a:pt x="224" y="253"/>
                  <a:pt x="224" y="288"/>
                </a:cubicBezTo>
                <a:cubicBezTo>
                  <a:pt x="224" y="323"/>
                  <a:pt x="253" y="352"/>
                  <a:pt x="288" y="352"/>
                </a:cubicBezTo>
                <a:cubicBezTo>
                  <a:pt x="323" y="352"/>
                  <a:pt x="352" y="323"/>
                  <a:pt x="352" y="288"/>
                </a:cubicBezTo>
                <a:cubicBezTo>
                  <a:pt x="352" y="253"/>
                  <a:pt x="323" y="224"/>
                  <a:pt x="288" y="224"/>
                </a:cubicBezTo>
                <a:close/>
                <a:moveTo>
                  <a:pt x="327" y="288"/>
                </a:moveTo>
                <a:cubicBezTo>
                  <a:pt x="327" y="310"/>
                  <a:pt x="310" y="327"/>
                  <a:pt x="288" y="327"/>
                </a:cubicBezTo>
                <a:cubicBezTo>
                  <a:pt x="266" y="327"/>
                  <a:pt x="249" y="310"/>
                  <a:pt x="249" y="288"/>
                </a:cubicBezTo>
                <a:cubicBezTo>
                  <a:pt x="249" y="266"/>
                  <a:pt x="266" y="249"/>
                  <a:pt x="288" y="249"/>
                </a:cubicBezTo>
                <a:cubicBezTo>
                  <a:pt x="310" y="249"/>
                  <a:pt x="327" y="266"/>
                  <a:pt x="327" y="288"/>
                </a:cubicBezTo>
                <a:close/>
                <a:moveTo>
                  <a:pt x="479" y="288"/>
                </a:moveTo>
                <a:cubicBezTo>
                  <a:pt x="479" y="237"/>
                  <a:pt x="459" y="189"/>
                  <a:pt x="423" y="153"/>
                </a:cubicBezTo>
                <a:cubicBezTo>
                  <a:pt x="387" y="117"/>
                  <a:pt x="339" y="97"/>
                  <a:pt x="288" y="97"/>
                </a:cubicBezTo>
                <a:cubicBezTo>
                  <a:pt x="237" y="97"/>
                  <a:pt x="189" y="117"/>
                  <a:pt x="153" y="153"/>
                </a:cubicBezTo>
                <a:cubicBezTo>
                  <a:pt x="117" y="189"/>
                  <a:pt x="97" y="237"/>
                  <a:pt x="97" y="288"/>
                </a:cubicBezTo>
                <a:cubicBezTo>
                  <a:pt x="97" y="334"/>
                  <a:pt x="114" y="379"/>
                  <a:pt x="145" y="414"/>
                </a:cubicBezTo>
                <a:cubicBezTo>
                  <a:pt x="113" y="446"/>
                  <a:pt x="113" y="446"/>
                  <a:pt x="113" y="446"/>
                </a:cubicBezTo>
                <a:cubicBezTo>
                  <a:pt x="113" y="446"/>
                  <a:pt x="113" y="446"/>
                  <a:pt x="113" y="446"/>
                </a:cubicBezTo>
                <a:cubicBezTo>
                  <a:pt x="130" y="463"/>
                  <a:pt x="130" y="463"/>
                  <a:pt x="130" y="463"/>
                </a:cubicBezTo>
                <a:cubicBezTo>
                  <a:pt x="130" y="463"/>
                  <a:pt x="130" y="463"/>
                  <a:pt x="130" y="463"/>
                </a:cubicBezTo>
                <a:cubicBezTo>
                  <a:pt x="162" y="431"/>
                  <a:pt x="162" y="431"/>
                  <a:pt x="162" y="431"/>
                </a:cubicBezTo>
                <a:cubicBezTo>
                  <a:pt x="197" y="462"/>
                  <a:pt x="242" y="479"/>
                  <a:pt x="288" y="479"/>
                </a:cubicBezTo>
                <a:cubicBezTo>
                  <a:pt x="334" y="479"/>
                  <a:pt x="379" y="462"/>
                  <a:pt x="414" y="431"/>
                </a:cubicBezTo>
                <a:cubicBezTo>
                  <a:pt x="446" y="463"/>
                  <a:pt x="446" y="463"/>
                  <a:pt x="446" y="463"/>
                </a:cubicBezTo>
                <a:cubicBezTo>
                  <a:pt x="446" y="463"/>
                  <a:pt x="446" y="463"/>
                  <a:pt x="446" y="463"/>
                </a:cubicBezTo>
                <a:cubicBezTo>
                  <a:pt x="463" y="446"/>
                  <a:pt x="463" y="446"/>
                  <a:pt x="463" y="446"/>
                </a:cubicBezTo>
                <a:cubicBezTo>
                  <a:pt x="464" y="446"/>
                  <a:pt x="464" y="446"/>
                  <a:pt x="464" y="446"/>
                </a:cubicBezTo>
                <a:cubicBezTo>
                  <a:pt x="431" y="414"/>
                  <a:pt x="431" y="414"/>
                  <a:pt x="431" y="414"/>
                </a:cubicBezTo>
                <a:cubicBezTo>
                  <a:pt x="462" y="379"/>
                  <a:pt x="479" y="334"/>
                  <a:pt x="479" y="288"/>
                </a:cubicBezTo>
                <a:close/>
                <a:moveTo>
                  <a:pt x="454" y="288"/>
                </a:moveTo>
                <a:cubicBezTo>
                  <a:pt x="454" y="380"/>
                  <a:pt x="380" y="454"/>
                  <a:pt x="288" y="454"/>
                </a:cubicBezTo>
                <a:cubicBezTo>
                  <a:pt x="196" y="454"/>
                  <a:pt x="122" y="380"/>
                  <a:pt x="122" y="288"/>
                </a:cubicBezTo>
                <a:cubicBezTo>
                  <a:pt x="122" y="196"/>
                  <a:pt x="196" y="122"/>
                  <a:pt x="288" y="122"/>
                </a:cubicBezTo>
                <a:cubicBezTo>
                  <a:pt x="380" y="122"/>
                  <a:pt x="454" y="196"/>
                  <a:pt x="454" y="288"/>
                </a:cubicBezTo>
                <a:close/>
                <a:moveTo>
                  <a:pt x="288" y="161"/>
                </a:moveTo>
                <a:cubicBezTo>
                  <a:pt x="218" y="161"/>
                  <a:pt x="161" y="218"/>
                  <a:pt x="161" y="288"/>
                </a:cubicBezTo>
                <a:cubicBezTo>
                  <a:pt x="161" y="358"/>
                  <a:pt x="218" y="415"/>
                  <a:pt x="288" y="415"/>
                </a:cubicBezTo>
                <a:cubicBezTo>
                  <a:pt x="358" y="415"/>
                  <a:pt x="415" y="358"/>
                  <a:pt x="415" y="288"/>
                </a:cubicBezTo>
                <a:cubicBezTo>
                  <a:pt x="415" y="218"/>
                  <a:pt x="358" y="161"/>
                  <a:pt x="288" y="161"/>
                </a:cubicBezTo>
                <a:close/>
                <a:moveTo>
                  <a:pt x="391" y="288"/>
                </a:moveTo>
                <a:cubicBezTo>
                  <a:pt x="391" y="345"/>
                  <a:pt x="345" y="391"/>
                  <a:pt x="288" y="391"/>
                </a:cubicBezTo>
                <a:cubicBezTo>
                  <a:pt x="231" y="391"/>
                  <a:pt x="185" y="345"/>
                  <a:pt x="185" y="288"/>
                </a:cubicBezTo>
                <a:cubicBezTo>
                  <a:pt x="185" y="231"/>
                  <a:pt x="231" y="185"/>
                  <a:pt x="288" y="185"/>
                </a:cubicBezTo>
                <a:cubicBezTo>
                  <a:pt x="345" y="185"/>
                  <a:pt x="391" y="231"/>
                  <a:pt x="391" y="28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accent1"/>
          </a:solidFill>
          <a:ln w="0">
            <a:noFill/>
          </a:ln>
        </p:spPr>
        <p:style>
          <a:lnRef idx="0">
            <a:scrgbClr r="0" g="0" b="0"/>
          </a:lnRef>
          <a:fillRef idx="0">
            <a:scrgbClr r="0" g="0" b="0"/>
          </a:fillRef>
          <a:effectRef idx="0">
            <a:scrgbClr r="0" g="0" b="0"/>
          </a:effectRef>
          <a:fontRef idx="minor"/>
        </p:style>
        <p:txBody>
          <a:bodyPr/>
          <a:lstStyle/>
          <a:p>
            <a:endParaRPr lang="el-GR"/>
          </a:p>
        </p:txBody>
      </p:sp>
      <p:sp>
        <p:nvSpPr>
          <p:cNvPr id="228" name="CustomShape 6"/>
          <p:cNvSpPr/>
          <p:nvPr/>
        </p:nvSpPr>
        <p:spPr>
          <a:xfrm>
            <a:off x="1147680" y="3736080"/>
            <a:ext cx="1123560" cy="1123560"/>
          </a:xfrm>
          <a:custGeom>
            <a:avLst/>
            <a:gdLst/>
            <a:ahLst/>
            <a:cxnLst/>
            <a:rect l="l" t="t" r="r" b="b"/>
            <a:pathLst>
              <a:path w="583" h="584">
                <a:moveTo>
                  <a:pt x="583" y="0"/>
                </a:moveTo>
                <a:cubicBezTo>
                  <a:pt x="0" y="0"/>
                  <a:pt x="0" y="0"/>
                  <a:pt x="0" y="0"/>
                </a:cubicBezTo>
                <a:cubicBezTo>
                  <a:pt x="0" y="0"/>
                  <a:pt x="0" y="0"/>
                  <a:pt x="0" y="0"/>
                </a:cubicBezTo>
                <a:cubicBezTo>
                  <a:pt x="0" y="583"/>
                  <a:pt x="0" y="583"/>
                  <a:pt x="0" y="583"/>
                </a:cubicBezTo>
                <a:cubicBezTo>
                  <a:pt x="0" y="584"/>
                  <a:pt x="0" y="584"/>
                  <a:pt x="0" y="584"/>
                </a:cubicBezTo>
                <a:cubicBezTo>
                  <a:pt x="583" y="584"/>
                  <a:pt x="583" y="584"/>
                  <a:pt x="583" y="584"/>
                </a:cubicBezTo>
                <a:cubicBezTo>
                  <a:pt x="583" y="584"/>
                  <a:pt x="583" y="584"/>
                  <a:pt x="583" y="583"/>
                </a:cubicBezTo>
                <a:cubicBezTo>
                  <a:pt x="583" y="0"/>
                  <a:pt x="583" y="0"/>
                  <a:pt x="583" y="0"/>
                </a:cubicBezTo>
                <a:cubicBezTo>
                  <a:pt x="583" y="0"/>
                  <a:pt x="583" y="0"/>
                  <a:pt x="583" y="0"/>
                </a:cubicBezTo>
                <a:close/>
                <a:moveTo>
                  <a:pt x="487" y="559"/>
                </a:moveTo>
                <a:cubicBezTo>
                  <a:pt x="487" y="559"/>
                  <a:pt x="487" y="559"/>
                  <a:pt x="487" y="559"/>
                </a:cubicBezTo>
                <a:cubicBezTo>
                  <a:pt x="96" y="559"/>
                  <a:pt x="96" y="559"/>
                  <a:pt x="96" y="559"/>
                </a:cubicBezTo>
                <a:cubicBezTo>
                  <a:pt x="96" y="559"/>
                  <a:pt x="96" y="559"/>
                  <a:pt x="96" y="559"/>
                </a:cubicBezTo>
                <a:cubicBezTo>
                  <a:pt x="96" y="478"/>
                  <a:pt x="96" y="478"/>
                  <a:pt x="96" y="478"/>
                </a:cubicBezTo>
                <a:cubicBezTo>
                  <a:pt x="96" y="465"/>
                  <a:pt x="103" y="453"/>
                  <a:pt x="115" y="447"/>
                </a:cubicBezTo>
                <a:cubicBezTo>
                  <a:pt x="175" y="416"/>
                  <a:pt x="175" y="416"/>
                  <a:pt x="175" y="416"/>
                </a:cubicBezTo>
                <a:cubicBezTo>
                  <a:pt x="175" y="427"/>
                  <a:pt x="175" y="427"/>
                  <a:pt x="175" y="427"/>
                </a:cubicBezTo>
                <a:cubicBezTo>
                  <a:pt x="151" y="433"/>
                  <a:pt x="134" y="454"/>
                  <a:pt x="134" y="480"/>
                </a:cubicBezTo>
                <a:cubicBezTo>
                  <a:pt x="134" y="544"/>
                  <a:pt x="134" y="544"/>
                  <a:pt x="134" y="544"/>
                </a:cubicBezTo>
                <a:cubicBezTo>
                  <a:pt x="161" y="544"/>
                  <a:pt x="161" y="544"/>
                  <a:pt x="161" y="544"/>
                </a:cubicBezTo>
                <a:cubicBezTo>
                  <a:pt x="161" y="480"/>
                  <a:pt x="161" y="480"/>
                  <a:pt x="161" y="480"/>
                </a:cubicBezTo>
                <a:cubicBezTo>
                  <a:pt x="161" y="465"/>
                  <a:pt x="173" y="452"/>
                  <a:pt x="189" y="452"/>
                </a:cubicBezTo>
                <a:cubicBezTo>
                  <a:pt x="204" y="452"/>
                  <a:pt x="216" y="465"/>
                  <a:pt x="216" y="480"/>
                </a:cubicBezTo>
                <a:cubicBezTo>
                  <a:pt x="216" y="544"/>
                  <a:pt x="216" y="544"/>
                  <a:pt x="216" y="544"/>
                </a:cubicBezTo>
                <a:cubicBezTo>
                  <a:pt x="244" y="544"/>
                  <a:pt x="244" y="544"/>
                  <a:pt x="244" y="544"/>
                </a:cubicBezTo>
                <a:cubicBezTo>
                  <a:pt x="244" y="480"/>
                  <a:pt x="244" y="480"/>
                  <a:pt x="244" y="480"/>
                </a:cubicBezTo>
                <a:cubicBezTo>
                  <a:pt x="244" y="454"/>
                  <a:pt x="226" y="433"/>
                  <a:pt x="202" y="427"/>
                </a:cubicBezTo>
                <a:cubicBezTo>
                  <a:pt x="202" y="403"/>
                  <a:pt x="202" y="403"/>
                  <a:pt x="202" y="403"/>
                </a:cubicBezTo>
                <a:cubicBezTo>
                  <a:pt x="239" y="384"/>
                  <a:pt x="239" y="384"/>
                  <a:pt x="239" y="384"/>
                </a:cubicBezTo>
                <a:cubicBezTo>
                  <a:pt x="239" y="384"/>
                  <a:pt x="239" y="384"/>
                  <a:pt x="239" y="384"/>
                </a:cubicBezTo>
                <a:cubicBezTo>
                  <a:pt x="245" y="399"/>
                  <a:pt x="253" y="413"/>
                  <a:pt x="264" y="429"/>
                </a:cubicBezTo>
                <a:cubicBezTo>
                  <a:pt x="266" y="433"/>
                  <a:pt x="269" y="438"/>
                  <a:pt x="272" y="442"/>
                </a:cubicBezTo>
                <a:cubicBezTo>
                  <a:pt x="272" y="442"/>
                  <a:pt x="272" y="442"/>
                  <a:pt x="272" y="442"/>
                </a:cubicBezTo>
                <a:cubicBezTo>
                  <a:pt x="311" y="442"/>
                  <a:pt x="311" y="442"/>
                  <a:pt x="311" y="442"/>
                </a:cubicBezTo>
                <a:cubicBezTo>
                  <a:pt x="311" y="442"/>
                  <a:pt x="311" y="442"/>
                  <a:pt x="311" y="442"/>
                </a:cubicBezTo>
                <a:cubicBezTo>
                  <a:pt x="314" y="438"/>
                  <a:pt x="316" y="433"/>
                  <a:pt x="319" y="429"/>
                </a:cubicBezTo>
                <a:cubicBezTo>
                  <a:pt x="329" y="413"/>
                  <a:pt x="338" y="399"/>
                  <a:pt x="343" y="384"/>
                </a:cubicBezTo>
                <a:cubicBezTo>
                  <a:pt x="343" y="384"/>
                  <a:pt x="344" y="384"/>
                  <a:pt x="344" y="384"/>
                </a:cubicBezTo>
                <a:cubicBezTo>
                  <a:pt x="371" y="398"/>
                  <a:pt x="371" y="398"/>
                  <a:pt x="371" y="398"/>
                </a:cubicBezTo>
                <a:cubicBezTo>
                  <a:pt x="371" y="398"/>
                  <a:pt x="371" y="398"/>
                  <a:pt x="371" y="399"/>
                </a:cubicBezTo>
                <a:cubicBezTo>
                  <a:pt x="371" y="462"/>
                  <a:pt x="371" y="462"/>
                  <a:pt x="371" y="462"/>
                </a:cubicBezTo>
                <a:cubicBezTo>
                  <a:pt x="356" y="467"/>
                  <a:pt x="346" y="481"/>
                  <a:pt x="346" y="497"/>
                </a:cubicBezTo>
                <a:cubicBezTo>
                  <a:pt x="346" y="518"/>
                  <a:pt x="363" y="535"/>
                  <a:pt x="384" y="535"/>
                </a:cubicBezTo>
                <a:cubicBezTo>
                  <a:pt x="405" y="535"/>
                  <a:pt x="422" y="518"/>
                  <a:pt x="422" y="497"/>
                </a:cubicBezTo>
                <a:cubicBezTo>
                  <a:pt x="422" y="481"/>
                  <a:pt x="412" y="467"/>
                  <a:pt x="398" y="462"/>
                </a:cubicBezTo>
                <a:cubicBezTo>
                  <a:pt x="398" y="412"/>
                  <a:pt x="398" y="412"/>
                  <a:pt x="398" y="412"/>
                </a:cubicBezTo>
                <a:cubicBezTo>
                  <a:pt x="468" y="447"/>
                  <a:pt x="468" y="447"/>
                  <a:pt x="468" y="447"/>
                </a:cubicBezTo>
                <a:cubicBezTo>
                  <a:pt x="479" y="453"/>
                  <a:pt x="487" y="465"/>
                  <a:pt x="487" y="478"/>
                </a:cubicBezTo>
                <a:lnTo>
                  <a:pt x="487" y="559"/>
                </a:lnTo>
                <a:close/>
                <a:moveTo>
                  <a:pt x="398" y="497"/>
                </a:moveTo>
                <a:cubicBezTo>
                  <a:pt x="398" y="505"/>
                  <a:pt x="392" y="511"/>
                  <a:pt x="384" y="511"/>
                </a:cubicBezTo>
                <a:cubicBezTo>
                  <a:pt x="377" y="511"/>
                  <a:pt x="371" y="505"/>
                  <a:pt x="371" y="497"/>
                </a:cubicBezTo>
                <a:cubicBezTo>
                  <a:pt x="371" y="490"/>
                  <a:pt x="377" y="484"/>
                  <a:pt x="384" y="484"/>
                </a:cubicBezTo>
                <a:cubicBezTo>
                  <a:pt x="392" y="484"/>
                  <a:pt x="398" y="490"/>
                  <a:pt x="398" y="497"/>
                </a:cubicBezTo>
                <a:close/>
                <a:moveTo>
                  <a:pt x="418" y="395"/>
                </a:moveTo>
                <a:cubicBezTo>
                  <a:pt x="418" y="396"/>
                  <a:pt x="418" y="396"/>
                  <a:pt x="418" y="396"/>
                </a:cubicBezTo>
                <a:cubicBezTo>
                  <a:pt x="350" y="361"/>
                  <a:pt x="350" y="361"/>
                  <a:pt x="350" y="361"/>
                </a:cubicBezTo>
                <a:cubicBezTo>
                  <a:pt x="350" y="361"/>
                  <a:pt x="350" y="361"/>
                  <a:pt x="350" y="361"/>
                </a:cubicBezTo>
                <a:cubicBezTo>
                  <a:pt x="352" y="349"/>
                  <a:pt x="354" y="336"/>
                  <a:pt x="354" y="320"/>
                </a:cubicBezTo>
                <a:cubicBezTo>
                  <a:pt x="354" y="320"/>
                  <a:pt x="354" y="320"/>
                  <a:pt x="354" y="320"/>
                </a:cubicBezTo>
                <a:cubicBezTo>
                  <a:pt x="376" y="294"/>
                  <a:pt x="390" y="262"/>
                  <a:pt x="394" y="227"/>
                </a:cubicBezTo>
                <a:cubicBezTo>
                  <a:pt x="394" y="225"/>
                  <a:pt x="394" y="225"/>
                  <a:pt x="394" y="225"/>
                </a:cubicBezTo>
                <a:cubicBezTo>
                  <a:pt x="381" y="211"/>
                  <a:pt x="381" y="211"/>
                  <a:pt x="381" y="211"/>
                </a:cubicBezTo>
                <a:cubicBezTo>
                  <a:pt x="381" y="211"/>
                  <a:pt x="381" y="211"/>
                  <a:pt x="381" y="211"/>
                </a:cubicBezTo>
                <a:cubicBezTo>
                  <a:pt x="274" y="211"/>
                  <a:pt x="257" y="130"/>
                  <a:pt x="257" y="126"/>
                </a:cubicBezTo>
                <a:cubicBezTo>
                  <a:pt x="257" y="126"/>
                  <a:pt x="257" y="126"/>
                  <a:pt x="257" y="126"/>
                </a:cubicBezTo>
                <a:cubicBezTo>
                  <a:pt x="237" y="117"/>
                  <a:pt x="237" y="117"/>
                  <a:pt x="237" y="117"/>
                </a:cubicBezTo>
                <a:cubicBezTo>
                  <a:pt x="237" y="117"/>
                  <a:pt x="237" y="117"/>
                  <a:pt x="237" y="117"/>
                </a:cubicBezTo>
                <a:cubicBezTo>
                  <a:pt x="207" y="137"/>
                  <a:pt x="188" y="171"/>
                  <a:pt x="188" y="207"/>
                </a:cubicBezTo>
                <a:cubicBezTo>
                  <a:pt x="188" y="249"/>
                  <a:pt x="203" y="288"/>
                  <a:pt x="229" y="320"/>
                </a:cubicBezTo>
                <a:cubicBezTo>
                  <a:pt x="229" y="320"/>
                  <a:pt x="229" y="320"/>
                  <a:pt x="229" y="320"/>
                </a:cubicBezTo>
                <a:cubicBezTo>
                  <a:pt x="229" y="336"/>
                  <a:pt x="230" y="349"/>
                  <a:pt x="232" y="361"/>
                </a:cubicBezTo>
                <a:cubicBezTo>
                  <a:pt x="232" y="361"/>
                  <a:pt x="232" y="361"/>
                  <a:pt x="232" y="361"/>
                </a:cubicBezTo>
                <a:cubicBezTo>
                  <a:pt x="165" y="396"/>
                  <a:pt x="165" y="396"/>
                  <a:pt x="165" y="396"/>
                </a:cubicBezTo>
                <a:cubicBezTo>
                  <a:pt x="165" y="396"/>
                  <a:pt x="165" y="396"/>
                  <a:pt x="165" y="395"/>
                </a:cubicBezTo>
                <a:cubicBezTo>
                  <a:pt x="165" y="200"/>
                  <a:pt x="165" y="200"/>
                  <a:pt x="165" y="200"/>
                </a:cubicBezTo>
                <a:cubicBezTo>
                  <a:pt x="165" y="131"/>
                  <a:pt x="219" y="73"/>
                  <a:pt x="288" y="71"/>
                </a:cubicBezTo>
                <a:cubicBezTo>
                  <a:pt x="359" y="69"/>
                  <a:pt x="418" y="126"/>
                  <a:pt x="418" y="197"/>
                </a:cubicBezTo>
                <a:lnTo>
                  <a:pt x="418" y="395"/>
                </a:lnTo>
                <a:close/>
                <a:moveTo>
                  <a:pt x="323" y="371"/>
                </a:moveTo>
                <a:cubicBezTo>
                  <a:pt x="318" y="386"/>
                  <a:pt x="310" y="399"/>
                  <a:pt x="299" y="417"/>
                </a:cubicBezTo>
                <a:cubicBezTo>
                  <a:pt x="297" y="421"/>
                  <a:pt x="294" y="425"/>
                  <a:pt x="291" y="430"/>
                </a:cubicBezTo>
                <a:cubicBezTo>
                  <a:pt x="291" y="430"/>
                  <a:pt x="291" y="430"/>
                  <a:pt x="291" y="430"/>
                </a:cubicBezTo>
                <a:cubicBezTo>
                  <a:pt x="288" y="425"/>
                  <a:pt x="286" y="421"/>
                  <a:pt x="283" y="417"/>
                </a:cubicBezTo>
                <a:cubicBezTo>
                  <a:pt x="272" y="399"/>
                  <a:pt x="264" y="386"/>
                  <a:pt x="259" y="371"/>
                </a:cubicBezTo>
                <a:cubicBezTo>
                  <a:pt x="259" y="371"/>
                  <a:pt x="259" y="371"/>
                  <a:pt x="259" y="371"/>
                </a:cubicBezTo>
                <a:cubicBezTo>
                  <a:pt x="259" y="355"/>
                  <a:pt x="254" y="348"/>
                  <a:pt x="256" y="347"/>
                </a:cubicBezTo>
                <a:cubicBezTo>
                  <a:pt x="256" y="347"/>
                  <a:pt x="257" y="346"/>
                  <a:pt x="257" y="346"/>
                </a:cubicBezTo>
                <a:cubicBezTo>
                  <a:pt x="261" y="349"/>
                  <a:pt x="274" y="359"/>
                  <a:pt x="294" y="358"/>
                </a:cubicBezTo>
                <a:cubicBezTo>
                  <a:pt x="310" y="357"/>
                  <a:pt x="321" y="350"/>
                  <a:pt x="326" y="347"/>
                </a:cubicBezTo>
                <a:cubicBezTo>
                  <a:pt x="326" y="347"/>
                  <a:pt x="326" y="347"/>
                  <a:pt x="326" y="347"/>
                </a:cubicBezTo>
                <a:cubicBezTo>
                  <a:pt x="328" y="349"/>
                  <a:pt x="323" y="355"/>
                  <a:pt x="323" y="371"/>
                </a:cubicBezTo>
                <a:cubicBezTo>
                  <a:pt x="323" y="371"/>
                  <a:pt x="323" y="371"/>
                  <a:pt x="323" y="371"/>
                </a:cubicBezTo>
                <a:close/>
                <a:moveTo>
                  <a:pt x="312" y="325"/>
                </a:moveTo>
                <a:cubicBezTo>
                  <a:pt x="312" y="325"/>
                  <a:pt x="312" y="325"/>
                  <a:pt x="312" y="325"/>
                </a:cubicBezTo>
                <a:cubicBezTo>
                  <a:pt x="300" y="334"/>
                  <a:pt x="283" y="334"/>
                  <a:pt x="271" y="325"/>
                </a:cubicBezTo>
                <a:cubicBezTo>
                  <a:pt x="235" y="296"/>
                  <a:pt x="214" y="253"/>
                  <a:pt x="214" y="207"/>
                </a:cubicBezTo>
                <a:cubicBezTo>
                  <a:pt x="214" y="186"/>
                  <a:pt x="223" y="166"/>
                  <a:pt x="237" y="151"/>
                </a:cubicBezTo>
                <a:cubicBezTo>
                  <a:pt x="237" y="151"/>
                  <a:pt x="237" y="151"/>
                  <a:pt x="237" y="151"/>
                </a:cubicBezTo>
                <a:cubicBezTo>
                  <a:pt x="248" y="178"/>
                  <a:pt x="281" y="231"/>
                  <a:pt x="366" y="237"/>
                </a:cubicBezTo>
                <a:cubicBezTo>
                  <a:pt x="366" y="237"/>
                  <a:pt x="366" y="237"/>
                  <a:pt x="366" y="237"/>
                </a:cubicBezTo>
                <a:cubicBezTo>
                  <a:pt x="359" y="271"/>
                  <a:pt x="339" y="303"/>
                  <a:pt x="312" y="325"/>
                </a:cubicBezTo>
                <a:close/>
                <a:moveTo>
                  <a:pt x="558" y="559"/>
                </a:moveTo>
                <a:cubicBezTo>
                  <a:pt x="558" y="559"/>
                  <a:pt x="558" y="559"/>
                  <a:pt x="558" y="559"/>
                </a:cubicBezTo>
                <a:cubicBezTo>
                  <a:pt x="510" y="559"/>
                  <a:pt x="510" y="559"/>
                  <a:pt x="510" y="559"/>
                </a:cubicBezTo>
                <a:cubicBezTo>
                  <a:pt x="510" y="559"/>
                  <a:pt x="510" y="559"/>
                  <a:pt x="510" y="559"/>
                </a:cubicBezTo>
                <a:cubicBezTo>
                  <a:pt x="510" y="478"/>
                  <a:pt x="510" y="478"/>
                  <a:pt x="510" y="478"/>
                </a:cubicBezTo>
                <a:cubicBezTo>
                  <a:pt x="510" y="456"/>
                  <a:pt x="498" y="436"/>
                  <a:pt x="478" y="426"/>
                </a:cubicBezTo>
                <a:cubicBezTo>
                  <a:pt x="444" y="409"/>
                  <a:pt x="444" y="409"/>
                  <a:pt x="444" y="409"/>
                </a:cubicBezTo>
                <a:cubicBezTo>
                  <a:pt x="444" y="409"/>
                  <a:pt x="444" y="409"/>
                  <a:pt x="444" y="409"/>
                </a:cubicBezTo>
                <a:cubicBezTo>
                  <a:pt x="444" y="200"/>
                  <a:pt x="444" y="200"/>
                  <a:pt x="444" y="200"/>
                </a:cubicBezTo>
                <a:cubicBezTo>
                  <a:pt x="444" y="117"/>
                  <a:pt x="378" y="47"/>
                  <a:pt x="295" y="45"/>
                </a:cubicBezTo>
                <a:cubicBezTo>
                  <a:pt x="209" y="43"/>
                  <a:pt x="138" y="112"/>
                  <a:pt x="138" y="197"/>
                </a:cubicBezTo>
                <a:cubicBezTo>
                  <a:pt x="138" y="409"/>
                  <a:pt x="138" y="409"/>
                  <a:pt x="138" y="409"/>
                </a:cubicBezTo>
                <a:cubicBezTo>
                  <a:pt x="138" y="409"/>
                  <a:pt x="138" y="409"/>
                  <a:pt x="138" y="409"/>
                </a:cubicBezTo>
                <a:cubicBezTo>
                  <a:pt x="104" y="426"/>
                  <a:pt x="104" y="426"/>
                  <a:pt x="104" y="426"/>
                </a:cubicBezTo>
                <a:cubicBezTo>
                  <a:pt x="85" y="436"/>
                  <a:pt x="72" y="456"/>
                  <a:pt x="72" y="478"/>
                </a:cubicBezTo>
                <a:cubicBezTo>
                  <a:pt x="72" y="559"/>
                  <a:pt x="72" y="559"/>
                  <a:pt x="72" y="559"/>
                </a:cubicBezTo>
                <a:cubicBezTo>
                  <a:pt x="72" y="559"/>
                  <a:pt x="72" y="559"/>
                  <a:pt x="72" y="559"/>
                </a:cubicBezTo>
                <a:cubicBezTo>
                  <a:pt x="25" y="559"/>
                  <a:pt x="25" y="559"/>
                  <a:pt x="25" y="559"/>
                </a:cubicBezTo>
                <a:cubicBezTo>
                  <a:pt x="24" y="559"/>
                  <a:pt x="24" y="559"/>
                  <a:pt x="24" y="559"/>
                </a:cubicBezTo>
                <a:cubicBezTo>
                  <a:pt x="24" y="25"/>
                  <a:pt x="24" y="25"/>
                  <a:pt x="24" y="25"/>
                </a:cubicBezTo>
                <a:cubicBezTo>
                  <a:pt x="24" y="25"/>
                  <a:pt x="24" y="25"/>
                  <a:pt x="25" y="25"/>
                </a:cubicBezTo>
                <a:cubicBezTo>
                  <a:pt x="558" y="25"/>
                  <a:pt x="558" y="25"/>
                  <a:pt x="558" y="25"/>
                </a:cubicBezTo>
                <a:cubicBezTo>
                  <a:pt x="558" y="25"/>
                  <a:pt x="558" y="25"/>
                  <a:pt x="558" y="25"/>
                </a:cubicBezTo>
                <a:lnTo>
                  <a:pt x="558" y="559"/>
                </a:lnTo>
                <a:close/>
              </a:path>
            </a:pathLst>
          </a:custGeom>
          <a:solidFill>
            <a:srgbClr val="4A66AC"/>
          </a:solidFill>
          <a:ln w="0">
            <a:noFill/>
          </a:ln>
        </p:spPr>
        <p:style>
          <a:lnRef idx="0">
            <a:scrgbClr r="0" g="0" b="0"/>
          </a:lnRef>
          <a:fillRef idx="0">
            <a:scrgbClr r="0" g="0" b="0"/>
          </a:fillRef>
          <a:effectRef idx="0">
            <a:scrgbClr r="0" g="0" b="0"/>
          </a:effectRef>
          <a:fontRef idx="minor"/>
        </p:style>
        <p:txBody>
          <a:bodyPr/>
          <a:lstStyle/>
          <a:p>
            <a:endParaRPr lang="el-GR"/>
          </a:p>
        </p:txBody>
      </p:sp>
      <p:sp>
        <p:nvSpPr>
          <p:cNvPr id="229" name="CustomShape 7"/>
          <p:cNvSpPr/>
          <p:nvPr/>
        </p:nvSpPr>
        <p:spPr>
          <a:xfrm>
            <a:off x="2647800" y="3736080"/>
            <a:ext cx="8805240" cy="26794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7000"/>
              </a:lnSpc>
              <a:tabLst>
                <a:tab pos="0" algn="l"/>
              </a:tabLst>
            </a:pPr>
            <a:r>
              <a:rPr lang="el-GR" sz="1600" b="0" strike="noStrike" spc="-1">
                <a:solidFill>
                  <a:srgbClr val="000000"/>
                </a:solidFill>
                <a:latin typeface="Calibri"/>
                <a:ea typeface="Calibri"/>
              </a:rPr>
              <a:t>Η μεταρρύθμιση του Π.Ι. άλλωστε αποτελεί ένα δομικό στοιχείο της </a:t>
            </a:r>
            <a:r>
              <a:rPr lang="el-GR" sz="1600" b="1" strike="noStrike" spc="-1">
                <a:solidFill>
                  <a:srgbClr val="00B0F0"/>
                </a:solidFill>
                <a:latin typeface="Calibri"/>
                <a:ea typeface="Calibri"/>
              </a:rPr>
              <a:t>ευρύτερης μεταρρύθμισης της ΠΦΥ</a:t>
            </a:r>
            <a:r>
              <a:rPr lang="el-GR" sz="1600" b="0" strike="noStrike" spc="-1">
                <a:solidFill>
                  <a:srgbClr val="000000"/>
                </a:solidFill>
                <a:latin typeface="Calibri"/>
                <a:ea typeface="Calibri"/>
              </a:rPr>
              <a:t>. Η τελευταία περιλαμβάνει μεταξύ άλλων:</a:t>
            </a:r>
            <a:endParaRPr lang="en-US" sz="1600" b="0" strike="noStrike" spc="-1">
              <a:latin typeface="Arial"/>
            </a:endParaRPr>
          </a:p>
          <a:p>
            <a:pPr marL="285840" indent="-283680" algn="just">
              <a:lnSpc>
                <a:spcPct val="107000"/>
              </a:lnSpc>
              <a:spcBef>
                <a:spcPts val="799"/>
              </a:spcBef>
              <a:buClr>
                <a:srgbClr val="000000"/>
              </a:buClr>
              <a:buFont typeface="Arial"/>
              <a:buChar char="•"/>
              <a:tabLst>
                <a:tab pos="0" algn="l"/>
              </a:tabLst>
            </a:pPr>
            <a:r>
              <a:rPr lang="el-GR" sz="1600" b="0" strike="noStrike" spc="-1">
                <a:solidFill>
                  <a:srgbClr val="000000"/>
                </a:solidFill>
                <a:latin typeface="Calibri"/>
                <a:ea typeface="Calibri"/>
              </a:rPr>
              <a:t>Την σχεδίαση και την υλοποίηση ενός ενοποιημένου μοντέλου μεταξύ ΠΦΥ και Δημόσιας Υγείας με υπηρεσίες που θα παρέχονται κοντά στον τόπο διαμονής των πολιτών</a:t>
            </a:r>
            <a:endParaRPr lang="en-US" sz="1600" b="0" strike="noStrike" spc="-1">
              <a:latin typeface="Arial"/>
            </a:endParaRPr>
          </a:p>
          <a:p>
            <a:pPr marL="285840" indent="-283680" algn="just">
              <a:lnSpc>
                <a:spcPct val="107000"/>
              </a:lnSpc>
              <a:spcBef>
                <a:spcPts val="799"/>
              </a:spcBef>
              <a:buClr>
                <a:srgbClr val="000000"/>
              </a:buClr>
              <a:buFont typeface="Arial"/>
              <a:buChar char="•"/>
              <a:tabLst>
                <a:tab pos="0" algn="l"/>
              </a:tabLst>
            </a:pPr>
            <a:r>
              <a:rPr lang="el-GR" sz="1600" b="0" strike="noStrike" spc="-1">
                <a:solidFill>
                  <a:srgbClr val="000000"/>
                </a:solidFill>
                <a:latin typeface="Calibri"/>
                <a:ea typeface="Calibri"/>
              </a:rPr>
              <a:t>Την υλοποίηση υπηρεσιών μιας στάσης</a:t>
            </a:r>
            <a:endParaRPr lang="en-US" sz="1600" b="0" strike="noStrike" spc="-1">
              <a:latin typeface="Arial"/>
            </a:endParaRPr>
          </a:p>
          <a:p>
            <a:pPr marL="285840" indent="-283680" algn="just">
              <a:lnSpc>
                <a:spcPct val="107000"/>
              </a:lnSpc>
              <a:spcBef>
                <a:spcPts val="799"/>
              </a:spcBef>
              <a:buClr>
                <a:srgbClr val="000000"/>
              </a:buClr>
              <a:buFont typeface="Arial"/>
              <a:buChar char="•"/>
              <a:tabLst>
                <a:tab pos="0" algn="l"/>
              </a:tabLst>
            </a:pPr>
            <a:r>
              <a:rPr lang="el-GR" sz="1600" b="0" strike="noStrike" spc="-1">
                <a:solidFill>
                  <a:srgbClr val="000000"/>
                </a:solidFill>
                <a:latin typeface="Calibri"/>
                <a:ea typeface="Calibri"/>
              </a:rPr>
              <a:t>Την ενίσχυση των κέντρων υγείας</a:t>
            </a:r>
            <a:endParaRPr lang="en-US" sz="1600" b="0" strike="noStrike" spc="-1">
              <a:latin typeface="Arial"/>
            </a:endParaRPr>
          </a:p>
          <a:p>
            <a:pPr marL="285840" indent="-283680" algn="just">
              <a:lnSpc>
                <a:spcPct val="107000"/>
              </a:lnSpc>
              <a:spcBef>
                <a:spcPts val="799"/>
              </a:spcBef>
              <a:buClr>
                <a:srgbClr val="000000"/>
              </a:buClr>
              <a:buFont typeface="Arial"/>
              <a:buChar char="•"/>
              <a:tabLst>
                <a:tab pos="0" algn="l"/>
              </a:tabLst>
            </a:pPr>
            <a:r>
              <a:rPr lang="el-GR" sz="1600" b="0" strike="noStrike" spc="-1">
                <a:solidFill>
                  <a:srgbClr val="000000"/>
                </a:solidFill>
                <a:latin typeface="Calibri"/>
                <a:ea typeface="Calibri"/>
              </a:rPr>
              <a:t>Την δημιουργία νέων ΤΟΜΥ και ΚΟΜΥ</a:t>
            </a:r>
            <a:endParaRPr lang="en-US" sz="1600" b="0" strike="noStrike" spc="-1">
              <a:latin typeface="Arial"/>
            </a:endParaRPr>
          </a:p>
          <a:p>
            <a:pPr marL="285840" indent="-283680" algn="just">
              <a:lnSpc>
                <a:spcPct val="107000"/>
              </a:lnSpc>
              <a:spcBef>
                <a:spcPts val="799"/>
              </a:spcBef>
              <a:buClr>
                <a:srgbClr val="000000"/>
              </a:buClr>
              <a:buFont typeface="Arial"/>
              <a:buChar char="•"/>
              <a:tabLst>
                <a:tab pos="0" algn="l"/>
              </a:tabLst>
            </a:pPr>
            <a:r>
              <a:rPr lang="el-GR" sz="1600" b="0" strike="noStrike" spc="-1">
                <a:solidFill>
                  <a:srgbClr val="000000"/>
                </a:solidFill>
                <a:latin typeface="Calibri"/>
                <a:ea typeface="Calibri"/>
              </a:rPr>
              <a:t>Το Εθνικό Δίκτυο Τηλεϊατρικής, που αλλάζει τα δεδομένα στην πρόσβαση των πολιτών </a:t>
            </a:r>
            <a:endParaRPr lang="en-US" sz="1600" b="0" strike="noStrike" spc="-1">
              <a:latin typeface="Arial"/>
            </a:endParaRPr>
          </a:p>
        </p:txBody>
      </p:sp>
      <p:sp>
        <p:nvSpPr>
          <p:cNvPr id="230" name="CustomShape 8"/>
          <p:cNvSpPr/>
          <p:nvPr/>
        </p:nvSpPr>
        <p:spPr>
          <a:xfrm>
            <a:off x="1337400" y="3002760"/>
            <a:ext cx="783720" cy="3027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tabLst>
                <a:tab pos="0" algn="l"/>
              </a:tabLst>
            </a:pPr>
            <a:r>
              <a:rPr lang="el-GR" sz="1400" b="1" strike="noStrike" spc="-1">
                <a:solidFill>
                  <a:srgbClr val="000000"/>
                </a:solidFill>
                <a:latin typeface="Arial"/>
                <a:ea typeface="Arial"/>
              </a:rPr>
              <a:t>Στόχος</a:t>
            </a:r>
            <a:endParaRPr lang="en-US" sz="1400" b="0" strike="noStrike" spc="-1">
              <a:latin typeface="Arial"/>
            </a:endParaRPr>
          </a:p>
        </p:txBody>
      </p:sp>
      <p:sp>
        <p:nvSpPr>
          <p:cNvPr id="231" name="CustomShape 9"/>
          <p:cNvSpPr/>
          <p:nvPr/>
        </p:nvSpPr>
        <p:spPr>
          <a:xfrm>
            <a:off x="1311120" y="4861800"/>
            <a:ext cx="854280" cy="3027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tabLst>
                <a:tab pos="0" algn="l"/>
              </a:tabLst>
            </a:pPr>
            <a:r>
              <a:rPr lang="el-GR" sz="1400" b="1" strike="noStrike" spc="-1">
                <a:solidFill>
                  <a:srgbClr val="000000"/>
                </a:solidFill>
                <a:latin typeface="Arial"/>
                <a:ea typeface="Arial"/>
              </a:rPr>
              <a:t>Πλαίσιο</a:t>
            </a:r>
            <a:endParaRPr lang="en-US" sz="1400" b="0" strike="noStrike" spc="-1">
              <a:latin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6" name="CustomShape 1"/>
          <p:cNvSpPr/>
          <p:nvPr/>
        </p:nvSpPr>
        <p:spPr>
          <a:xfrm>
            <a:off x="327600" y="399600"/>
            <a:ext cx="11341440" cy="833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oAutofit/>
          </a:bodyPr>
          <a:lstStyle/>
          <a:p>
            <a:pPr>
              <a:lnSpc>
                <a:spcPct val="90000"/>
              </a:lnSpc>
              <a:tabLst>
                <a:tab pos="0" algn="l"/>
              </a:tabLst>
            </a:pPr>
            <a:r>
              <a:rPr lang="el-GR" sz="2600" b="1" strike="noStrike" spc="-1">
                <a:solidFill>
                  <a:srgbClr val="31506D"/>
                </a:solidFill>
                <a:latin typeface="Calibri"/>
                <a:ea typeface="Calibri"/>
              </a:rPr>
              <a:t>Σήμερα συμμετέχουν στον θεσμό 2.215 δημόσιοι Π.Ι., 1.272 ιδιώτες Π.Ι. και έχουμε περίπου 5 εκ εγγεγραμμένους πολίτες που αντιπροσωπεύουν το 56%</a:t>
            </a:r>
            <a:endParaRPr lang="en-US" sz="2600" b="0" strike="noStrike" spc="-1">
              <a:latin typeface="Arial"/>
            </a:endParaRPr>
          </a:p>
        </p:txBody>
      </p:sp>
      <p:sp>
        <p:nvSpPr>
          <p:cNvPr id="507" name="CustomShape 2"/>
          <p:cNvSpPr/>
          <p:nvPr/>
        </p:nvSpPr>
        <p:spPr>
          <a:xfrm>
            <a:off x="11296440" y="6377040"/>
            <a:ext cx="519840" cy="25344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chor="ctr">
            <a:noAutofit/>
          </a:bodyPr>
          <a:lstStyle/>
          <a:p>
            <a:pPr>
              <a:lnSpc>
                <a:spcPct val="100000"/>
              </a:lnSpc>
              <a:tabLst>
                <a:tab pos="0" algn="l"/>
              </a:tabLst>
            </a:pPr>
            <a:fld id="{D7859E2C-1E22-45F8-A65B-47B2AB6B4E08}" type="slidenum">
              <a:rPr lang="el-GR" sz="1000" b="0" strike="noStrike" spc="-1">
                <a:solidFill>
                  <a:srgbClr val="000000"/>
                </a:solidFill>
                <a:latin typeface="Calibri"/>
                <a:ea typeface="Calibri"/>
              </a:rPr>
              <a:t>4</a:t>
            </a:fld>
            <a:endParaRPr lang="en-US" sz="1000" b="0" strike="noStrike" spc="-1">
              <a:latin typeface="Arial"/>
            </a:endParaRPr>
          </a:p>
        </p:txBody>
      </p:sp>
      <p:sp>
        <p:nvSpPr>
          <p:cNvPr id="508" name="CustomShape 3"/>
          <p:cNvSpPr/>
          <p:nvPr/>
        </p:nvSpPr>
        <p:spPr>
          <a:xfrm>
            <a:off x="326160" y="1251720"/>
            <a:ext cx="11341440" cy="365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chor="ctr">
            <a:noAutofit/>
          </a:bodyPr>
          <a:lstStyle/>
          <a:p>
            <a:pPr>
              <a:lnSpc>
                <a:spcPct val="100000"/>
              </a:lnSpc>
              <a:tabLst>
                <a:tab pos="0" algn="l"/>
              </a:tabLst>
            </a:pPr>
            <a:r>
              <a:rPr lang="el-GR" sz="1800" b="1" strike="noStrike" spc="-1">
                <a:solidFill>
                  <a:srgbClr val="363636"/>
                </a:solidFill>
                <a:latin typeface="Calibri"/>
                <a:ea typeface="Calibri"/>
              </a:rPr>
              <a:t>Υφιστάμενο νομοθετικό πλαίσιο του προγράμματος του Προσωπικού Ιατρού</a:t>
            </a:r>
            <a:endParaRPr lang="en-US" sz="1800" b="0" strike="noStrike" spc="-1">
              <a:latin typeface="Arial"/>
            </a:endParaRPr>
          </a:p>
        </p:txBody>
      </p:sp>
      <p:sp>
        <p:nvSpPr>
          <p:cNvPr id="509" name="CustomShape 4"/>
          <p:cNvSpPr/>
          <p:nvPr/>
        </p:nvSpPr>
        <p:spPr>
          <a:xfrm>
            <a:off x="938520" y="6523200"/>
            <a:ext cx="10313280" cy="25344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b">
            <a:noAutofit/>
          </a:bodyPr>
          <a:lstStyle/>
          <a:p>
            <a:pPr>
              <a:lnSpc>
                <a:spcPct val="100000"/>
              </a:lnSpc>
              <a:tabLst>
                <a:tab pos="0" algn="l"/>
              </a:tabLst>
            </a:pPr>
            <a:r>
              <a:rPr lang="el-GR" sz="900" b="0" strike="noStrike" spc="-1">
                <a:solidFill>
                  <a:srgbClr val="000000"/>
                </a:solidFill>
                <a:latin typeface="Calibri"/>
                <a:ea typeface="Calibri"/>
              </a:rPr>
              <a:t>Πηγή: ΦΕΚ 23 Σεπτεμβρίου 2022, Αρ. Φύλλου 4978, Υπ. Απόφαση Αριθμ. Γ1α/Γ.Π.οικ. 53427/2022 και POWER BI</a:t>
            </a:r>
            <a:endParaRPr lang="en-US" sz="900" b="0" strike="noStrike" spc="-1">
              <a:latin typeface="Arial"/>
            </a:endParaRPr>
          </a:p>
        </p:txBody>
      </p:sp>
      <p:graphicFrame>
        <p:nvGraphicFramePr>
          <p:cNvPr id="510" name="Table 5"/>
          <p:cNvGraphicFramePr/>
          <p:nvPr/>
        </p:nvGraphicFramePr>
        <p:xfrm>
          <a:off x="489600" y="1759680"/>
          <a:ext cx="4680000" cy="4698360"/>
        </p:xfrm>
        <a:graphic>
          <a:graphicData uri="http://schemas.openxmlformats.org/drawingml/2006/table">
            <a:tbl>
              <a:tblPr/>
              <a:tblGrid>
                <a:gridCol w="1296000">
                  <a:extLst>
                    <a:ext uri="{9D8B030D-6E8A-4147-A177-3AD203B41FA5}">
                      <a16:colId xmlns:a16="http://schemas.microsoft.com/office/drawing/2014/main" val="20000"/>
                    </a:ext>
                  </a:extLst>
                </a:gridCol>
                <a:gridCol w="1296000">
                  <a:extLst>
                    <a:ext uri="{9D8B030D-6E8A-4147-A177-3AD203B41FA5}">
                      <a16:colId xmlns:a16="http://schemas.microsoft.com/office/drawing/2014/main" val="20001"/>
                    </a:ext>
                  </a:extLst>
                </a:gridCol>
                <a:gridCol w="1044000">
                  <a:extLst>
                    <a:ext uri="{9D8B030D-6E8A-4147-A177-3AD203B41FA5}">
                      <a16:colId xmlns:a16="http://schemas.microsoft.com/office/drawing/2014/main" val="20002"/>
                    </a:ext>
                  </a:extLst>
                </a:gridCol>
                <a:gridCol w="1044000">
                  <a:extLst>
                    <a:ext uri="{9D8B030D-6E8A-4147-A177-3AD203B41FA5}">
                      <a16:colId xmlns:a16="http://schemas.microsoft.com/office/drawing/2014/main" val="20003"/>
                    </a:ext>
                  </a:extLst>
                </a:gridCol>
              </a:tblGrid>
              <a:tr h="1229400">
                <a:tc gridSpan="2">
                  <a:txBody>
                    <a:bodyPr/>
                    <a:lstStyle/>
                    <a:p>
                      <a:endParaRPr lang="el-GR"/>
                    </a:p>
                  </a:txBody>
                  <a:tcPr>
                    <a:lnL w="9360">
                      <a:solidFill>
                        <a:srgbClr val="000000"/>
                      </a:solidFill>
                    </a:lnL>
                    <a:lnR w="9360">
                      <a:solidFill>
                        <a:srgbClr val="000000"/>
                      </a:solidFill>
                    </a:lnR>
                    <a:lnT w="9360">
                      <a:solidFill>
                        <a:srgbClr val="000000"/>
                      </a:solidFill>
                    </a:lnT>
                    <a:lnB w="9360">
                      <a:solidFill>
                        <a:srgbClr val="000000"/>
                      </a:solidFill>
                    </a:lnB>
                    <a:noFill/>
                  </a:tcPr>
                </a:tc>
                <a:tc hMerge="1">
                  <a:txBody>
                    <a:bodyPr/>
                    <a:lstStyle/>
                    <a:p>
                      <a:endParaRPr lang="el-GR"/>
                    </a:p>
                  </a:txBody>
                  <a:tcPr marL="90000" marR="90000">
                    <a:solidFill>
                      <a:srgbClr val="729FCF"/>
                    </a:solidFill>
                  </a:tcPr>
                </a:tc>
                <a:tc>
                  <a:txBody>
                    <a:bodyPr/>
                    <a:lstStyle/>
                    <a:p>
                      <a:pPr algn="ctr">
                        <a:lnSpc>
                          <a:spcPct val="100000"/>
                        </a:lnSpc>
                        <a:tabLst>
                          <a:tab pos="0" algn="l"/>
                        </a:tabLst>
                      </a:pPr>
                      <a:r>
                        <a:rPr lang="el-GR" sz="1400" b="1" strike="noStrike" spc="-1">
                          <a:solidFill>
                            <a:srgbClr val="000000"/>
                          </a:solidFill>
                          <a:latin typeface="Arial"/>
                          <a:ea typeface="Arial"/>
                        </a:rPr>
                        <a:t>Δημόσιοι </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tc>
                  <a:txBody>
                    <a:bodyPr/>
                    <a:lstStyle/>
                    <a:p>
                      <a:pPr algn="ctr">
                        <a:lnSpc>
                          <a:spcPct val="100000"/>
                        </a:lnSpc>
                        <a:tabLst>
                          <a:tab pos="0" algn="l"/>
                        </a:tabLst>
                      </a:pPr>
                      <a:r>
                        <a:rPr lang="el-GR" sz="1400" b="1" strike="noStrike" spc="-1">
                          <a:solidFill>
                            <a:srgbClr val="000000"/>
                          </a:solidFill>
                          <a:latin typeface="Arial"/>
                          <a:ea typeface="Arial"/>
                        </a:rPr>
                        <a:t>Ιδιώτες</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extLst>
                  <a:ext uri="{0D108BD9-81ED-4DB2-BD59-A6C34878D82A}">
                    <a16:rowId xmlns:a16="http://schemas.microsoft.com/office/drawing/2014/main" val="10000"/>
                  </a:ext>
                </a:extLst>
              </a:tr>
              <a:tr h="385200">
                <a:tc gridSpan="2">
                  <a:txBody>
                    <a:bodyPr/>
                    <a:lstStyle/>
                    <a:p>
                      <a:pPr>
                        <a:lnSpc>
                          <a:spcPct val="100000"/>
                        </a:lnSpc>
                        <a:tabLst>
                          <a:tab pos="0" algn="l"/>
                        </a:tabLst>
                      </a:pPr>
                      <a:r>
                        <a:rPr lang="el-GR" sz="1400" b="1" strike="noStrike" spc="-1">
                          <a:solidFill>
                            <a:srgbClr val="000000"/>
                          </a:solidFill>
                          <a:latin typeface="Arial"/>
                          <a:ea typeface="Arial"/>
                        </a:rPr>
                        <a:t>Σήμερα συμμετέχουν</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tc hMerge="1">
                  <a:txBody>
                    <a:bodyPr/>
                    <a:lstStyle/>
                    <a:p>
                      <a:endParaRPr lang="el-GR"/>
                    </a:p>
                  </a:txBody>
                  <a:tcPr marL="90000" marR="90000">
                    <a:solidFill>
                      <a:srgbClr val="729FCF"/>
                    </a:solidFill>
                  </a:tcPr>
                </a:tc>
                <a:tc>
                  <a:txBody>
                    <a:bodyPr/>
                    <a:lstStyle/>
                    <a:p>
                      <a:pPr algn="ctr">
                        <a:lnSpc>
                          <a:spcPct val="100000"/>
                        </a:lnSpc>
                        <a:tabLst>
                          <a:tab pos="0" algn="l"/>
                        </a:tabLst>
                      </a:pPr>
                      <a:r>
                        <a:rPr lang="el-GR" sz="1400" b="0" strike="noStrike" spc="-1">
                          <a:solidFill>
                            <a:srgbClr val="000000"/>
                          </a:solidFill>
                          <a:latin typeface="Arial"/>
                          <a:ea typeface="Arial"/>
                        </a:rPr>
                        <a:t>2.215</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1.272</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extLst>
                  <a:ext uri="{0D108BD9-81ED-4DB2-BD59-A6C34878D82A}">
                    <a16:rowId xmlns:a16="http://schemas.microsoft.com/office/drawing/2014/main" val="10001"/>
                  </a:ext>
                </a:extLst>
              </a:tr>
              <a:tr h="385200">
                <a:tc rowSpan="3">
                  <a:txBody>
                    <a:bodyPr/>
                    <a:lstStyle/>
                    <a:p>
                      <a:pPr>
                        <a:lnSpc>
                          <a:spcPct val="100000"/>
                        </a:lnSpc>
                        <a:tabLst>
                          <a:tab pos="0" algn="l"/>
                        </a:tabLst>
                      </a:pPr>
                      <a:r>
                        <a:rPr lang="el-GR" sz="1400" b="1" strike="noStrike" spc="-1">
                          <a:solidFill>
                            <a:srgbClr val="000000"/>
                          </a:solidFill>
                          <a:latin typeface="Arial"/>
                          <a:ea typeface="Arial"/>
                        </a:rPr>
                        <a:t>Ετήσια αποζημίωση ανά πολίτη</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tc>
                  <a:txBody>
                    <a:bodyPr/>
                    <a:lstStyle/>
                    <a:p>
                      <a:pPr>
                        <a:lnSpc>
                          <a:spcPct val="100000"/>
                        </a:lnSpc>
                        <a:tabLst>
                          <a:tab pos="0" algn="l"/>
                        </a:tabLst>
                      </a:pPr>
                      <a:r>
                        <a:rPr lang="el-GR" sz="1400" b="0" strike="noStrike" spc="-1">
                          <a:solidFill>
                            <a:srgbClr val="000000"/>
                          </a:solidFill>
                          <a:latin typeface="Arial"/>
                          <a:ea typeface="Arial"/>
                        </a:rPr>
                        <a:t>Ηλικία 16-49</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20 €</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20 €</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extLst>
                  <a:ext uri="{0D108BD9-81ED-4DB2-BD59-A6C34878D82A}">
                    <a16:rowId xmlns:a16="http://schemas.microsoft.com/office/drawing/2014/main" val="10002"/>
                  </a:ext>
                </a:extLst>
              </a:tr>
              <a:tr h="385200">
                <a:tc vMerge="1">
                  <a:txBody>
                    <a:bodyPr/>
                    <a:lstStyle/>
                    <a:p>
                      <a:endParaRPr lang="el-GR"/>
                    </a:p>
                  </a:txBody>
                  <a:tcPr marL="90000" marR="90000">
                    <a:solidFill>
                      <a:srgbClr val="729FCF"/>
                    </a:solidFill>
                  </a:tcPr>
                </a:tc>
                <a:tc>
                  <a:txBody>
                    <a:bodyPr/>
                    <a:lstStyle/>
                    <a:p>
                      <a:pPr>
                        <a:lnSpc>
                          <a:spcPct val="100000"/>
                        </a:lnSpc>
                        <a:tabLst>
                          <a:tab pos="0" algn="l"/>
                        </a:tabLst>
                      </a:pPr>
                      <a:r>
                        <a:rPr lang="el-GR" sz="1400" b="0" strike="noStrike" spc="-1">
                          <a:solidFill>
                            <a:srgbClr val="000000"/>
                          </a:solidFill>
                          <a:latin typeface="Arial"/>
                          <a:ea typeface="Arial"/>
                        </a:rPr>
                        <a:t>Ηλικία 50-69</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23 €</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30 €</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extLst>
                  <a:ext uri="{0D108BD9-81ED-4DB2-BD59-A6C34878D82A}">
                    <a16:rowId xmlns:a16="http://schemas.microsoft.com/office/drawing/2014/main" val="10003"/>
                  </a:ext>
                </a:extLst>
              </a:tr>
              <a:tr h="385200">
                <a:tc vMerge="1">
                  <a:txBody>
                    <a:bodyPr/>
                    <a:lstStyle/>
                    <a:p>
                      <a:endParaRPr lang="el-GR"/>
                    </a:p>
                  </a:txBody>
                  <a:tcPr marL="90000" marR="90000">
                    <a:solidFill>
                      <a:srgbClr val="729FCF"/>
                    </a:solidFill>
                  </a:tcPr>
                </a:tc>
                <a:tc>
                  <a:txBody>
                    <a:bodyPr/>
                    <a:lstStyle/>
                    <a:p>
                      <a:pPr>
                        <a:lnSpc>
                          <a:spcPct val="100000"/>
                        </a:lnSpc>
                        <a:tabLst>
                          <a:tab pos="0" algn="l"/>
                        </a:tabLst>
                      </a:pPr>
                      <a:r>
                        <a:rPr lang="el-GR" sz="1400" b="0" strike="noStrike" spc="-1">
                          <a:solidFill>
                            <a:srgbClr val="000000"/>
                          </a:solidFill>
                          <a:latin typeface="Arial"/>
                          <a:ea typeface="Arial"/>
                        </a:rPr>
                        <a:t>Ηλικία 70+</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25 €</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45 €</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extLst>
                  <a:ext uri="{0D108BD9-81ED-4DB2-BD59-A6C34878D82A}">
                    <a16:rowId xmlns:a16="http://schemas.microsoft.com/office/drawing/2014/main" val="10004"/>
                  </a:ext>
                </a:extLst>
              </a:tr>
              <a:tr h="385200">
                <a:tc rowSpan="5" gridSpan="2">
                  <a:txBody>
                    <a:bodyPr/>
                    <a:lstStyle/>
                    <a:p>
                      <a:pPr>
                        <a:lnSpc>
                          <a:spcPct val="100000"/>
                        </a:lnSpc>
                        <a:tabLst>
                          <a:tab pos="0" algn="l"/>
                        </a:tabLst>
                      </a:pPr>
                      <a:r>
                        <a:rPr lang="el-GR" sz="1400" b="1" strike="noStrike" spc="-1">
                          <a:solidFill>
                            <a:srgbClr val="000000"/>
                          </a:solidFill>
                          <a:latin typeface="Arial"/>
                          <a:ea typeface="Arial"/>
                        </a:rPr>
                        <a:t>Όρια εγγραφών</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tc rowSpan="5" hMerge="1">
                  <a:txBody>
                    <a:bodyPr/>
                    <a:lstStyle/>
                    <a:p>
                      <a:endParaRPr lang="el-GR"/>
                    </a:p>
                  </a:txBody>
                  <a:tcPr marL="90000" marR="90000">
                    <a:solidFill>
                      <a:srgbClr val="729FCF"/>
                    </a:solidFill>
                  </a:tcPr>
                </a:tc>
                <a:tc rowSpan="5">
                  <a:txBody>
                    <a:bodyPr/>
                    <a:lstStyle/>
                    <a:p>
                      <a:pPr algn="ctr">
                        <a:lnSpc>
                          <a:spcPct val="100000"/>
                        </a:lnSpc>
                        <a:tabLst>
                          <a:tab pos="0" algn="l"/>
                        </a:tabLst>
                      </a:pPr>
                      <a:r>
                        <a:rPr lang="el-GR" sz="1400" b="0" strike="noStrike" spc="-1">
                          <a:solidFill>
                            <a:srgbClr val="000000"/>
                          </a:solidFill>
                          <a:latin typeface="Arial"/>
                          <a:ea typeface="Arial"/>
                        </a:rPr>
                        <a:t>2,000</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tc>
                  <a:txBody>
                    <a:bodyPr/>
                    <a:lstStyle/>
                    <a:p>
                      <a:pPr algn="ctr">
                        <a:lnSpc>
                          <a:spcPct val="100000"/>
                        </a:lnSpc>
                        <a:tabLst>
                          <a:tab pos="0" algn="l"/>
                        </a:tabLst>
                      </a:pPr>
                      <a:r>
                        <a:rPr lang="el-GR" sz="1400" b="0" strike="noStrike" spc="-1">
                          <a:solidFill>
                            <a:srgbClr val="000000"/>
                          </a:solidFill>
                          <a:latin typeface="Arial"/>
                          <a:ea typeface="Arial"/>
                        </a:rPr>
                        <a:t>857</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extLst>
                  <a:ext uri="{0D108BD9-81ED-4DB2-BD59-A6C34878D82A}">
                    <a16:rowId xmlns:a16="http://schemas.microsoft.com/office/drawing/2014/main" val="10005"/>
                  </a:ext>
                </a:extLst>
              </a:tr>
              <a:tr h="385200">
                <a:tc gridSpan="2" vMerge="1">
                  <a:txBody>
                    <a:bodyPr/>
                    <a:lstStyle/>
                    <a:p>
                      <a:endParaRPr lang="el-GR"/>
                    </a:p>
                  </a:txBody>
                  <a:tcPr marL="90000" marR="90000">
                    <a:solidFill>
                      <a:srgbClr val="729FCF"/>
                    </a:solidFill>
                  </a:tcPr>
                </a:tc>
                <a:tc hMerge="1" vMerge="1">
                  <a:txBody>
                    <a:bodyPr/>
                    <a:lstStyle/>
                    <a:p>
                      <a:endParaRPr lang="el-GR"/>
                    </a:p>
                  </a:txBody>
                  <a:tcPr marL="90000" marR="90000">
                    <a:solidFill>
                      <a:srgbClr val="729FCF"/>
                    </a:solidFill>
                  </a:tcPr>
                </a:tc>
                <a:tc vMerge="1">
                  <a:txBody>
                    <a:bodyPr/>
                    <a:lstStyle/>
                    <a:p>
                      <a:endParaRPr lang="el-GR"/>
                    </a:p>
                  </a:txBody>
                  <a:tcPr marL="90000" marR="90000">
                    <a:solidFill>
                      <a:srgbClr val="729FCF"/>
                    </a:solidFill>
                  </a:tcPr>
                </a:tc>
                <a:tc>
                  <a:txBody>
                    <a:bodyPr/>
                    <a:lstStyle/>
                    <a:p>
                      <a:pPr algn="ctr">
                        <a:lnSpc>
                          <a:spcPct val="100000"/>
                        </a:lnSpc>
                        <a:tabLst>
                          <a:tab pos="0" algn="l"/>
                        </a:tabLst>
                      </a:pPr>
                      <a:r>
                        <a:rPr lang="el-GR" sz="1400" b="0" strike="noStrike" spc="-1">
                          <a:solidFill>
                            <a:srgbClr val="000000"/>
                          </a:solidFill>
                          <a:latin typeface="Arial"/>
                          <a:ea typeface="Arial"/>
                        </a:rPr>
                        <a:t>1.143</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extLst>
                  <a:ext uri="{0D108BD9-81ED-4DB2-BD59-A6C34878D82A}">
                    <a16:rowId xmlns:a16="http://schemas.microsoft.com/office/drawing/2014/main" val="10006"/>
                  </a:ext>
                </a:extLst>
              </a:tr>
              <a:tr h="385200">
                <a:tc gridSpan="2" vMerge="1">
                  <a:txBody>
                    <a:bodyPr/>
                    <a:lstStyle/>
                    <a:p>
                      <a:endParaRPr lang="el-GR"/>
                    </a:p>
                  </a:txBody>
                  <a:tcPr marL="90000" marR="90000">
                    <a:solidFill>
                      <a:srgbClr val="729FCF"/>
                    </a:solidFill>
                  </a:tcPr>
                </a:tc>
                <a:tc hMerge="1" vMerge="1">
                  <a:txBody>
                    <a:bodyPr/>
                    <a:lstStyle/>
                    <a:p>
                      <a:endParaRPr lang="el-GR"/>
                    </a:p>
                  </a:txBody>
                  <a:tcPr marL="90000" marR="90000">
                    <a:solidFill>
                      <a:srgbClr val="729FCF"/>
                    </a:solidFill>
                  </a:tcPr>
                </a:tc>
                <a:tc vMerge="1">
                  <a:txBody>
                    <a:bodyPr/>
                    <a:lstStyle/>
                    <a:p>
                      <a:endParaRPr lang="el-GR"/>
                    </a:p>
                  </a:txBody>
                  <a:tcPr marL="90000" marR="90000">
                    <a:solidFill>
                      <a:srgbClr val="729FCF"/>
                    </a:solidFill>
                  </a:tcPr>
                </a:tc>
                <a:tc>
                  <a:txBody>
                    <a:bodyPr/>
                    <a:lstStyle/>
                    <a:p>
                      <a:pPr algn="ctr">
                        <a:lnSpc>
                          <a:spcPct val="100000"/>
                        </a:lnSpc>
                        <a:tabLst>
                          <a:tab pos="0" algn="l"/>
                        </a:tabLst>
                      </a:pPr>
                      <a:r>
                        <a:rPr lang="el-GR" sz="1400" b="0" strike="noStrike" spc="-1">
                          <a:solidFill>
                            <a:srgbClr val="000000"/>
                          </a:solidFill>
                          <a:latin typeface="Arial"/>
                          <a:ea typeface="Arial"/>
                        </a:rPr>
                        <a:t>1.429</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extLst>
                  <a:ext uri="{0D108BD9-81ED-4DB2-BD59-A6C34878D82A}">
                    <a16:rowId xmlns:a16="http://schemas.microsoft.com/office/drawing/2014/main" val="10007"/>
                  </a:ext>
                </a:extLst>
              </a:tr>
              <a:tr h="385200">
                <a:tc gridSpan="2" vMerge="1">
                  <a:txBody>
                    <a:bodyPr/>
                    <a:lstStyle/>
                    <a:p>
                      <a:endParaRPr lang="el-GR"/>
                    </a:p>
                  </a:txBody>
                  <a:tcPr marL="90000" marR="90000">
                    <a:solidFill>
                      <a:srgbClr val="729FCF"/>
                    </a:solidFill>
                  </a:tcPr>
                </a:tc>
                <a:tc hMerge="1" vMerge="1">
                  <a:txBody>
                    <a:bodyPr/>
                    <a:lstStyle/>
                    <a:p>
                      <a:endParaRPr lang="el-GR"/>
                    </a:p>
                  </a:txBody>
                  <a:tcPr marL="90000" marR="90000">
                    <a:solidFill>
                      <a:srgbClr val="729FCF"/>
                    </a:solidFill>
                  </a:tcPr>
                </a:tc>
                <a:tc vMerge="1">
                  <a:txBody>
                    <a:bodyPr/>
                    <a:lstStyle/>
                    <a:p>
                      <a:endParaRPr lang="el-GR"/>
                    </a:p>
                  </a:txBody>
                  <a:tcPr marL="90000" marR="90000">
                    <a:solidFill>
                      <a:srgbClr val="729FCF"/>
                    </a:solidFill>
                  </a:tcPr>
                </a:tc>
                <a:tc>
                  <a:txBody>
                    <a:bodyPr/>
                    <a:lstStyle/>
                    <a:p>
                      <a:pPr algn="ctr">
                        <a:lnSpc>
                          <a:spcPct val="100000"/>
                        </a:lnSpc>
                        <a:tabLst>
                          <a:tab pos="0" algn="l"/>
                        </a:tabLst>
                      </a:pPr>
                      <a:r>
                        <a:rPr lang="el-GR" sz="1400" b="0" strike="noStrike" spc="-1">
                          <a:solidFill>
                            <a:srgbClr val="000000"/>
                          </a:solidFill>
                          <a:latin typeface="Arial"/>
                          <a:ea typeface="Arial"/>
                        </a:rPr>
                        <a:t>1.714</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extLst>
                  <a:ext uri="{0D108BD9-81ED-4DB2-BD59-A6C34878D82A}">
                    <a16:rowId xmlns:a16="http://schemas.microsoft.com/office/drawing/2014/main" val="10008"/>
                  </a:ext>
                </a:extLst>
              </a:tr>
              <a:tr h="387360">
                <a:tc gridSpan="2" vMerge="1">
                  <a:txBody>
                    <a:bodyPr/>
                    <a:lstStyle/>
                    <a:p>
                      <a:endParaRPr lang="el-GR"/>
                    </a:p>
                  </a:txBody>
                  <a:tcPr marL="90000" marR="90000">
                    <a:solidFill>
                      <a:srgbClr val="729FCF"/>
                    </a:solidFill>
                  </a:tcPr>
                </a:tc>
                <a:tc hMerge="1" vMerge="1">
                  <a:txBody>
                    <a:bodyPr/>
                    <a:lstStyle/>
                    <a:p>
                      <a:endParaRPr lang="el-GR"/>
                    </a:p>
                  </a:txBody>
                  <a:tcPr marL="90000" marR="90000">
                    <a:solidFill>
                      <a:srgbClr val="729FCF"/>
                    </a:solidFill>
                  </a:tcPr>
                </a:tc>
                <a:tc vMerge="1">
                  <a:txBody>
                    <a:bodyPr/>
                    <a:lstStyle/>
                    <a:p>
                      <a:endParaRPr lang="el-GR"/>
                    </a:p>
                  </a:txBody>
                  <a:tcPr marL="90000" marR="90000">
                    <a:solidFill>
                      <a:srgbClr val="729FCF"/>
                    </a:solidFill>
                  </a:tcPr>
                </a:tc>
                <a:tc>
                  <a:txBody>
                    <a:bodyPr/>
                    <a:lstStyle/>
                    <a:p>
                      <a:pPr algn="ctr">
                        <a:lnSpc>
                          <a:spcPct val="100000"/>
                        </a:lnSpc>
                        <a:tabLst>
                          <a:tab pos="0" algn="l"/>
                        </a:tabLst>
                      </a:pPr>
                      <a:r>
                        <a:rPr lang="el-GR" sz="1400" b="0" strike="noStrike" spc="-1">
                          <a:solidFill>
                            <a:srgbClr val="000000"/>
                          </a:solidFill>
                          <a:latin typeface="Arial"/>
                          <a:ea typeface="Arial"/>
                        </a:rPr>
                        <a:t>2.000</a:t>
                      </a:r>
                      <a:endParaRPr lang="en-US" sz="1400" b="0" strike="noStrike" spc="-1">
                        <a:latin typeface="Arial"/>
                      </a:endParaRPr>
                    </a:p>
                  </a:txBody>
                  <a:tcPr>
                    <a:lnL w="9360">
                      <a:solidFill>
                        <a:srgbClr val="000000"/>
                      </a:solidFill>
                    </a:lnL>
                    <a:lnR w="9360">
                      <a:solidFill>
                        <a:srgbClr val="000000"/>
                      </a:solidFill>
                    </a:lnR>
                    <a:lnT w="9360">
                      <a:solidFill>
                        <a:srgbClr val="000000"/>
                      </a:solidFill>
                    </a:lnT>
                    <a:lnB w="9360">
                      <a:solidFill>
                        <a:srgbClr val="000000"/>
                      </a:solidFill>
                    </a:lnB>
                    <a:noFill/>
                  </a:tcPr>
                </a:tc>
                <a:extLst>
                  <a:ext uri="{0D108BD9-81ED-4DB2-BD59-A6C34878D82A}">
                    <a16:rowId xmlns:a16="http://schemas.microsoft.com/office/drawing/2014/main" val="10009"/>
                  </a:ext>
                </a:extLst>
              </a:tr>
            </a:tbl>
          </a:graphicData>
        </a:graphic>
      </p:graphicFrame>
      <p:pic>
        <p:nvPicPr>
          <p:cNvPr id="511" name="Google Shape;522;p38" descr="Doctor male with solid fill"/>
          <p:cNvPicPr/>
          <p:nvPr/>
        </p:nvPicPr>
        <p:blipFill>
          <a:blip r:embed="rId2"/>
          <a:stretch/>
        </p:blipFill>
        <p:spPr>
          <a:xfrm>
            <a:off x="3271320" y="1893960"/>
            <a:ext cx="659160" cy="659160"/>
          </a:xfrm>
          <a:prstGeom prst="rect">
            <a:avLst/>
          </a:prstGeom>
          <a:ln w="0">
            <a:noFill/>
          </a:ln>
        </p:spPr>
      </p:pic>
      <p:pic>
        <p:nvPicPr>
          <p:cNvPr id="512" name="Google Shape;523;p38" descr="Doctor male with solid fill"/>
          <p:cNvPicPr/>
          <p:nvPr/>
        </p:nvPicPr>
        <p:blipFill>
          <a:blip r:embed="rId2"/>
          <a:stretch/>
        </p:blipFill>
        <p:spPr>
          <a:xfrm>
            <a:off x="4314960" y="1893960"/>
            <a:ext cx="659160" cy="659160"/>
          </a:xfrm>
          <a:prstGeom prst="rect">
            <a:avLst/>
          </a:prstGeom>
          <a:ln w="0">
            <a:noFill/>
          </a:ln>
        </p:spPr>
      </p:pic>
      <p:sp>
        <p:nvSpPr>
          <p:cNvPr id="513" name="CustomShape 6"/>
          <p:cNvSpPr/>
          <p:nvPr/>
        </p:nvSpPr>
        <p:spPr>
          <a:xfrm>
            <a:off x="6248520" y="3084480"/>
            <a:ext cx="5046120" cy="360"/>
          </a:xfrm>
          <a:custGeom>
            <a:avLst/>
            <a:gdLst/>
            <a:ahLst/>
            <a:cxnLst/>
            <a:rect l="l" t="t" r="r" b="b"/>
            <a:pathLst>
              <a:path w="21600" h="21600">
                <a:moveTo>
                  <a:pt x="0" y="0"/>
                </a:moveTo>
                <a:lnTo>
                  <a:pt x="21600" y="21600"/>
                </a:lnTo>
              </a:path>
            </a:pathLst>
          </a:custGeom>
          <a:noFill/>
          <a:ln w="9525">
            <a:solidFill>
              <a:srgbClr val="DEDEDE"/>
            </a:solidFill>
            <a:prstDash val="dash"/>
            <a:round/>
          </a:ln>
        </p:spPr>
        <p:style>
          <a:lnRef idx="0">
            <a:scrgbClr r="0" g="0" b="0"/>
          </a:lnRef>
          <a:fillRef idx="0">
            <a:scrgbClr r="0" g="0" b="0"/>
          </a:fillRef>
          <a:effectRef idx="0">
            <a:scrgbClr r="0" g="0" b="0"/>
          </a:effectRef>
          <a:fontRef idx="minor"/>
        </p:style>
        <p:txBody>
          <a:bodyPr/>
          <a:lstStyle/>
          <a:p>
            <a:endParaRPr lang="el-GR"/>
          </a:p>
        </p:txBody>
      </p:sp>
      <p:sp>
        <p:nvSpPr>
          <p:cNvPr id="514" name="CustomShape 7"/>
          <p:cNvSpPr/>
          <p:nvPr/>
        </p:nvSpPr>
        <p:spPr>
          <a:xfrm>
            <a:off x="6248520" y="4624560"/>
            <a:ext cx="5046120" cy="360"/>
          </a:xfrm>
          <a:custGeom>
            <a:avLst/>
            <a:gdLst/>
            <a:ahLst/>
            <a:cxnLst/>
            <a:rect l="l" t="t" r="r" b="b"/>
            <a:pathLst>
              <a:path w="21600" h="21600">
                <a:moveTo>
                  <a:pt x="0" y="0"/>
                </a:moveTo>
                <a:lnTo>
                  <a:pt x="21600" y="21600"/>
                </a:lnTo>
              </a:path>
            </a:pathLst>
          </a:custGeom>
          <a:noFill/>
          <a:ln w="9525">
            <a:solidFill>
              <a:srgbClr val="DEDEDE"/>
            </a:solidFill>
            <a:prstDash val="dash"/>
            <a:round/>
          </a:ln>
        </p:spPr>
        <p:style>
          <a:lnRef idx="0">
            <a:scrgbClr r="0" g="0" b="0"/>
          </a:lnRef>
          <a:fillRef idx="0">
            <a:scrgbClr r="0" g="0" b="0"/>
          </a:fillRef>
          <a:effectRef idx="0">
            <a:scrgbClr r="0" g="0" b="0"/>
          </a:effectRef>
          <a:fontRef idx="minor"/>
        </p:style>
        <p:txBody>
          <a:bodyPr/>
          <a:lstStyle/>
          <a:p>
            <a:endParaRPr lang="el-GR"/>
          </a:p>
        </p:txBody>
      </p:sp>
      <p:sp>
        <p:nvSpPr>
          <p:cNvPr id="515" name="CustomShape 8"/>
          <p:cNvSpPr/>
          <p:nvPr/>
        </p:nvSpPr>
        <p:spPr>
          <a:xfrm>
            <a:off x="6248520" y="2057400"/>
            <a:ext cx="5046120" cy="360"/>
          </a:xfrm>
          <a:custGeom>
            <a:avLst/>
            <a:gdLst/>
            <a:ahLst/>
            <a:cxnLst/>
            <a:rect l="l" t="t" r="r" b="b"/>
            <a:pathLst>
              <a:path w="21600" h="21600">
                <a:moveTo>
                  <a:pt x="0" y="0"/>
                </a:moveTo>
                <a:lnTo>
                  <a:pt x="21600" y="21600"/>
                </a:lnTo>
              </a:path>
            </a:pathLst>
          </a:custGeom>
          <a:noFill/>
          <a:ln w="9525">
            <a:solidFill>
              <a:srgbClr val="DEDEDE"/>
            </a:solidFill>
            <a:prstDash val="dash"/>
            <a:round/>
          </a:ln>
        </p:spPr>
        <p:style>
          <a:lnRef idx="0">
            <a:scrgbClr r="0" g="0" b="0"/>
          </a:lnRef>
          <a:fillRef idx="0">
            <a:scrgbClr r="0" g="0" b="0"/>
          </a:fillRef>
          <a:effectRef idx="0">
            <a:scrgbClr r="0" g="0" b="0"/>
          </a:effectRef>
          <a:fontRef idx="minor"/>
        </p:style>
        <p:txBody>
          <a:bodyPr/>
          <a:lstStyle/>
          <a:p>
            <a:endParaRPr lang="el-GR"/>
          </a:p>
        </p:txBody>
      </p:sp>
      <p:sp>
        <p:nvSpPr>
          <p:cNvPr id="516" name="CustomShape 9"/>
          <p:cNvSpPr/>
          <p:nvPr/>
        </p:nvSpPr>
        <p:spPr>
          <a:xfrm>
            <a:off x="6248520" y="4110120"/>
            <a:ext cx="5046120" cy="360"/>
          </a:xfrm>
          <a:custGeom>
            <a:avLst/>
            <a:gdLst/>
            <a:ahLst/>
            <a:cxnLst/>
            <a:rect l="l" t="t" r="r" b="b"/>
            <a:pathLst>
              <a:path w="21600" h="21600">
                <a:moveTo>
                  <a:pt x="0" y="0"/>
                </a:moveTo>
                <a:lnTo>
                  <a:pt x="21600" y="21600"/>
                </a:lnTo>
              </a:path>
            </a:pathLst>
          </a:custGeom>
          <a:noFill/>
          <a:ln w="9525">
            <a:solidFill>
              <a:srgbClr val="DEDEDE"/>
            </a:solidFill>
            <a:prstDash val="dash"/>
            <a:round/>
          </a:ln>
        </p:spPr>
        <p:style>
          <a:lnRef idx="0">
            <a:scrgbClr r="0" g="0" b="0"/>
          </a:lnRef>
          <a:fillRef idx="0">
            <a:scrgbClr r="0" g="0" b="0"/>
          </a:fillRef>
          <a:effectRef idx="0">
            <a:scrgbClr r="0" g="0" b="0"/>
          </a:effectRef>
          <a:fontRef idx="minor"/>
        </p:style>
        <p:txBody>
          <a:bodyPr/>
          <a:lstStyle/>
          <a:p>
            <a:endParaRPr lang="el-GR"/>
          </a:p>
        </p:txBody>
      </p:sp>
      <p:sp>
        <p:nvSpPr>
          <p:cNvPr id="517" name="CustomShape 10"/>
          <p:cNvSpPr/>
          <p:nvPr/>
        </p:nvSpPr>
        <p:spPr>
          <a:xfrm>
            <a:off x="6248520" y="3597120"/>
            <a:ext cx="5046120" cy="360"/>
          </a:xfrm>
          <a:custGeom>
            <a:avLst/>
            <a:gdLst/>
            <a:ahLst/>
            <a:cxnLst/>
            <a:rect l="l" t="t" r="r" b="b"/>
            <a:pathLst>
              <a:path w="21600" h="21600">
                <a:moveTo>
                  <a:pt x="0" y="0"/>
                </a:moveTo>
                <a:lnTo>
                  <a:pt x="21600" y="21600"/>
                </a:lnTo>
              </a:path>
            </a:pathLst>
          </a:custGeom>
          <a:noFill/>
          <a:ln w="9525">
            <a:solidFill>
              <a:srgbClr val="DEDEDE"/>
            </a:solidFill>
            <a:prstDash val="dash"/>
            <a:round/>
          </a:ln>
        </p:spPr>
        <p:style>
          <a:lnRef idx="0">
            <a:scrgbClr r="0" g="0" b="0"/>
          </a:lnRef>
          <a:fillRef idx="0">
            <a:scrgbClr r="0" g="0" b="0"/>
          </a:fillRef>
          <a:effectRef idx="0">
            <a:scrgbClr r="0" g="0" b="0"/>
          </a:effectRef>
          <a:fontRef idx="minor"/>
        </p:style>
        <p:txBody>
          <a:bodyPr/>
          <a:lstStyle/>
          <a:p>
            <a:endParaRPr lang="el-GR"/>
          </a:p>
        </p:txBody>
      </p:sp>
      <p:sp>
        <p:nvSpPr>
          <p:cNvPr id="518" name="CustomShape 11"/>
          <p:cNvSpPr/>
          <p:nvPr/>
        </p:nvSpPr>
        <p:spPr>
          <a:xfrm>
            <a:off x="6248520" y="2570040"/>
            <a:ext cx="5046120" cy="360"/>
          </a:xfrm>
          <a:custGeom>
            <a:avLst/>
            <a:gdLst/>
            <a:ahLst/>
            <a:cxnLst/>
            <a:rect l="l" t="t" r="r" b="b"/>
            <a:pathLst>
              <a:path w="21600" h="21600">
                <a:moveTo>
                  <a:pt x="0" y="0"/>
                </a:moveTo>
                <a:lnTo>
                  <a:pt x="21600" y="21600"/>
                </a:lnTo>
              </a:path>
            </a:pathLst>
          </a:custGeom>
          <a:noFill/>
          <a:ln w="9525">
            <a:solidFill>
              <a:srgbClr val="DEDEDE"/>
            </a:solidFill>
            <a:prstDash val="dash"/>
            <a:round/>
          </a:ln>
        </p:spPr>
        <p:style>
          <a:lnRef idx="0">
            <a:scrgbClr r="0" g="0" b="0"/>
          </a:lnRef>
          <a:fillRef idx="0">
            <a:scrgbClr r="0" g="0" b="0"/>
          </a:fillRef>
          <a:effectRef idx="0">
            <a:scrgbClr r="0" g="0" b="0"/>
          </a:effectRef>
          <a:fontRef idx="minor"/>
        </p:style>
        <p:txBody>
          <a:bodyPr/>
          <a:lstStyle/>
          <a:p>
            <a:endParaRPr lang="el-GR"/>
          </a:p>
        </p:txBody>
      </p:sp>
      <p:sp>
        <p:nvSpPr>
          <p:cNvPr id="519" name="CustomShape 12"/>
          <p:cNvSpPr/>
          <p:nvPr/>
        </p:nvSpPr>
        <p:spPr>
          <a:xfrm rot="10800000">
            <a:off x="6199920" y="2057040"/>
            <a:ext cx="48600" cy="360"/>
          </a:xfrm>
          <a:custGeom>
            <a:avLst/>
            <a:gdLst/>
            <a:ahLst/>
            <a:cxnLst/>
            <a:rect l="l" t="t" r="r" b="b"/>
            <a:pathLst>
              <a:path w="21600" h="21600">
                <a:moveTo>
                  <a:pt x="0" y="0"/>
                </a:moveTo>
                <a:lnTo>
                  <a:pt x="21600" y="21600"/>
                </a:lnTo>
              </a:path>
            </a:pathLst>
          </a:custGeom>
          <a:noFill/>
          <a:ln w="9525">
            <a:solidFill>
              <a:schemeClr val="dk1"/>
            </a:solidFill>
            <a:round/>
          </a:ln>
        </p:spPr>
        <p:style>
          <a:lnRef idx="0">
            <a:scrgbClr r="0" g="0" b="0"/>
          </a:lnRef>
          <a:fillRef idx="0">
            <a:scrgbClr r="0" g="0" b="0"/>
          </a:fillRef>
          <a:effectRef idx="0">
            <a:scrgbClr r="0" g="0" b="0"/>
          </a:effectRef>
          <a:fontRef idx="minor"/>
        </p:style>
        <p:txBody>
          <a:bodyPr/>
          <a:lstStyle/>
          <a:p>
            <a:endParaRPr lang="el-GR"/>
          </a:p>
        </p:txBody>
      </p:sp>
      <p:sp>
        <p:nvSpPr>
          <p:cNvPr id="520" name="CustomShape 13"/>
          <p:cNvSpPr/>
          <p:nvPr/>
        </p:nvSpPr>
        <p:spPr>
          <a:xfrm rot="10800000">
            <a:off x="6199920" y="5136840"/>
            <a:ext cx="48600" cy="360"/>
          </a:xfrm>
          <a:custGeom>
            <a:avLst/>
            <a:gdLst/>
            <a:ahLst/>
            <a:cxnLst/>
            <a:rect l="l" t="t" r="r" b="b"/>
            <a:pathLst>
              <a:path w="21600" h="21600">
                <a:moveTo>
                  <a:pt x="0" y="0"/>
                </a:moveTo>
                <a:lnTo>
                  <a:pt x="21600" y="21600"/>
                </a:lnTo>
              </a:path>
            </a:pathLst>
          </a:custGeom>
          <a:noFill/>
          <a:ln w="9525">
            <a:solidFill>
              <a:schemeClr val="dk1"/>
            </a:solidFill>
            <a:round/>
          </a:ln>
        </p:spPr>
        <p:style>
          <a:lnRef idx="0">
            <a:scrgbClr r="0" g="0" b="0"/>
          </a:lnRef>
          <a:fillRef idx="0">
            <a:scrgbClr r="0" g="0" b="0"/>
          </a:fillRef>
          <a:effectRef idx="0">
            <a:scrgbClr r="0" g="0" b="0"/>
          </a:effectRef>
          <a:fontRef idx="minor"/>
        </p:style>
        <p:txBody>
          <a:bodyPr/>
          <a:lstStyle/>
          <a:p>
            <a:endParaRPr lang="el-GR"/>
          </a:p>
        </p:txBody>
      </p:sp>
      <p:sp>
        <p:nvSpPr>
          <p:cNvPr id="521" name="CustomShape 14"/>
          <p:cNvSpPr/>
          <p:nvPr/>
        </p:nvSpPr>
        <p:spPr>
          <a:xfrm rot="10800000">
            <a:off x="6199920" y="4624200"/>
            <a:ext cx="48600" cy="360"/>
          </a:xfrm>
          <a:custGeom>
            <a:avLst/>
            <a:gdLst/>
            <a:ahLst/>
            <a:cxnLst/>
            <a:rect l="l" t="t" r="r" b="b"/>
            <a:pathLst>
              <a:path w="21600" h="21600">
                <a:moveTo>
                  <a:pt x="0" y="0"/>
                </a:moveTo>
                <a:lnTo>
                  <a:pt x="21600" y="21600"/>
                </a:lnTo>
              </a:path>
            </a:pathLst>
          </a:custGeom>
          <a:noFill/>
          <a:ln w="9525">
            <a:solidFill>
              <a:schemeClr val="dk1"/>
            </a:solidFill>
            <a:round/>
          </a:ln>
        </p:spPr>
        <p:style>
          <a:lnRef idx="0">
            <a:scrgbClr r="0" g="0" b="0"/>
          </a:lnRef>
          <a:fillRef idx="0">
            <a:scrgbClr r="0" g="0" b="0"/>
          </a:fillRef>
          <a:effectRef idx="0">
            <a:scrgbClr r="0" g="0" b="0"/>
          </a:effectRef>
          <a:fontRef idx="minor"/>
        </p:style>
        <p:txBody>
          <a:bodyPr/>
          <a:lstStyle/>
          <a:p>
            <a:endParaRPr lang="el-GR"/>
          </a:p>
        </p:txBody>
      </p:sp>
      <p:sp>
        <p:nvSpPr>
          <p:cNvPr id="522" name="CustomShape 15"/>
          <p:cNvSpPr/>
          <p:nvPr/>
        </p:nvSpPr>
        <p:spPr>
          <a:xfrm rot="10800000">
            <a:off x="6199920" y="4109760"/>
            <a:ext cx="48600" cy="360"/>
          </a:xfrm>
          <a:custGeom>
            <a:avLst/>
            <a:gdLst/>
            <a:ahLst/>
            <a:cxnLst/>
            <a:rect l="l" t="t" r="r" b="b"/>
            <a:pathLst>
              <a:path w="21600" h="21600">
                <a:moveTo>
                  <a:pt x="0" y="0"/>
                </a:moveTo>
                <a:lnTo>
                  <a:pt x="21600" y="21600"/>
                </a:lnTo>
              </a:path>
            </a:pathLst>
          </a:custGeom>
          <a:noFill/>
          <a:ln w="9525">
            <a:solidFill>
              <a:schemeClr val="dk1"/>
            </a:solidFill>
            <a:round/>
          </a:ln>
        </p:spPr>
        <p:style>
          <a:lnRef idx="0">
            <a:scrgbClr r="0" g="0" b="0"/>
          </a:lnRef>
          <a:fillRef idx="0">
            <a:scrgbClr r="0" g="0" b="0"/>
          </a:fillRef>
          <a:effectRef idx="0">
            <a:scrgbClr r="0" g="0" b="0"/>
          </a:effectRef>
          <a:fontRef idx="minor"/>
        </p:style>
        <p:txBody>
          <a:bodyPr/>
          <a:lstStyle/>
          <a:p>
            <a:endParaRPr lang="el-GR"/>
          </a:p>
        </p:txBody>
      </p:sp>
      <p:sp>
        <p:nvSpPr>
          <p:cNvPr id="523" name="CustomShape 16"/>
          <p:cNvSpPr/>
          <p:nvPr/>
        </p:nvSpPr>
        <p:spPr>
          <a:xfrm rot="10800000">
            <a:off x="6199920" y="2569680"/>
            <a:ext cx="48600" cy="360"/>
          </a:xfrm>
          <a:custGeom>
            <a:avLst/>
            <a:gdLst/>
            <a:ahLst/>
            <a:cxnLst/>
            <a:rect l="l" t="t" r="r" b="b"/>
            <a:pathLst>
              <a:path w="21600" h="21600">
                <a:moveTo>
                  <a:pt x="0" y="0"/>
                </a:moveTo>
                <a:lnTo>
                  <a:pt x="21600" y="21600"/>
                </a:lnTo>
              </a:path>
            </a:pathLst>
          </a:custGeom>
          <a:noFill/>
          <a:ln w="9525">
            <a:solidFill>
              <a:schemeClr val="dk1"/>
            </a:solidFill>
            <a:round/>
          </a:ln>
        </p:spPr>
        <p:style>
          <a:lnRef idx="0">
            <a:scrgbClr r="0" g="0" b="0"/>
          </a:lnRef>
          <a:fillRef idx="0">
            <a:scrgbClr r="0" g="0" b="0"/>
          </a:fillRef>
          <a:effectRef idx="0">
            <a:scrgbClr r="0" g="0" b="0"/>
          </a:effectRef>
          <a:fontRef idx="minor"/>
        </p:style>
        <p:txBody>
          <a:bodyPr/>
          <a:lstStyle/>
          <a:p>
            <a:endParaRPr lang="el-GR"/>
          </a:p>
        </p:txBody>
      </p:sp>
      <p:sp>
        <p:nvSpPr>
          <p:cNvPr id="524" name="CustomShape 17"/>
          <p:cNvSpPr/>
          <p:nvPr/>
        </p:nvSpPr>
        <p:spPr>
          <a:xfrm rot="10800000">
            <a:off x="6199920" y="3596760"/>
            <a:ext cx="48600" cy="360"/>
          </a:xfrm>
          <a:custGeom>
            <a:avLst/>
            <a:gdLst/>
            <a:ahLst/>
            <a:cxnLst/>
            <a:rect l="l" t="t" r="r" b="b"/>
            <a:pathLst>
              <a:path w="21600" h="21600">
                <a:moveTo>
                  <a:pt x="0" y="0"/>
                </a:moveTo>
                <a:lnTo>
                  <a:pt x="21600" y="21600"/>
                </a:lnTo>
              </a:path>
            </a:pathLst>
          </a:custGeom>
          <a:noFill/>
          <a:ln w="9525">
            <a:solidFill>
              <a:schemeClr val="dk1"/>
            </a:solidFill>
            <a:round/>
          </a:ln>
        </p:spPr>
        <p:style>
          <a:lnRef idx="0">
            <a:scrgbClr r="0" g="0" b="0"/>
          </a:lnRef>
          <a:fillRef idx="0">
            <a:scrgbClr r="0" g="0" b="0"/>
          </a:fillRef>
          <a:effectRef idx="0">
            <a:scrgbClr r="0" g="0" b="0"/>
          </a:effectRef>
          <a:fontRef idx="minor"/>
        </p:style>
        <p:txBody>
          <a:bodyPr/>
          <a:lstStyle/>
          <a:p>
            <a:endParaRPr lang="el-GR"/>
          </a:p>
        </p:txBody>
      </p:sp>
      <p:sp>
        <p:nvSpPr>
          <p:cNvPr id="525" name="CustomShape 18"/>
          <p:cNvSpPr/>
          <p:nvPr/>
        </p:nvSpPr>
        <p:spPr>
          <a:xfrm rot="10800000">
            <a:off x="6199920" y="3084120"/>
            <a:ext cx="48600" cy="360"/>
          </a:xfrm>
          <a:custGeom>
            <a:avLst/>
            <a:gdLst/>
            <a:ahLst/>
            <a:cxnLst/>
            <a:rect l="l" t="t" r="r" b="b"/>
            <a:pathLst>
              <a:path w="21600" h="21600">
                <a:moveTo>
                  <a:pt x="0" y="0"/>
                </a:moveTo>
                <a:lnTo>
                  <a:pt x="21600" y="21600"/>
                </a:lnTo>
              </a:path>
            </a:pathLst>
          </a:custGeom>
          <a:noFill/>
          <a:ln w="9525">
            <a:solidFill>
              <a:schemeClr val="dk1"/>
            </a:solidFill>
            <a:round/>
          </a:ln>
        </p:spPr>
        <p:style>
          <a:lnRef idx="0">
            <a:scrgbClr r="0" g="0" b="0"/>
          </a:lnRef>
          <a:fillRef idx="0">
            <a:scrgbClr r="0" g="0" b="0"/>
          </a:fillRef>
          <a:effectRef idx="0">
            <a:scrgbClr r="0" g="0" b="0"/>
          </a:effectRef>
          <a:fontRef idx="minor"/>
        </p:style>
        <p:txBody>
          <a:bodyPr/>
          <a:lstStyle/>
          <a:p>
            <a:endParaRPr lang="el-GR"/>
          </a:p>
        </p:txBody>
      </p:sp>
      <p:graphicFrame>
        <p:nvGraphicFramePr>
          <p:cNvPr id="526" name="Google Shape;537;p38"/>
          <p:cNvGraphicFramePr/>
          <p:nvPr/>
        </p:nvGraphicFramePr>
        <p:xfrm>
          <a:off x="6165720" y="1974960"/>
          <a:ext cx="5211360" cy="3242520"/>
        </p:xfrm>
        <a:graphic>
          <a:graphicData uri="http://schemas.openxmlformats.org/drawingml/2006/chart">
            <c:chart xmlns:c="http://schemas.openxmlformats.org/drawingml/2006/chart" xmlns:r="http://schemas.openxmlformats.org/officeDocument/2006/relationships" r:id="rId3"/>
          </a:graphicData>
        </a:graphic>
      </p:graphicFrame>
      <p:sp>
        <p:nvSpPr>
          <p:cNvPr id="527" name="CustomShape 19"/>
          <p:cNvSpPr/>
          <p:nvPr/>
        </p:nvSpPr>
        <p:spPr>
          <a:xfrm>
            <a:off x="5421240" y="4533840"/>
            <a:ext cx="67248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1,000,000</a:t>
            </a:r>
            <a:endParaRPr lang="en-US" sz="1200" b="0" strike="noStrike" spc="-1">
              <a:latin typeface="Arial"/>
            </a:endParaRPr>
          </a:p>
        </p:txBody>
      </p:sp>
      <p:sp>
        <p:nvSpPr>
          <p:cNvPr id="528" name="CustomShape 20"/>
          <p:cNvSpPr/>
          <p:nvPr/>
        </p:nvSpPr>
        <p:spPr>
          <a:xfrm>
            <a:off x="5421240" y="4019400"/>
            <a:ext cx="67248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2,000,000</a:t>
            </a:r>
            <a:endParaRPr lang="en-US" sz="1200" b="0" strike="noStrike" spc="-1">
              <a:latin typeface="Arial"/>
            </a:endParaRPr>
          </a:p>
        </p:txBody>
      </p:sp>
      <p:sp>
        <p:nvSpPr>
          <p:cNvPr id="529" name="CustomShape 21"/>
          <p:cNvSpPr/>
          <p:nvPr/>
        </p:nvSpPr>
        <p:spPr>
          <a:xfrm>
            <a:off x="5421240" y="3506760"/>
            <a:ext cx="67248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3,000,000</a:t>
            </a:r>
            <a:endParaRPr lang="en-US" sz="1200" b="0" strike="noStrike" spc="-1">
              <a:latin typeface="Arial"/>
            </a:endParaRPr>
          </a:p>
        </p:txBody>
      </p:sp>
      <p:sp>
        <p:nvSpPr>
          <p:cNvPr id="530" name="CustomShape 22"/>
          <p:cNvSpPr/>
          <p:nvPr/>
        </p:nvSpPr>
        <p:spPr>
          <a:xfrm>
            <a:off x="5421240" y="2994120"/>
            <a:ext cx="67248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4,000,000</a:t>
            </a:r>
            <a:endParaRPr lang="en-US" sz="1200" b="0" strike="noStrike" spc="-1">
              <a:latin typeface="Arial"/>
            </a:endParaRPr>
          </a:p>
        </p:txBody>
      </p:sp>
      <p:sp>
        <p:nvSpPr>
          <p:cNvPr id="531" name="CustomShape 23"/>
          <p:cNvSpPr/>
          <p:nvPr/>
        </p:nvSpPr>
        <p:spPr>
          <a:xfrm>
            <a:off x="5421240" y="2479680"/>
            <a:ext cx="67248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5,000,000</a:t>
            </a:r>
            <a:endParaRPr lang="en-US" sz="1200" b="0" strike="noStrike" spc="-1">
              <a:latin typeface="Arial"/>
            </a:endParaRPr>
          </a:p>
        </p:txBody>
      </p:sp>
      <p:sp>
        <p:nvSpPr>
          <p:cNvPr id="532" name="CustomShape 24"/>
          <p:cNvSpPr/>
          <p:nvPr/>
        </p:nvSpPr>
        <p:spPr>
          <a:xfrm>
            <a:off x="5421240" y="1967040"/>
            <a:ext cx="67248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6,000,000</a:t>
            </a:r>
            <a:endParaRPr lang="en-US" sz="1200" b="0" strike="noStrike" spc="-1">
              <a:latin typeface="Arial"/>
            </a:endParaRPr>
          </a:p>
        </p:txBody>
      </p:sp>
      <p:sp>
        <p:nvSpPr>
          <p:cNvPr id="533" name="CustomShape 25"/>
          <p:cNvSpPr/>
          <p:nvPr/>
        </p:nvSpPr>
        <p:spPr>
          <a:xfrm>
            <a:off x="6012000" y="5046840"/>
            <a:ext cx="8208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0</a:t>
            </a:r>
            <a:endParaRPr lang="en-US" sz="1200" b="0" strike="noStrike" spc="-1">
              <a:latin typeface="Arial"/>
            </a:endParaRPr>
          </a:p>
        </p:txBody>
      </p:sp>
      <p:sp>
        <p:nvSpPr>
          <p:cNvPr id="534" name="CustomShape 26"/>
          <p:cNvSpPr/>
          <p:nvPr/>
        </p:nvSpPr>
        <p:spPr>
          <a:xfrm rot="16200000">
            <a:off x="5878440" y="5520240"/>
            <a:ext cx="73908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Αύγουστος</a:t>
            </a:r>
            <a:endParaRPr lang="en-US" sz="1200" b="0" strike="noStrike" spc="-1">
              <a:latin typeface="Arial"/>
            </a:endParaRPr>
          </a:p>
        </p:txBody>
      </p:sp>
      <p:sp>
        <p:nvSpPr>
          <p:cNvPr id="535" name="CustomShape 27"/>
          <p:cNvSpPr/>
          <p:nvPr/>
        </p:nvSpPr>
        <p:spPr>
          <a:xfrm rot="16200000">
            <a:off x="6476040" y="5283000"/>
            <a:ext cx="26460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Σεπ</a:t>
            </a:r>
            <a:endParaRPr lang="en-US" sz="1200" b="0" strike="noStrike" spc="-1">
              <a:latin typeface="Arial"/>
            </a:endParaRPr>
          </a:p>
        </p:txBody>
      </p:sp>
      <p:sp>
        <p:nvSpPr>
          <p:cNvPr id="536" name="CustomShape 28"/>
          <p:cNvSpPr/>
          <p:nvPr/>
        </p:nvSpPr>
        <p:spPr>
          <a:xfrm rot="16200000">
            <a:off x="6841800" y="5277240"/>
            <a:ext cx="25344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Οκτ</a:t>
            </a:r>
            <a:endParaRPr lang="en-US" sz="1200" b="0" strike="noStrike" spc="-1">
              <a:latin typeface="Arial"/>
            </a:endParaRPr>
          </a:p>
        </p:txBody>
      </p:sp>
      <p:sp>
        <p:nvSpPr>
          <p:cNvPr id="537" name="CustomShape 29"/>
          <p:cNvSpPr/>
          <p:nvPr/>
        </p:nvSpPr>
        <p:spPr>
          <a:xfrm rot="16200000">
            <a:off x="7198920" y="5280480"/>
            <a:ext cx="25992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Νοε</a:t>
            </a:r>
            <a:endParaRPr lang="en-US" sz="1200" b="0" strike="noStrike" spc="-1">
              <a:latin typeface="Arial"/>
            </a:endParaRPr>
          </a:p>
        </p:txBody>
      </p:sp>
      <p:sp>
        <p:nvSpPr>
          <p:cNvPr id="538" name="CustomShape 30"/>
          <p:cNvSpPr/>
          <p:nvPr/>
        </p:nvSpPr>
        <p:spPr>
          <a:xfrm rot="16200000">
            <a:off x="7569000" y="5272560"/>
            <a:ext cx="24408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Δεκ</a:t>
            </a:r>
            <a:endParaRPr lang="en-US" sz="1200" b="0" strike="noStrike" spc="-1">
              <a:latin typeface="Arial"/>
            </a:endParaRPr>
          </a:p>
        </p:txBody>
      </p:sp>
      <p:sp>
        <p:nvSpPr>
          <p:cNvPr id="539" name="CustomShape 31"/>
          <p:cNvSpPr/>
          <p:nvPr/>
        </p:nvSpPr>
        <p:spPr>
          <a:xfrm rot="16200000">
            <a:off x="7938360" y="5263920"/>
            <a:ext cx="22644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Γεν</a:t>
            </a:r>
            <a:endParaRPr lang="en-US" sz="1200" b="0" strike="noStrike" spc="-1">
              <a:latin typeface="Arial"/>
            </a:endParaRPr>
          </a:p>
        </p:txBody>
      </p:sp>
      <p:sp>
        <p:nvSpPr>
          <p:cNvPr id="540" name="CustomShape 32"/>
          <p:cNvSpPr/>
          <p:nvPr/>
        </p:nvSpPr>
        <p:spPr>
          <a:xfrm rot="16200000">
            <a:off x="8273880" y="5288400"/>
            <a:ext cx="27576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Φεβ</a:t>
            </a:r>
            <a:endParaRPr lang="en-US" sz="1200" b="0" strike="noStrike" spc="-1">
              <a:latin typeface="Arial"/>
            </a:endParaRPr>
          </a:p>
        </p:txBody>
      </p:sp>
      <p:sp>
        <p:nvSpPr>
          <p:cNvPr id="541" name="CustomShape 33"/>
          <p:cNvSpPr/>
          <p:nvPr/>
        </p:nvSpPr>
        <p:spPr>
          <a:xfrm rot="16200000">
            <a:off x="8621640" y="5301000"/>
            <a:ext cx="30096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Μαρ</a:t>
            </a:r>
            <a:endParaRPr lang="en-US" sz="1200" b="0" strike="noStrike" spc="-1">
              <a:latin typeface="Arial"/>
            </a:endParaRPr>
          </a:p>
        </p:txBody>
      </p:sp>
      <p:sp>
        <p:nvSpPr>
          <p:cNvPr id="542" name="CustomShape 34"/>
          <p:cNvSpPr/>
          <p:nvPr/>
        </p:nvSpPr>
        <p:spPr>
          <a:xfrm rot="16200000">
            <a:off x="8986680" y="5296320"/>
            <a:ext cx="29160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Απρ</a:t>
            </a:r>
            <a:endParaRPr lang="en-US" sz="1200" b="0" strike="noStrike" spc="-1">
              <a:latin typeface="Arial"/>
            </a:endParaRPr>
          </a:p>
        </p:txBody>
      </p:sp>
      <p:sp>
        <p:nvSpPr>
          <p:cNvPr id="543" name="CustomShape 35"/>
          <p:cNvSpPr/>
          <p:nvPr/>
        </p:nvSpPr>
        <p:spPr>
          <a:xfrm rot="16200000">
            <a:off x="9344160" y="5299920"/>
            <a:ext cx="29772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Μαη</a:t>
            </a:r>
            <a:endParaRPr lang="en-US" sz="1200" b="0" strike="noStrike" spc="-1">
              <a:latin typeface="Arial"/>
            </a:endParaRPr>
          </a:p>
        </p:txBody>
      </p:sp>
      <p:sp>
        <p:nvSpPr>
          <p:cNvPr id="544" name="CustomShape 36"/>
          <p:cNvSpPr/>
          <p:nvPr/>
        </p:nvSpPr>
        <p:spPr>
          <a:xfrm rot="16200000">
            <a:off x="9748800" y="5255280"/>
            <a:ext cx="20880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Ιου</a:t>
            </a:r>
            <a:endParaRPr lang="en-US" sz="1200" b="0" strike="noStrike" spc="-1">
              <a:latin typeface="Arial"/>
            </a:endParaRPr>
          </a:p>
        </p:txBody>
      </p:sp>
      <p:sp>
        <p:nvSpPr>
          <p:cNvPr id="545" name="CustomShape 37"/>
          <p:cNvSpPr/>
          <p:nvPr/>
        </p:nvSpPr>
        <p:spPr>
          <a:xfrm rot="16200000">
            <a:off x="11145600" y="5301000"/>
            <a:ext cx="30096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Μαρ</a:t>
            </a:r>
            <a:endParaRPr lang="en-US" sz="1200" b="0" strike="noStrike" spc="-1">
              <a:latin typeface="Arial"/>
            </a:endParaRPr>
          </a:p>
        </p:txBody>
      </p:sp>
      <p:sp>
        <p:nvSpPr>
          <p:cNvPr id="546" name="CustomShape 38"/>
          <p:cNvSpPr/>
          <p:nvPr/>
        </p:nvSpPr>
        <p:spPr>
          <a:xfrm rot="16200000">
            <a:off x="10082880" y="5283000"/>
            <a:ext cx="26460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Σεπ</a:t>
            </a:r>
            <a:endParaRPr lang="en-US" sz="1200" b="0" strike="noStrike" spc="-1">
              <a:latin typeface="Arial"/>
            </a:endParaRPr>
          </a:p>
        </p:txBody>
      </p:sp>
      <p:sp>
        <p:nvSpPr>
          <p:cNvPr id="547" name="CustomShape 39"/>
          <p:cNvSpPr/>
          <p:nvPr/>
        </p:nvSpPr>
        <p:spPr>
          <a:xfrm rot="16200000">
            <a:off x="10445400" y="5280480"/>
            <a:ext cx="25992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Νοε</a:t>
            </a:r>
            <a:endParaRPr lang="en-US" sz="1200" b="0" strike="noStrike" spc="-1">
              <a:latin typeface="Arial"/>
            </a:endParaRPr>
          </a:p>
        </p:txBody>
      </p:sp>
      <p:sp>
        <p:nvSpPr>
          <p:cNvPr id="548" name="CustomShape 40"/>
          <p:cNvSpPr/>
          <p:nvPr/>
        </p:nvSpPr>
        <p:spPr>
          <a:xfrm rot="16200000">
            <a:off x="10822680" y="5263920"/>
            <a:ext cx="226440" cy="18036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gn="r">
              <a:lnSpc>
                <a:spcPct val="100000"/>
              </a:lnSpc>
              <a:tabLst>
                <a:tab pos="0" algn="l"/>
              </a:tabLst>
            </a:pPr>
            <a:r>
              <a:rPr lang="el-GR" sz="1200" b="0" strike="noStrike" spc="-1">
                <a:solidFill>
                  <a:srgbClr val="000000"/>
                </a:solidFill>
                <a:latin typeface="Arial"/>
                <a:ea typeface="Arial"/>
              </a:rPr>
              <a:t>Γεν</a:t>
            </a:r>
            <a:endParaRPr lang="en-US" sz="1200" b="0" strike="noStrike" spc="-1">
              <a:latin typeface="Arial"/>
            </a:endParaRPr>
          </a:p>
        </p:txBody>
      </p:sp>
      <p:sp>
        <p:nvSpPr>
          <p:cNvPr id="549" name="CustomShape 41"/>
          <p:cNvSpPr/>
          <p:nvPr/>
        </p:nvSpPr>
        <p:spPr>
          <a:xfrm>
            <a:off x="7599240" y="3526920"/>
            <a:ext cx="3695040" cy="1044360"/>
          </a:xfrm>
          <a:prstGeom prst="roundRect">
            <a:avLst>
              <a:gd name="adj" fmla="val 16667"/>
            </a:avLst>
          </a:prstGeom>
          <a:solidFill>
            <a:schemeClr val="lt1"/>
          </a:solidFill>
          <a:ln w="9525">
            <a:solidFill>
              <a:srgbClr val="364A7D"/>
            </a:solidFill>
            <a:round/>
          </a:ln>
        </p:spPr>
        <p:style>
          <a:lnRef idx="0">
            <a:scrgbClr r="0" g="0" b="0"/>
          </a:lnRef>
          <a:fillRef idx="0">
            <a:scrgbClr r="0" g="0" b="0"/>
          </a:fillRef>
          <a:effectRef idx="0">
            <a:scrgbClr r="0" g="0" b="0"/>
          </a:effectRef>
          <a:fontRef idx="minor"/>
        </p:style>
        <p:txBody>
          <a:bodyPr lIns="90000" tIns="45000" rIns="90000" bIns="45000">
            <a:spAutoFit/>
          </a:bodyPr>
          <a:lstStyle/>
          <a:p>
            <a:pPr algn="ctr">
              <a:lnSpc>
                <a:spcPct val="100000"/>
              </a:lnSpc>
              <a:tabLst>
                <a:tab pos="0" algn="l"/>
              </a:tabLst>
            </a:pPr>
            <a:r>
              <a:rPr lang="el-GR" sz="1400" b="0" strike="noStrike" spc="-1">
                <a:solidFill>
                  <a:srgbClr val="000000"/>
                </a:solidFill>
                <a:latin typeface="Arial"/>
                <a:ea typeface="Arial"/>
              </a:rPr>
              <a:t>Σήμερα, 4.978.701 πολίτες έχουν εγγραφεί στον Π.Ι. που αντιπροσωπεύει το </a:t>
            </a:r>
            <a:endParaRPr lang="en-US" sz="1400" b="0" strike="noStrike" spc="-1">
              <a:latin typeface="Arial"/>
            </a:endParaRPr>
          </a:p>
          <a:p>
            <a:pPr algn="ctr">
              <a:lnSpc>
                <a:spcPct val="100000"/>
              </a:lnSpc>
              <a:tabLst>
                <a:tab pos="0" algn="l"/>
              </a:tabLst>
            </a:pPr>
            <a:r>
              <a:rPr lang="el-GR" sz="1400" b="1" strike="noStrike" spc="-1">
                <a:solidFill>
                  <a:srgbClr val="000000"/>
                </a:solidFill>
                <a:latin typeface="Arial"/>
                <a:ea typeface="Arial"/>
              </a:rPr>
              <a:t>56,13%</a:t>
            </a:r>
            <a:r>
              <a:rPr lang="el-GR" sz="1400" b="0" strike="noStrike" spc="-1">
                <a:solidFill>
                  <a:srgbClr val="000000"/>
                </a:solidFill>
                <a:latin typeface="Arial"/>
                <a:ea typeface="Arial"/>
              </a:rPr>
              <a:t> του δικαιούχου πληθυσμού των 8,87 εκ. πολιτών</a:t>
            </a:r>
            <a:endParaRPr lang="en-US" sz="1400" b="0" strike="noStrike" spc="-1">
              <a:latin typeface="Arial"/>
            </a:endParaRPr>
          </a:p>
        </p:txBody>
      </p:sp>
      <p:sp>
        <p:nvSpPr>
          <p:cNvPr id="550" name="CustomShape 42"/>
          <p:cNvSpPr/>
          <p:nvPr/>
        </p:nvSpPr>
        <p:spPr>
          <a:xfrm>
            <a:off x="6469200" y="4903920"/>
            <a:ext cx="158040" cy="360"/>
          </a:xfrm>
          <a:custGeom>
            <a:avLst/>
            <a:gdLst/>
            <a:ahLst/>
            <a:cxnLst/>
            <a:rect l="l" t="t" r="r" b="b"/>
            <a:pathLst>
              <a:path w="21600" h="21600">
                <a:moveTo>
                  <a:pt x="0" y="0"/>
                </a:moveTo>
                <a:lnTo>
                  <a:pt x="21600" y="21600"/>
                </a:lnTo>
              </a:path>
            </a:pathLst>
          </a:custGeom>
          <a:noFill/>
          <a:ln w="19050" cap="rnd">
            <a:solidFill>
              <a:srgbClr val="4DACF1"/>
            </a:solidFill>
            <a:round/>
          </a:ln>
        </p:spPr>
        <p:style>
          <a:lnRef idx="0">
            <a:scrgbClr r="0" g="0" b="0"/>
          </a:lnRef>
          <a:fillRef idx="0">
            <a:scrgbClr r="0" g="0" b="0"/>
          </a:fillRef>
          <a:effectRef idx="0">
            <a:scrgbClr r="0" g="0" b="0"/>
          </a:effectRef>
          <a:fontRef idx="minor"/>
        </p:style>
        <p:txBody>
          <a:bodyPr/>
          <a:lstStyle/>
          <a:p>
            <a:endParaRPr lang="el-GR"/>
          </a:p>
        </p:txBody>
      </p:sp>
      <p:sp>
        <p:nvSpPr>
          <p:cNvPr id="551" name="CustomShape 43"/>
          <p:cNvSpPr/>
          <p:nvPr/>
        </p:nvSpPr>
        <p:spPr>
          <a:xfrm>
            <a:off x="6689880" y="4832280"/>
            <a:ext cx="1855080" cy="15012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ctr">
            <a:noAutofit/>
          </a:bodyPr>
          <a:lstStyle/>
          <a:p>
            <a:pPr>
              <a:lnSpc>
                <a:spcPct val="100000"/>
              </a:lnSpc>
              <a:tabLst>
                <a:tab pos="0" algn="l"/>
              </a:tabLst>
            </a:pPr>
            <a:r>
              <a:rPr lang="el-GR" sz="1000" b="0" strike="noStrike" spc="-1">
                <a:solidFill>
                  <a:srgbClr val="000000"/>
                </a:solidFill>
                <a:latin typeface="Arial"/>
                <a:ea typeface="Arial"/>
              </a:rPr>
              <a:t>Συνολο Εγγεγραμμένων Πολιτών</a:t>
            </a:r>
            <a:endParaRPr lang="en-US" sz="1000" b="0" strike="noStrike" spc="-1">
              <a:latin typeface="Aria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1C5A55E-EF94-D493-801C-2B1848FA4A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Slide" r:id="rId4" imgW="347" imgH="348" progId="TCLayout.ActiveDocument.1">
                  <p:embed/>
                </p:oleObj>
              </mc:Choice>
              <mc:Fallback>
                <p:oleObj name="think-cell Slide" r:id="rId4" imgW="347" imgH="348" progId="TCLayout.ActiveDocument.1">
                  <p:embed/>
                  <p:pic>
                    <p:nvPicPr>
                      <p:cNvPr id="6" name="think-cell data - do not delete" hidden="1">
                        <a:extLst>
                          <a:ext uri="{FF2B5EF4-FFF2-40B4-BE49-F238E27FC236}">
                            <a16:creationId xmlns:a16="http://schemas.microsoft.com/office/drawing/2014/main" id="{31C5A55E-EF94-D493-801C-2B1848FA4A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ADCAD7-AA50-8E07-2846-06BB5A5E9661}"/>
              </a:ext>
            </a:extLst>
          </p:cNvPr>
          <p:cNvSpPr>
            <a:spLocks noGrp="1"/>
          </p:cNvSpPr>
          <p:nvPr>
            <p:ph type="title"/>
          </p:nvPr>
        </p:nvSpPr>
        <p:spPr/>
        <p:txBody>
          <a:bodyPr vert="horz"/>
          <a:lstStyle/>
          <a:p>
            <a:r>
              <a:rPr lang="el-GR" dirty="0"/>
              <a:t>Το 60% (822) των 1.379 νέων γιατρών θα αφορά την περιφέρεια Αττικής</a:t>
            </a:r>
            <a:endParaRPr lang="en-GB" dirty="0"/>
          </a:p>
        </p:txBody>
      </p:sp>
      <p:sp>
        <p:nvSpPr>
          <p:cNvPr id="3" name="Slide Number Placeholder 2">
            <a:extLst>
              <a:ext uri="{FF2B5EF4-FFF2-40B4-BE49-F238E27FC236}">
                <a16:creationId xmlns:a16="http://schemas.microsoft.com/office/drawing/2014/main" id="{AA2C9A4B-F7C0-DE1D-CFCB-38AA7FFBE5BF}"/>
              </a:ext>
            </a:extLst>
          </p:cNvPr>
          <p:cNvSpPr>
            <a:spLocks noGrp="1"/>
          </p:cNvSpPr>
          <p:nvPr>
            <p:ph type="sldNum" idx="12"/>
          </p:nvPr>
        </p:nvSpPr>
        <p:spPr/>
        <p:txBody>
          <a:bodyPr/>
          <a:lstStyle/>
          <a:p>
            <a:pPr marL="0" marR="0" lvl="0" indent="0" algn="l" defTabSz="914400" rtl="0" eaLnBrk="1" fontAlgn="auto" latinLnBrk="0" hangingPunct="1">
              <a:lnSpc>
                <a:spcPct val="100000"/>
              </a:lnSpc>
              <a:spcBef>
                <a:spcPts val="0"/>
              </a:spcBef>
              <a:spcAft>
                <a:spcPts val="0"/>
              </a:spcAft>
              <a:buClr>
                <a:srgbClr val="FFFFFF"/>
              </a:buClr>
              <a:buSzPts val="1000"/>
              <a:buFont typeface="Calibri"/>
              <a:buNone/>
              <a:tabLst/>
              <a:defRPr/>
            </a:pPr>
            <a:fld id="{00000000-1234-1234-1234-123412341234}" type="slidenum">
              <a:rPr kumimoji="0" lang="el-GR" sz="10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FFFFFF"/>
                </a:buClr>
                <a:buSzPts val="1000"/>
                <a:buFont typeface="Calibri"/>
                <a:buNone/>
                <a:tabLst/>
                <a:defRPr/>
              </a:pPr>
              <a:t>5</a:t>
            </a:fld>
            <a:endParaRPr kumimoji="0" lang="el-GR" sz="10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5" name="Text Placeholder 4">
            <a:extLst>
              <a:ext uri="{FF2B5EF4-FFF2-40B4-BE49-F238E27FC236}">
                <a16:creationId xmlns:a16="http://schemas.microsoft.com/office/drawing/2014/main" id="{312689D6-FAA0-A885-44E9-B58E4E63B365}"/>
              </a:ext>
            </a:extLst>
          </p:cNvPr>
          <p:cNvSpPr>
            <a:spLocks noGrp="1"/>
          </p:cNvSpPr>
          <p:nvPr>
            <p:ph type="body" sz="quarter" idx="14"/>
          </p:nvPr>
        </p:nvSpPr>
        <p:spPr/>
        <p:txBody>
          <a:bodyPr/>
          <a:lstStyle/>
          <a:p>
            <a:r>
              <a:rPr lang="el-GR" sz="1600" dirty="0"/>
              <a:t>Ανάγκες σε νέους γιατρούς ανά περιφέρεια</a:t>
            </a:r>
            <a:endParaRPr lang="en-GB" sz="1600" dirty="0"/>
          </a:p>
        </p:txBody>
      </p:sp>
      <mc:AlternateContent xmlns:mc="http://schemas.openxmlformats.org/markup-compatibility/2006">
        <mc:Choice xmlns="" xmlns:cx1="http://schemas.microsoft.com/office/drawing/2015/9/8/chartex" Requires="cx1">
          <p:graphicFrame>
            <p:nvGraphicFramePr>
              <p:cNvPr id="4" name="Chart 3">
                <a:extLst>
                  <a:ext uri="{FF2B5EF4-FFF2-40B4-BE49-F238E27FC236}">
                    <a16:creationId xmlns:a16="http://schemas.microsoft.com/office/drawing/2014/main" id="{03012A1E-FC92-64FB-9F9A-41B859B1F41C}"/>
                  </a:ext>
                </a:extLst>
              </p:cNvPr>
              <p:cNvGraphicFramePr/>
              <p:nvPr/>
            </p:nvGraphicFramePr>
            <p:xfrm>
              <a:off x="516000" y="1693920"/>
              <a:ext cx="11160000" cy="3960000"/>
            </p:xfrm>
            <a:graphic>
              <a:graphicData uri="http://schemas.microsoft.com/office/drawing/2014/chartex">
                <cx:chart xmlns:cx="http://schemas.microsoft.com/office/drawing/2014/chartex" xmlns:r="http://schemas.openxmlformats.org/officeDocument/2006/relationships" r:id="rId6"/>
              </a:graphicData>
            </a:graphic>
          </p:graphicFrame>
        </mc:Choice>
        <mc:Fallback>
          <p:pic>
            <p:nvPicPr>
              <p:cNvPr id="4" name="Chart 3">
                <a:extLst>
                  <a:ext uri="{FF2B5EF4-FFF2-40B4-BE49-F238E27FC236}">
                    <a16:creationId xmlns:a16="http://schemas.microsoft.com/office/drawing/2014/main" id="{03012A1E-FC92-64FB-9F9A-41B859B1F41C}"/>
                  </a:ext>
                </a:extLst>
              </p:cNvPr>
              <p:cNvPicPr>
                <a:picLocks noGrp="1" noRot="1" noChangeAspect="1" noMove="1" noResize="1" noEditPoints="1" noAdjustHandles="1" noChangeArrowheads="1" noChangeShapeType="1"/>
              </p:cNvPicPr>
              <p:nvPr/>
            </p:nvPicPr>
            <p:blipFill>
              <a:blip r:embed="rId7"/>
              <a:stretch>
                <a:fillRect/>
              </a:stretch>
            </p:blipFill>
            <p:spPr>
              <a:xfrm>
                <a:off x="516000" y="1693920"/>
                <a:ext cx="11160000" cy="3960000"/>
              </a:xfrm>
              <a:prstGeom prst="rect">
                <a:avLst/>
              </a:prstGeom>
            </p:spPr>
          </p:pic>
        </mc:Fallback>
      </mc:AlternateContent>
      <mc:AlternateContent xmlns:mc="http://schemas.openxmlformats.org/markup-compatibility/2006">
        <mc:Choice xmlns="" xmlns:cx1="http://schemas.microsoft.com/office/drawing/2015/9/8/chartex" Requires="cx1">
          <p:graphicFrame>
            <p:nvGraphicFramePr>
              <p:cNvPr id="11" name="Chart 10">
                <a:extLst>
                  <a:ext uri="{FF2B5EF4-FFF2-40B4-BE49-F238E27FC236}">
                    <a16:creationId xmlns:a16="http://schemas.microsoft.com/office/drawing/2014/main" id="{F2A980DC-0B50-9592-64AF-1421B7A3246D}"/>
                  </a:ext>
                </a:extLst>
              </p:cNvPr>
              <p:cNvGraphicFramePr/>
              <p:nvPr/>
            </p:nvGraphicFramePr>
            <p:xfrm>
              <a:off x="326267" y="1554480"/>
              <a:ext cx="11637068" cy="5079600"/>
            </p:xfrm>
            <a:graphic>
              <a:graphicData uri="http://schemas.microsoft.com/office/drawing/2014/chartex">
                <cx:chart xmlns:cx="http://schemas.microsoft.com/office/drawing/2014/chartex" xmlns:r="http://schemas.openxmlformats.org/officeDocument/2006/relationships" r:id="rId8"/>
              </a:graphicData>
            </a:graphic>
          </p:graphicFrame>
        </mc:Choice>
        <mc:Fallback>
          <p:pic>
            <p:nvPicPr>
              <p:cNvPr id="11" name="Chart 10">
                <a:extLst>
                  <a:ext uri="{FF2B5EF4-FFF2-40B4-BE49-F238E27FC236}">
                    <a16:creationId xmlns:a16="http://schemas.microsoft.com/office/drawing/2014/main" id="{F2A980DC-0B50-9592-64AF-1421B7A3246D}"/>
                  </a:ext>
                </a:extLst>
              </p:cNvPr>
              <p:cNvPicPr>
                <a:picLocks noGrp="1" noRot="1" noChangeAspect="1" noMove="1" noResize="1" noEditPoints="1" noAdjustHandles="1" noChangeArrowheads="1" noChangeShapeType="1"/>
              </p:cNvPicPr>
              <p:nvPr/>
            </p:nvPicPr>
            <p:blipFill>
              <a:blip r:embed="rId9"/>
              <a:stretch>
                <a:fillRect/>
              </a:stretch>
            </p:blipFill>
            <p:spPr>
              <a:xfrm>
                <a:off x="326267" y="1554480"/>
                <a:ext cx="11637068" cy="5079600"/>
              </a:xfrm>
              <a:prstGeom prst="rect">
                <a:avLst/>
              </a:prstGeom>
            </p:spPr>
          </p:pic>
        </mc:Fallback>
      </mc:AlternateContent>
    </p:spTree>
    <p:extLst>
      <p:ext uri="{BB962C8B-B14F-4D97-AF65-F5344CB8AC3E}">
        <p14:creationId xmlns:p14="http://schemas.microsoft.com/office/powerpoint/2010/main" val="31435207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1C5A55E-EF94-D493-801C-2B1848FA4A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4" imgW="347" imgH="348" progId="TCLayout.ActiveDocument.1">
                  <p:embed/>
                </p:oleObj>
              </mc:Choice>
              <mc:Fallback>
                <p:oleObj name="think-cell Slide" r:id="rId4" imgW="347" imgH="348" progId="TCLayout.ActiveDocument.1">
                  <p:embed/>
                  <p:pic>
                    <p:nvPicPr>
                      <p:cNvPr id="6" name="think-cell data - do not delete" hidden="1">
                        <a:extLst>
                          <a:ext uri="{FF2B5EF4-FFF2-40B4-BE49-F238E27FC236}">
                            <a16:creationId xmlns:a16="http://schemas.microsoft.com/office/drawing/2014/main" id="{31C5A55E-EF94-D493-801C-2B1848FA4A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ADCAD7-AA50-8E07-2846-06BB5A5E9661}"/>
              </a:ext>
            </a:extLst>
          </p:cNvPr>
          <p:cNvSpPr>
            <a:spLocks noGrp="1"/>
          </p:cNvSpPr>
          <p:nvPr>
            <p:ph type="title"/>
          </p:nvPr>
        </p:nvSpPr>
        <p:spPr/>
        <p:txBody>
          <a:bodyPr vert="horz"/>
          <a:lstStyle/>
          <a:p>
            <a:r>
              <a:rPr lang="el-GR" dirty="0"/>
              <a:t>Το 18% των 1.379 νέων γιατρών θα χρειαστούν για τους δήμους Αθηναίων, Αχαρνών, Θεσσαλονίκης και Πατρών</a:t>
            </a:r>
            <a:endParaRPr lang="en-GB" dirty="0"/>
          </a:p>
        </p:txBody>
      </p:sp>
      <p:sp>
        <p:nvSpPr>
          <p:cNvPr id="3" name="Slide Number Placeholder 2">
            <a:extLst>
              <a:ext uri="{FF2B5EF4-FFF2-40B4-BE49-F238E27FC236}">
                <a16:creationId xmlns:a16="http://schemas.microsoft.com/office/drawing/2014/main" id="{AA2C9A4B-F7C0-DE1D-CFCB-38AA7FFBE5BF}"/>
              </a:ext>
            </a:extLst>
          </p:cNvPr>
          <p:cNvSpPr>
            <a:spLocks noGrp="1"/>
          </p:cNvSpPr>
          <p:nvPr>
            <p:ph type="sldNum" idx="12"/>
          </p:nvPr>
        </p:nvSpPr>
        <p:spPr/>
        <p:txBody>
          <a:bodyPr/>
          <a:lstStyle/>
          <a:p>
            <a:pPr marL="0" marR="0" lvl="0" indent="0" algn="l" defTabSz="914400" rtl="0" eaLnBrk="1" fontAlgn="auto" latinLnBrk="0" hangingPunct="1">
              <a:lnSpc>
                <a:spcPct val="100000"/>
              </a:lnSpc>
              <a:spcBef>
                <a:spcPts val="0"/>
              </a:spcBef>
              <a:spcAft>
                <a:spcPts val="0"/>
              </a:spcAft>
              <a:buClr>
                <a:srgbClr val="FFFFFF"/>
              </a:buClr>
              <a:buSzPts val="1000"/>
              <a:buFont typeface="Calibri"/>
              <a:buNone/>
              <a:tabLst/>
              <a:defRPr/>
            </a:pPr>
            <a:fld id="{00000000-1234-1234-1234-123412341234}" type="slidenum">
              <a:rPr kumimoji="0" lang="el-GR" sz="10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l" defTabSz="914400" rtl="0" eaLnBrk="1" fontAlgn="auto" latinLnBrk="0" hangingPunct="1">
                <a:lnSpc>
                  <a:spcPct val="100000"/>
                </a:lnSpc>
                <a:spcBef>
                  <a:spcPts val="0"/>
                </a:spcBef>
                <a:spcAft>
                  <a:spcPts val="0"/>
                </a:spcAft>
                <a:buClr>
                  <a:srgbClr val="FFFFFF"/>
                </a:buClr>
                <a:buSzPts val="1000"/>
                <a:buFont typeface="Calibri"/>
                <a:buNone/>
                <a:tabLst/>
                <a:defRPr/>
              </a:pPr>
              <a:t>6</a:t>
            </a:fld>
            <a:endParaRPr kumimoji="0" lang="el-GR" sz="10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5" name="Text Placeholder 4">
            <a:extLst>
              <a:ext uri="{FF2B5EF4-FFF2-40B4-BE49-F238E27FC236}">
                <a16:creationId xmlns:a16="http://schemas.microsoft.com/office/drawing/2014/main" id="{312689D6-FAA0-A885-44E9-B58E4E63B365}"/>
              </a:ext>
            </a:extLst>
          </p:cNvPr>
          <p:cNvSpPr>
            <a:spLocks noGrp="1"/>
          </p:cNvSpPr>
          <p:nvPr>
            <p:ph type="body" sz="quarter" idx="14"/>
          </p:nvPr>
        </p:nvSpPr>
        <p:spPr/>
        <p:txBody>
          <a:bodyPr/>
          <a:lstStyle/>
          <a:p>
            <a:r>
              <a:rPr lang="el-GR" sz="1600" dirty="0"/>
              <a:t>Ανάγκες σε νέους γιατρούς ανά δήμο</a:t>
            </a:r>
            <a:endParaRPr lang="en-GB" sz="1600" dirty="0"/>
          </a:p>
        </p:txBody>
      </p:sp>
      <mc:AlternateContent xmlns:mc="http://schemas.openxmlformats.org/markup-compatibility/2006">
        <mc:Choice xmlns="" xmlns:cx1="http://schemas.microsoft.com/office/drawing/2015/9/8/chartex" Requires="cx1">
          <p:graphicFrame>
            <p:nvGraphicFramePr>
              <p:cNvPr id="4" name="Chart 3">
                <a:extLst>
                  <a:ext uri="{FF2B5EF4-FFF2-40B4-BE49-F238E27FC236}">
                    <a16:creationId xmlns:a16="http://schemas.microsoft.com/office/drawing/2014/main" id="{03012A1E-FC92-64FB-9F9A-41B859B1F41C}"/>
                  </a:ext>
                </a:extLst>
              </p:cNvPr>
              <p:cNvGraphicFramePr/>
              <p:nvPr/>
            </p:nvGraphicFramePr>
            <p:xfrm>
              <a:off x="516000" y="1693920"/>
              <a:ext cx="11160000" cy="3960000"/>
            </p:xfrm>
            <a:graphic>
              <a:graphicData uri="http://schemas.microsoft.com/office/drawing/2014/chartex">
                <cx:chart xmlns:cx="http://schemas.microsoft.com/office/drawing/2014/chartex" xmlns:r="http://schemas.openxmlformats.org/officeDocument/2006/relationships" r:id="rId6"/>
              </a:graphicData>
            </a:graphic>
          </p:graphicFrame>
        </mc:Choice>
        <mc:Fallback>
          <p:pic>
            <p:nvPicPr>
              <p:cNvPr id="4" name="Chart 3">
                <a:extLst>
                  <a:ext uri="{FF2B5EF4-FFF2-40B4-BE49-F238E27FC236}">
                    <a16:creationId xmlns:a16="http://schemas.microsoft.com/office/drawing/2014/main" id="{03012A1E-FC92-64FB-9F9A-41B859B1F41C}"/>
                  </a:ext>
                </a:extLst>
              </p:cNvPr>
              <p:cNvPicPr>
                <a:picLocks noGrp="1" noRot="1" noChangeAspect="1" noMove="1" noResize="1" noEditPoints="1" noAdjustHandles="1" noChangeArrowheads="1" noChangeShapeType="1"/>
              </p:cNvPicPr>
              <p:nvPr/>
            </p:nvPicPr>
            <p:blipFill>
              <a:blip r:embed="rId7"/>
              <a:stretch>
                <a:fillRect/>
              </a:stretch>
            </p:blipFill>
            <p:spPr>
              <a:xfrm>
                <a:off x="516000" y="1693920"/>
                <a:ext cx="11160000" cy="3960000"/>
              </a:xfrm>
              <a:prstGeom prst="rect">
                <a:avLst/>
              </a:prstGeom>
            </p:spPr>
          </p:pic>
        </mc:Fallback>
      </mc:AlternateContent>
      <mc:AlternateContent xmlns:mc="http://schemas.openxmlformats.org/markup-compatibility/2006">
        <mc:Choice xmlns="" xmlns:cx1="http://schemas.microsoft.com/office/drawing/2015/9/8/chartex" Requires="cx1">
          <p:graphicFrame>
            <p:nvGraphicFramePr>
              <p:cNvPr id="7" name="Chart 6">
                <a:extLst>
                  <a:ext uri="{FF2B5EF4-FFF2-40B4-BE49-F238E27FC236}">
                    <a16:creationId xmlns:a16="http://schemas.microsoft.com/office/drawing/2014/main" id="{BC8A8E18-49C7-CC46-F742-1B3E08B6E9BF}"/>
                  </a:ext>
                </a:extLst>
              </p:cNvPr>
              <p:cNvGraphicFramePr/>
              <p:nvPr/>
            </p:nvGraphicFramePr>
            <p:xfrm>
              <a:off x="326267" y="1554480"/>
              <a:ext cx="11637068" cy="5078055"/>
            </p:xfrm>
            <a:graphic>
              <a:graphicData uri="http://schemas.microsoft.com/office/drawing/2014/chartex">
                <cx:chart xmlns:cx="http://schemas.microsoft.com/office/drawing/2014/chartex" xmlns:r="http://schemas.openxmlformats.org/officeDocument/2006/relationships" r:id="rId8"/>
              </a:graphicData>
            </a:graphic>
          </p:graphicFrame>
        </mc:Choice>
        <mc:Fallback>
          <p:pic>
            <p:nvPicPr>
              <p:cNvPr id="7" name="Chart 6">
                <a:extLst>
                  <a:ext uri="{FF2B5EF4-FFF2-40B4-BE49-F238E27FC236}">
                    <a16:creationId xmlns:a16="http://schemas.microsoft.com/office/drawing/2014/main" id="{BC8A8E18-49C7-CC46-F742-1B3E08B6E9BF}"/>
                  </a:ext>
                </a:extLst>
              </p:cNvPr>
              <p:cNvPicPr>
                <a:picLocks noGrp="1" noRot="1" noChangeAspect="1" noMove="1" noResize="1" noEditPoints="1" noAdjustHandles="1" noChangeArrowheads="1" noChangeShapeType="1"/>
              </p:cNvPicPr>
              <p:nvPr/>
            </p:nvPicPr>
            <p:blipFill>
              <a:blip r:embed="rId9"/>
              <a:stretch>
                <a:fillRect/>
              </a:stretch>
            </p:blipFill>
            <p:spPr>
              <a:xfrm>
                <a:off x="326267" y="1554480"/>
                <a:ext cx="11637068" cy="5078055"/>
              </a:xfrm>
              <a:prstGeom prst="rect">
                <a:avLst/>
              </a:prstGeom>
            </p:spPr>
          </p:pic>
        </mc:Fallback>
      </mc:AlternateContent>
    </p:spTree>
    <p:extLst>
      <p:ext uri="{BB962C8B-B14F-4D97-AF65-F5344CB8AC3E}">
        <p14:creationId xmlns:p14="http://schemas.microsoft.com/office/powerpoint/2010/main" val="7046389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 name="CustomShape 1"/>
          <p:cNvSpPr/>
          <p:nvPr/>
        </p:nvSpPr>
        <p:spPr>
          <a:xfrm>
            <a:off x="327600" y="399600"/>
            <a:ext cx="11341440" cy="833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oAutofit/>
          </a:bodyPr>
          <a:lstStyle/>
          <a:p>
            <a:pPr>
              <a:lnSpc>
                <a:spcPct val="90000"/>
              </a:lnSpc>
              <a:tabLst>
                <a:tab pos="0" algn="l"/>
              </a:tabLst>
            </a:pPr>
            <a:r>
              <a:rPr lang="el-GR" sz="2600" b="1" strike="noStrike" spc="-1">
                <a:solidFill>
                  <a:srgbClr val="31506D"/>
                </a:solidFill>
                <a:latin typeface="Calibri"/>
                <a:ea typeface="Calibri"/>
              </a:rPr>
              <a:t>Τι περιλαμβάνει ο ρόλος του Π.Ι.  </a:t>
            </a:r>
            <a:r>
              <a:t/>
            </a:r>
            <a:br/>
            <a:r>
              <a:t/>
            </a:r>
            <a:br/>
            <a:r>
              <a:t/>
            </a:r>
            <a:br/>
            <a:endParaRPr lang="en-US" sz="2600" b="0" strike="noStrike" spc="-1">
              <a:latin typeface="Arial"/>
            </a:endParaRPr>
          </a:p>
        </p:txBody>
      </p:sp>
      <p:sp>
        <p:nvSpPr>
          <p:cNvPr id="233" name="CustomShape 2"/>
          <p:cNvSpPr/>
          <p:nvPr/>
        </p:nvSpPr>
        <p:spPr>
          <a:xfrm>
            <a:off x="11296440" y="6377040"/>
            <a:ext cx="519840" cy="25344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chor="ctr">
            <a:noAutofit/>
          </a:bodyPr>
          <a:lstStyle/>
          <a:p>
            <a:pPr>
              <a:lnSpc>
                <a:spcPct val="100000"/>
              </a:lnSpc>
              <a:tabLst>
                <a:tab pos="0" algn="l"/>
              </a:tabLst>
            </a:pPr>
            <a:fld id="{438E3F88-DBDE-4544-9E12-C4CB1A5F958F}" type="slidenum">
              <a:rPr lang="el-GR" sz="1000" b="0" strike="noStrike" spc="-1">
                <a:solidFill>
                  <a:srgbClr val="000000"/>
                </a:solidFill>
                <a:latin typeface="Calibri"/>
                <a:ea typeface="Calibri"/>
              </a:rPr>
              <a:t>7</a:t>
            </a:fld>
            <a:endParaRPr lang="en-US" sz="1000" b="0" strike="noStrike" spc="-1">
              <a:latin typeface="Arial"/>
            </a:endParaRPr>
          </a:p>
        </p:txBody>
      </p:sp>
      <p:sp>
        <p:nvSpPr>
          <p:cNvPr id="234" name="CustomShape 3"/>
          <p:cNvSpPr/>
          <p:nvPr/>
        </p:nvSpPr>
        <p:spPr>
          <a:xfrm>
            <a:off x="326160" y="1251720"/>
            <a:ext cx="11341440" cy="365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chor="ctr">
            <a:noAutofit/>
          </a:bodyPr>
          <a:lstStyle/>
          <a:p>
            <a:pPr>
              <a:lnSpc>
                <a:spcPct val="100000"/>
              </a:lnSpc>
              <a:tabLst>
                <a:tab pos="0" algn="l"/>
              </a:tabLst>
            </a:pPr>
            <a:r>
              <a:rPr lang="el-GR" sz="1800" b="1" strike="noStrike" spc="-1">
                <a:solidFill>
                  <a:srgbClr val="363636"/>
                </a:solidFill>
                <a:latin typeface="Calibri"/>
                <a:ea typeface="Calibri"/>
              </a:rPr>
              <a:t>Αναλυτικά ο ρόλος του Π.Ι.</a:t>
            </a:r>
            <a:endParaRPr lang="en-US" sz="1800" b="0" strike="noStrike" spc="-1">
              <a:latin typeface="Arial"/>
            </a:endParaRPr>
          </a:p>
        </p:txBody>
      </p:sp>
      <p:grpSp>
        <p:nvGrpSpPr>
          <p:cNvPr id="235" name="Group 4"/>
          <p:cNvGrpSpPr/>
          <p:nvPr/>
        </p:nvGrpSpPr>
        <p:grpSpPr>
          <a:xfrm>
            <a:off x="464400" y="1760040"/>
            <a:ext cx="11204640" cy="4397760"/>
            <a:chOff x="464400" y="1760040"/>
            <a:chExt cx="11204640" cy="4397760"/>
          </a:xfrm>
        </p:grpSpPr>
        <p:sp>
          <p:nvSpPr>
            <p:cNvPr id="236" name="CustomShape 5"/>
            <p:cNvSpPr/>
            <p:nvPr/>
          </p:nvSpPr>
          <p:spPr>
            <a:xfrm>
              <a:off x="464400" y="1760040"/>
              <a:ext cx="5500440" cy="2158200"/>
            </a:xfrm>
            <a:prstGeom prst="rect">
              <a:avLst/>
            </a:prstGeom>
            <a:solidFill>
              <a:srgbClr val="0070C0"/>
            </a:solidFill>
            <a:ln w="0">
              <a:noFill/>
            </a:ln>
          </p:spPr>
          <p:style>
            <a:lnRef idx="0">
              <a:scrgbClr r="0" g="0" b="0"/>
            </a:lnRef>
            <a:fillRef idx="0">
              <a:scrgbClr r="0" g="0" b="0"/>
            </a:fillRef>
            <a:effectRef idx="0">
              <a:scrgbClr r="0" g="0" b="0"/>
            </a:effectRef>
            <a:fontRef idx="minor"/>
          </p:style>
          <p:txBody>
            <a:bodyPr lIns="90000" tIns="61560" rIns="90000" bIns="61560">
              <a:noAutofit/>
            </a:bodyPr>
            <a:lstStyle/>
            <a:p>
              <a:pPr>
                <a:lnSpc>
                  <a:spcPct val="100000"/>
                </a:lnSpc>
                <a:tabLst>
                  <a:tab pos="0" algn="l"/>
                </a:tabLst>
              </a:pPr>
              <a:r>
                <a:rPr lang="el-GR" sz="1600" b="1" strike="noStrike" spc="-1">
                  <a:solidFill>
                    <a:srgbClr val="FFFFFF"/>
                  </a:solidFill>
                  <a:latin typeface="Arial"/>
                  <a:ea typeface="Arial"/>
                </a:rPr>
                <a:t>Πρόληψη και προαγωγή υγείας</a:t>
              </a:r>
              <a:endParaRPr lang="en-US" sz="1600" b="0" strike="noStrike" spc="-1">
                <a:latin typeface="Arial"/>
              </a:endParaRPr>
            </a:p>
            <a:p>
              <a:pPr>
                <a:lnSpc>
                  <a:spcPct val="100000"/>
                </a:lnSpc>
                <a:tabLst>
                  <a:tab pos="0" algn="l"/>
                </a:tabLst>
              </a:pPr>
              <a:r>
                <a:rPr lang="el-GR" sz="1600" b="1" strike="noStrike" spc="-1">
                  <a:solidFill>
                    <a:srgbClr val="FFFFFF"/>
                  </a:solidFill>
                  <a:latin typeface="Arial"/>
                  <a:ea typeface="Arial"/>
                </a:rPr>
                <a:t> </a:t>
              </a:r>
              <a:endParaRPr lang="en-US" sz="1600" b="0" strike="noStrike" spc="-1">
                <a:latin typeface="Arial"/>
              </a:endParaRPr>
            </a:p>
            <a:p>
              <a:pPr>
                <a:lnSpc>
                  <a:spcPct val="100000"/>
                </a:lnSpc>
                <a:tabLst>
                  <a:tab pos="0" algn="l"/>
                </a:tabLst>
              </a:pPr>
              <a:r>
                <a:rPr lang="el-GR" sz="1600" b="0" strike="noStrike" spc="-1">
                  <a:solidFill>
                    <a:srgbClr val="FFFFFF"/>
                  </a:solidFill>
                  <a:latin typeface="Arial"/>
                  <a:ea typeface="Arial"/>
                </a:rPr>
                <a:t>π.χ. αξιολόγηση BMI, αρτηριακής πίεσης, παροχή συμβουλών αλλαγής συμπεριφοράς για κατανάλωση αλκοόλ, κάπνισμα, διατροφή, άσκηση</a:t>
              </a:r>
              <a:endParaRPr lang="en-US" sz="1600" b="0" strike="noStrike" spc="-1">
                <a:latin typeface="Arial"/>
              </a:endParaRPr>
            </a:p>
            <a:p>
              <a:pPr>
                <a:lnSpc>
                  <a:spcPct val="100000"/>
                </a:lnSpc>
                <a:tabLst>
                  <a:tab pos="0" algn="l"/>
                </a:tabLst>
              </a:pPr>
              <a:endParaRPr lang="en-US" sz="1600" b="0" strike="noStrike" spc="-1">
                <a:latin typeface="Arial"/>
              </a:endParaRPr>
            </a:p>
            <a:p>
              <a:pPr>
                <a:lnSpc>
                  <a:spcPct val="100000"/>
                </a:lnSpc>
                <a:tabLst>
                  <a:tab pos="0" algn="l"/>
                </a:tabLst>
              </a:pPr>
              <a:endParaRPr lang="en-US" sz="1600" b="0" strike="noStrike" spc="-1">
                <a:latin typeface="Arial"/>
              </a:endParaRPr>
            </a:p>
          </p:txBody>
        </p:sp>
        <p:sp>
          <p:nvSpPr>
            <p:cNvPr id="237" name="CustomShape 6"/>
            <p:cNvSpPr/>
            <p:nvPr/>
          </p:nvSpPr>
          <p:spPr>
            <a:xfrm>
              <a:off x="6168600" y="1760040"/>
              <a:ext cx="5500440" cy="2158200"/>
            </a:xfrm>
            <a:prstGeom prst="rect">
              <a:avLst/>
            </a:prstGeom>
            <a:solidFill>
              <a:srgbClr val="7699BA"/>
            </a:solidFill>
            <a:ln w="0">
              <a:noFill/>
            </a:ln>
          </p:spPr>
          <p:style>
            <a:lnRef idx="0">
              <a:scrgbClr r="0" g="0" b="0"/>
            </a:lnRef>
            <a:fillRef idx="0">
              <a:scrgbClr r="0" g="0" b="0"/>
            </a:fillRef>
            <a:effectRef idx="0">
              <a:scrgbClr r="0" g="0" b="0"/>
            </a:effectRef>
            <a:fontRef idx="minor"/>
          </p:style>
          <p:txBody>
            <a:bodyPr lIns="90000" tIns="61560" rIns="90000" bIns="61560">
              <a:noAutofit/>
            </a:bodyPr>
            <a:lstStyle/>
            <a:p>
              <a:pPr>
                <a:lnSpc>
                  <a:spcPct val="100000"/>
                </a:lnSpc>
                <a:tabLst>
                  <a:tab pos="0" algn="l"/>
                </a:tabLst>
              </a:pPr>
              <a:r>
                <a:rPr lang="el-GR" sz="1600" b="1" strike="noStrike" spc="-1">
                  <a:solidFill>
                    <a:srgbClr val="FFFFFF"/>
                  </a:solidFill>
                  <a:latin typeface="Arial"/>
                  <a:ea typeface="Arial"/>
                </a:rPr>
                <a:t>Προσυμπτωματικός έλεγχος</a:t>
              </a:r>
              <a:endParaRPr lang="en-US" sz="1600" b="0" strike="noStrike" spc="-1">
                <a:latin typeface="Arial"/>
              </a:endParaRPr>
            </a:p>
            <a:p>
              <a:pPr>
                <a:lnSpc>
                  <a:spcPct val="100000"/>
                </a:lnSpc>
                <a:tabLst>
                  <a:tab pos="0" algn="l"/>
                </a:tabLst>
              </a:pPr>
              <a:endParaRPr lang="en-US" sz="1600" b="0" strike="noStrike" spc="-1">
                <a:latin typeface="Arial"/>
              </a:endParaRPr>
            </a:p>
            <a:p>
              <a:pPr>
                <a:lnSpc>
                  <a:spcPct val="100000"/>
                </a:lnSpc>
                <a:tabLst>
                  <a:tab pos="0" algn="l"/>
                </a:tabLst>
              </a:pPr>
              <a:r>
                <a:rPr lang="el-GR" sz="1600" b="0" strike="noStrike" spc="-1">
                  <a:solidFill>
                    <a:srgbClr val="FFFFFF"/>
                  </a:solidFill>
                  <a:latin typeface="Arial"/>
                  <a:ea typeface="Arial"/>
                </a:rPr>
                <a:t>π.χ. ενίσχυση της διενέργειας προληπτικών εξετάσεων όπως μαστογραφία, τραχήλου της μήτρας, παχέος εντέρου</a:t>
              </a:r>
              <a:endParaRPr lang="en-US" sz="1600" b="0" strike="noStrike" spc="-1">
                <a:latin typeface="Arial"/>
              </a:endParaRPr>
            </a:p>
            <a:p>
              <a:pPr marL="285840" indent="-182160">
                <a:lnSpc>
                  <a:spcPct val="100000"/>
                </a:lnSpc>
                <a:tabLst>
                  <a:tab pos="0" algn="l"/>
                </a:tabLst>
              </a:pPr>
              <a:endParaRPr lang="en-US" sz="1600" b="0" strike="noStrike" spc="-1">
                <a:latin typeface="Arial"/>
              </a:endParaRPr>
            </a:p>
          </p:txBody>
        </p:sp>
        <p:sp>
          <p:nvSpPr>
            <p:cNvPr id="238" name="CustomShape 7"/>
            <p:cNvSpPr/>
            <p:nvPr/>
          </p:nvSpPr>
          <p:spPr>
            <a:xfrm>
              <a:off x="464400" y="3999600"/>
              <a:ext cx="5500440" cy="2158200"/>
            </a:xfrm>
            <a:prstGeom prst="rect">
              <a:avLst/>
            </a:prstGeom>
            <a:solidFill>
              <a:srgbClr val="45816C"/>
            </a:solidFill>
            <a:ln w="0">
              <a:noFill/>
            </a:ln>
          </p:spPr>
          <p:style>
            <a:lnRef idx="0">
              <a:scrgbClr r="0" g="0" b="0"/>
            </a:lnRef>
            <a:fillRef idx="0">
              <a:scrgbClr r="0" g="0" b="0"/>
            </a:fillRef>
            <a:effectRef idx="0">
              <a:scrgbClr r="0" g="0" b="0"/>
            </a:effectRef>
            <a:fontRef idx="minor"/>
          </p:style>
          <p:txBody>
            <a:bodyPr lIns="90000" tIns="61560" rIns="90000" bIns="61560" anchor="b">
              <a:noAutofit/>
            </a:bodyPr>
            <a:lstStyle/>
            <a:p>
              <a:pPr>
                <a:lnSpc>
                  <a:spcPct val="100000"/>
                </a:lnSpc>
                <a:tabLst>
                  <a:tab pos="0" algn="l"/>
                </a:tabLst>
              </a:pPr>
              <a:r>
                <a:rPr lang="el-GR" sz="1600" b="1" strike="noStrike" spc="-1">
                  <a:solidFill>
                    <a:srgbClr val="FFFFFF"/>
                  </a:solidFill>
                  <a:latin typeface="Arial"/>
                  <a:ea typeface="Arial"/>
                </a:rPr>
                <a:t>Διαχείριση χρονίων παθήσεων στην κοινότητα </a:t>
              </a:r>
              <a:endParaRPr lang="en-US" sz="1600" b="0" strike="noStrike" spc="-1">
                <a:latin typeface="Arial"/>
              </a:endParaRPr>
            </a:p>
            <a:p>
              <a:pPr>
                <a:lnSpc>
                  <a:spcPct val="100000"/>
                </a:lnSpc>
                <a:tabLst>
                  <a:tab pos="0" algn="l"/>
                </a:tabLst>
              </a:pPr>
              <a:endParaRPr lang="en-US" sz="1600" b="0" strike="noStrike" spc="-1">
                <a:latin typeface="Arial"/>
              </a:endParaRPr>
            </a:p>
            <a:p>
              <a:pPr>
                <a:lnSpc>
                  <a:spcPct val="100000"/>
                </a:lnSpc>
                <a:tabLst>
                  <a:tab pos="0" algn="l"/>
                </a:tabLst>
              </a:pPr>
              <a:endParaRPr lang="en-US" sz="1600" b="0" strike="noStrike" spc="-1">
                <a:latin typeface="Arial"/>
              </a:endParaRPr>
            </a:p>
            <a:p>
              <a:pPr>
                <a:lnSpc>
                  <a:spcPct val="100000"/>
                </a:lnSpc>
                <a:tabLst>
                  <a:tab pos="0" algn="l"/>
                </a:tabLst>
              </a:pPr>
              <a:r>
                <a:rPr lang="el-GR" sz="1600" b="0" strike="noStrike" spc="-1">
                  <a:solidFill>
                    <a:srgbClr val="FFFFFF"/>
                  </a:solidFill>
                  <a:latin typeface="Arial"/>
                  <a:ea typeface="Arial"/>
                </a:rPr>
                <a:t>π.χ. εκπαίδευση στην χρήση εισπνεόμενων, εκπαίδευση στην διαχείριση του διαβήτη, παρακολούθηση χρονίως πασχόντων) </a:t>
              </a:r>
              <a:endParaRPr lang="en-US" sz="1600" b="0" strike="noStrike" spc="-1">
                <a:latin typeface="Arial"/>
              </a:endParaRPr>
            </a:p>
          </p:txBody>
        </p:sp>
        <p:sp>
          <p:nvSpPr>
            <p:cNvPr id="239" name="CustomShape 8"/>
            <p:cNvSpPr/>
            <p:nvPr/>
          </p:nvSpPr>
          <p:spPr>
            <a:xfrm>
              <a:off x="6168600" y="3999600"/>
              <a:ext cx="5500440" cy="2158200"/>
            </a:xfrm>
            <a:prstGeom prst="rect">
              <a:avLst/>
            </a:prstGeom>
            <a:solidFill>
              <a:srgbClr val="1CA9B4"/>
            </a:solidFill>
            <a:ln w="0">
              <a:noFill/>
            </a:ln>
          </p:spPr>
          <p:style>
            <a:lnRef idx="0">
              <a:scrgbClr r="0" g="0" b="0"/>
            </a:lnRef>
            <a:fillRef idx="0">
              <a:scrgbClr r="0" g="0" b="0"/>
            </a:fillRef>
            <a:effectRef idx="0">
              <a:scrgbClr r="0" g="0" b="0"/>
            </a:effectRef>
            <a:fontRef idx="minor"/>
          </p:style>
          <p:txBody>
            <a:bodyPr lIns="90000" tIns="61560" rIns="90000" bIns="61560" anchor="b">
              <a:noAutofit/>
            </a:bodyPr>
            <a:lstStyle/>
            <a:p>
              <a:pPr>
                <a:lnSpc>
                  <a:spcPct val="100000"/>
                </a:lnSpc>
                <a:tabLst>
                  <a:tab pos="0" algn="l"/>
                </a:tabLst>
              </a:pPr>
              <a:r>
                <a:rPr lang="el-GR" sz="1600" b="1" strike="noStrike" spc="-1">
                  <a:solidFill>
                    <a:srgbClr val="FFFFFF"/>
                  </a:solidFill>
                  <a:latin typeface="Arial"/>
                  <a:ea typeface="Arial"/>
                </a:rPr>
                <a:t>Βελτιστοποίηση της Συνταγογράφησης &amp; Ενίσχυση του εγγραμματισμού </a:t>
              </a:r>
              <a:endParaRPr lang="en-US" sz="1600" b="0" strike="noStrike" spc="-1">
                <a:latin typeface="Arial"/>
              </a:endParaRPr>
            </a:p>
            <a:p>
              <a:pPr>
                <a:lnSpc>
                  <a:spcPct val="100000"/>
                </a:lnSpc>
                <a:tabLst>
                  <a:tab pos="0" algn="l"/>
                </a:tabLst>
              </a:pPr>
              <a:r>
                <a:rPr lang="el-GR" sz="1600" b="0" strike="noStrike" spc="-1">
                  <a:solidFill>
                    <a:srgbClr val="FFFFFF"/>
                  </a:solidFill>
                  <a:latin typeface="Arial"/>
                  <a:ea typeface="Arial"/>
                </a:rPr>
                <a:t>π.χ. ενημέρωση των ασθενών με τρόπο κατανοητό και προσιτό, αύξηση της διείσδυσης των γενοσήμων, καταχώρηση των δεδομένων υγείας των πολιτών μέσω πρόσβασης στον ΑΗΦΥ, μείωση της πολυφαρμακίας</a:t>
              </a:r>
              <a:endParaRPr lang="en-US" sz="1600" b="0" strike="noStrike" spc="-1">
                <a:latin typeface="Arial"/>
              </a:endParaRPr>
            </a:p>
          </p:txBody>
        </p:sp>
        <p:sp>
          <p:nvSpPr>
            <p:cNvPr id="240" name="CustomShape 9"/>
            <p:cNvSpPr/>
            <p:nvPr/>
          </p:nvSpPr>
          <p:spPr>
            <a:xfrm>
              <a:off x="4386960" y="3300120"/>
              <a:ext cx="3359520" cy="1317600"/>
            </a:xfrm>
            <a:prstGeom prst="frame">
              <a:avLst>
                <a:gd name="adj1" fmla="val 6220"/>
              </a:avLst>
            </a:prstGeom>
            <a:solidFill>
              <a:schemeClr val="lt1"/>
            </a:solidFill>
            <a:ln w="0">
              <a:noFill/>
            </a:ln>
          </p:spPr>
          <p:style>
            <a:lnRef idx="0">
              <a:scrgbClr r="0" g="0" b="0"/>
            </a:lnRef>
            <a:fillRef idx="0">
              <a:scrgbClr r="0" g="0" b="0"/>
            </a:fillRef>
            <a:effectRef idx="0">
              <a:scrgbClr r="0" g="0" b="0"/>
            </a:effectRef>
            <a:fontRef idx="minor"/>
          </p:style>
          <p:txBody>
            <a:bodyPr/>
            <a:lstStyle/>
            <a:p>
              <a:endParaRPr lang="el-GR"/>
            </a:p>
          </p:txBody>
        </p:sp>
        <p:sp>
          <p:nvSpPr>
            <p:cNvPr id="241" name="CustomShape 10"/>
            <p:cNvSpPr/>
            <p:nvPr/>
          </p:nvSpPr>
          <p:spPr>
            <a:xfrm>
              <a:off x="4789800" y="3493080"/>
              <a:ext cx="1014840" cy="335160"/>
            </a:xfrm>
            <a:prstGeom prst="rect">
              <a:avLst/>
            </a:prstGeom>
            <a:noFill/>
            <a:ln w="0">
              <a:noFill/>
            </a:ln>
          </p:spPr>
          <p:style>
            <a:lnRef idx="0">
              <a:scrgbClr r="0" g="0" b="0"/>
            </a:lnRef>
            <a:fillRef idx="0">
              <a:scrgbClr r="0" g="0" b="0"/>
            </a:fillRef>
            <a:effectRef idx="0">
              <a:scrgbClr r="0" g="0" b="0"/>
            </a:effectRef>
            <a:fontRef idx="minor"/>
          </p:style>
          <p:txBody>
            <a:bodyPr lIns="0" tIns="0" rIns="0" bIns="0">
              <a:noAutofit/>
            </a:bodyPr>
            <a:lstStyle/>
            <a:p>
              <a:pPr algn="ctr">
                <a:lnSpc>
                  <a:spcPct val="100000"/>
                </a:lnSpc>
                <a:tabLst>
                  <a:tab pos="0" algn="l"/>
                </a:tabLst>
              </a:pPr>
              <a:r>
                <a:rPr lang="el-GR" sz="2400" b="1" strike="noStrike" spc="-1">
                  <a:solidFill>
                    <a:srgbClr val="FFFFFF"/>
                  </a:solidFill>
                  <a:latin typeface="Arial"/>
                  <a:ea typeface="Arial"/>
                </a:rPr>
                <a:t>01</a:t>
              </a:r>
              <a:endParaRPr lang="en-US" sz="2400" b="0" strike="noStrike" spc="-1">
                <a:latin typeface="Arial"/>
              </a:endParaRPr>
            </a:p>
          </p:txBody>
        </p:sp>
        <p:sp>
          <p:nvSpPr>
            <p:cNvPr id="242" name="CustomShape 11"/>
            <p:cNvSpPr/>
            <p:nvPr/>
          </p:nvSpPr>
          <p:spPr>
            <a:xfrm>
              <a:off x="6342120" y="3493080"/>
              <a:ext cx="1014840" cy="335160"/>
            </a:xfrm>
            <a:prstGeom prst="rect">
              <a:avLst/>
            </a:prstGeom>
            <a:noFill/>
            <a:ln w="0">
              <a:noFill/>
            </a:ln>
          </p:spPr>
          <p:style>
            <a:lnRef idx="0">
              <a:scrgbClr r="0" g="0" b="0"/>
            </a:lnRef>
            <a:fillRef idx="0">
              <a:scrgbClr r="0" g="0" b="0"/>
            </a:fillRef>
            <a:effectRef idx="0">
              <a:scrgbClr r="0" g="0" b="0"/>
            </a:effectRef>
            <a:fontRef idx="minor"/>
          </p:style>
          <p:txBody>
            <a:bodyPr lIns="0" tIns="0" rIns="0" bIns="0">
              <a:noAutofit/>
            </a:bodyPr>
            <a:lstStyle/>
            <a:p>
              <a:pPr algn="ctr">
                <a:lnSpc>
                  <a:spcPct val="100000"/>
                </a:lnSpc>
                <a:tabLst>
                  <a:tab pos="0" algn="l"/>
                </a:tabLst>
              </a:pPr>
              <a:r>
                <a:rPr lang="el-GR" sz="2400" b="1" strike="noStrike" spc="-1">
                  <a:solidFill>
                    <a:srgbClr val="FFFFFF"/>
                  </a:solidFill>
                  <a:latin typeface="Arial"/>
                  <a:ea typeface="Arial"/>
                </a:rPr>
                <a:t>02</a:t>
              </a:r>
              <a:endParaRPr lang="en-US" sz="2400" b="0" strike="noStrike" spc="-1">
                <a:latin typeface="Arial"/>
              </a:endParaRPr>
            </a:p>
          </p:txBody>
        </p:sp>
        <p:sp>
          <p:nvSpPr>
            <p:cNvPr id="243" name="CustomShape 12"/>
            <p:cNvSpPr/>
            <p:nvPr/>
          </p:nvSpPr>
          <p:spPr>
            <a:xfrm>
              <a:off x="4789800" y="4094280"/>
              <a:ext cx="1014840" cy="335160"/>
            </a:xfrm>
            <a:prstGeom prst="rect">
              <a:avLst/>
            </a:prstGeom>
            <a:noFill/>
            <a:ln w="0">
              <a:noFill/>
            </a:ln>
          </p:spPr>
          <p:style>
            <a:lnRef idx="0">
              <a:scrgbClr r="0" g="0" b="0"/>
            </a:lnRef>
            <a:fillRef idx="0">
              <a:scrgbClr r="0" g="0" b="0"/>
            </a:fillRef>
            <a:effectRef idx="0">
              <a:scrgbClr r="0" g="0" b="0"/>
            </a:effectRef>
            <a:fontRef idx="minor"/>
          </p:style>
          <p:txBody>
            <a:bodyPr lIns="0" tIns="0" rIns="0" bIns="0">
              <a:noAutofit/>
            </a:bodyPr>
            <a:lstStyle/>
            <a:p>
              <a:pPr algn="ctr">
                <a:lnSpc>
                  <a:spcPct val="100000"/>
                </a:lnSpc>
                <a:tabLst>
                  <a:tab pos="0" algn="l"/>
                </a:tabLst>
              </a:pPr>
              <a:r>
                <a:rPr lang="el-GR" sz="2400" b="1" strike="noStrike" spc="-1">
                  <a:solidFill>
                    <a:srgbClr val="FFFFFF"/>
                  </a:solidFill>
                  <a:latin typeface="Arial"/>
                  <a:ea typeface="Arial"/>
                </a:rPr>
                <a:t>03</a:t>
              </a:r>
              <a:endParaRPr lang="en-US" sz="2400" b="0" strike="noStrike" spc="-1">
                <a:latin typeface="Arial"/>
              </a:endParaRPr>
            </a:p>
          </p:txBody>
        </p:sp>
        <p:sp>
          <p:nvSpPr>
            <p:cNvPr id="244" name="CustomShape 13"/>
            <p:cNvSpPr/>
            <p:nvPr/>
          </p:nvSpPr>
          <p:spPr>
            <a:xfrm>
              <a:off x="6342120" y="4094280"/>
              <a:ext cx="1014840" cy="335160"/>
            </a:xfrm>
            <a:prstGeom prst="rect">
              <a:avLst/>
            </a:prstGeom>
            <a:noFill/>
            <a:ln w="0">
              <a:noFill/>
            </a:ln>
          </p:spPr>
          <p:style>
            <a:lnRef idx="0">
              <a:scrgbClr r="0" g="0" b="0"/>
            </a:lnRef>
            <a:fillRef idx="0">
              <a:scrgbClr r="0" g="0" b="0"/>
            </a:fillRef>
            <a:effectRef idx="0">
              <a:scrgbClr r="0" g="0" b="0"/>
            </a:effectRef>
            <a:fontRef idx="minor"/>
          </p:style>
          <p:txBody>
            <a:bodyPr lIns="0" tIns="0" rIns="0" bIns="0">
              <a:noAutofit/>
            </a:bodyPr>
            <a:lstStyle/>
            <a:p>
              <a:pPr algn="ctr">
                <a:lnSpc>
                  <a:spcPct val="100000"/>
                </a:lnSpc>
                <a:tabLst>
                  <a:tab pos="0" algn="l"/>
                </a:tabLst>
              </a:pPr>
              <a:r>
                <a:rPr lang="el-GR" sz="2400" b="1" strike="noStrike" spc="-1">
                  <a:solidFill>
                    <a:srgbClr val="FFFFFF"/>
                  </a:solidFill>
                  <a:latin typeface="Arial"/>
                  <a:ea typeface="Arial"/>
                </a:rPr>
                <a:t>04</a:t>
              </a:r>
              <a:endParaRPr lang="en-US" sz="2400" b="0" strike="noStrike" spc="-1">
                <a:latin typeface="Arial"/>
              </a:endParaRP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 name="CustomShape 1"/>
          <p:cNvSpPr/>
          <p:nvPr/>
        </p:nvSpPr>
        <p:spPr>
          <a:xfrm>
            <a:off x="327600" y="399600"/>
            <a:ext cx="11341440" cy="833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oAutofit/>
          </a:bodyPr>
          <a:lstStyle/>
          <a:p>
            <a:pPr>
              <a:lnSpc>
                <a:spcPct val="90000"/>
              </a:lnSpc>
              <a:tabLst>
                <a:tab pos="0" algn="l"/>
              </a:tabLst>
            </a:pPr>
            <a:r>
              <a:rPr lang="el-GR" sz="2600" b="1" strike="noStrike" spc="-1">
                <a:solidFill>
                  <a:srgbClr val="31506D"/>
                </a:solidFill>
                <a:latin typeface="Calibri"/>
                <a:ea typeface="Calibri"/>
              </a:rPr>
              <a:t>Τέσσερις κατηγορίες Π.Ι.: Οι εγγεγραμμένοι δημόσιοι, οι εγγεγραμμένοι ιδιώτες, οι «επί θητείας» και οι ιδιώτες με ιδιωτική αποζημίωση</a:t>
            </a:r>
            <a:endParaRPr lang="en-US" sz="2600" b="0" strike="noStrike" spc="-1">
              <a:latin typeface="Arial"/>
            </a:endParaRPr>
          </a:p>
        </p:txBody>
      </p:sp>
      <p:sp>
        <p:nvSpPr>
          <p:cNvPr id="246" name="CustomShape 2"/>
          <p:cNvSpPr/>
          <p:nvPr/>
        </p:nvSpPr>
        <p:spPr>
          <a:xfrm>
            <a:off x="11296440" y="6377040"/>
            <a:ext cx="519840" cy="25344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chor="ctr">
            <a:noAutofit/>
          </a:bodyPr>
          <a:lstStyle/>
          <a:p>
            <a:pPr>
              <a:lnSpc>
                <a:spcPct val="100000"/>
              </a:lnSpc>
              <a:tabLst>
                <a:tab pos="0" algn="l"/>
              </a:tabLst>
            </a:pPr>
            <a:fld id="{B9C5D880-AF7F-4F74-89CB-14217E12945A}" type="slidenum">
              <a:rPr lang="el-GR" sz="1000" b="0" strike="noStrike" spc="-1">
                <a:solidFill>
                  <a:srgbClr val="000000"/>
                </a:solidFill>
                <a:latin typeface="Calibri"/>
                <a:ea typeface="Calibri"/>
              </a:rPr>
              <a:t>8</a:t>
            </a:fld>
            <a:endParaRPr lang="en-US" sz="1000" b="0" strike="noStrike" spc="-1">
              <a:latin typeface="Arial"/>
            </a:endParaRPr>
          </a:p>
        </p:txBody>
      </p:sp>
      <p:sp>
        <p:nvSpPr>
          <p:cNvPr id="247" name="CustomShape 3"/>
          <p:cNvSpPr/>
          <p:nvPr/>
        </p:nvSpPr>
        <p:spPr>
          <a:xfrm>
            <a:off x="326160" y="1251720"/>
            <a:ext cx="11341440" cy="365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chor="ctr">
            <a:noAutofit/>
          </a:bodyPr>
          <a:lstStyle/>
          <a:p>
            <a:pPr>
              <a:lnSpc>
                <a:spcPct val="100000"/>
              </a:lnSpc>
              <a:tabLst>
                <a:tab pos="0" algn="l"/>
              </a:tabLst>
            </a:pPr>
            <a:r>
              <a:rPr lang="el-GR" sz="1800" b="1" strike="noStrike" spc="-1">
                <a:solidFill>
                  <a:srgbClr val="363636"/>
                </a:solidFill>
                <a:latin typeface="Calibri"/>
                <a:ea typeface="Calibri"/>
              </a:rPr>
              <a:t>Οι κατηγορίες των Π.Ι. </a:t>
            </a:r>
            <a:endParaRPr lang="en-US" sz="1800" b="0" strike="noStrike" spc="-1">
              <a:latin typeface="Arial"/>
            </a:endParaRPr>
          </a:p>
        </p:txBody>
      </p:sp>
      <p:sp>
        <p:nvSpPr>
          <p:cNvPr id="248" name="CustomShape 4"/>
          <p:cNvSpPr/>
          <p:nvPr/>
        </p:nvSpPr>
        <p:spPr>
          <a:xfrm>
            <a:off x="373320" y="3038760"/>
            <a:ext cx="2714760" cy="3336120"/>
          </a:xfrm>
          <a:prstGeom prst="rect">
            <a:avLst/>
          </a:prstGeom>
          <a:solidFill>
            <a:srgbClr val="F2F2F2"/>
          </a:solidFill>
          <a:ln w="9525">
            <a:solidFill>
              <a:srgbClr val="7F7F7F"/>
            </a:solidFill>
            <a:round/>
          </a:ln>
        </p:spPr>
        <p:style>
          <a:lnRef idx="0">
            <a:scrgbClr r="0" g="0" b="0"/>
          </a:lnRef>
          <a:fillRef idx="0">
            <a:scrgbClr r="0" g="0" b="0"/>
          </a:fillRef>
          <a:effectRef idx="0">
            <a:scrgbClr r="0" g="0" b="0"/>
          </a:effectRef>
          <a:fontRef idx="minor"/>
        </p:style>
        <p:txBody>
          <a:bodyPr lIns="90000" tIns="45000" rIns="90000" bIns="45000">
            <a:noAutofit/>
          </a:bodyPr>
          <a:lstStyle/>
          <a:p>
            <a:pPr algn="just">
              <a:lnSpc>
                <a:spcPct val="107000"/>
              </a:lnSpc>
              <a:tabLst>
                <a:tab pos="0" algn="l"/>
              </a:tabLst>
            </a:pPr>
            <a:r>
              <a:rPr lang="el-GR" sz="1200" b="0" strike="noStrike" spc="-1">
                <a:solidFill>
                  <a:srgbClr val="000000"/>
                </a:solidFill>
                <a:latin typeface="Calibri"/>
                <a:ea typeface="Calibri"/>
              </a:rPr>
              <a:t>Σήμερα συμμετέχουν στον θεσμό 2.224 δημόσιοι με ετήσια αποζημίωση ανά πολίτη και ανά ηλικία: 20€ (16-49), 23€ (50-69), 25€ (70+). Το όριο εγγραφών είναι οι 2.000 πολίτες.</a:t>
            </a:r>
            <a:endParaRPr lang="en-US" sz="1200" b="0" strike="noStrike" spc="-1">
              <a:latin typeface="Arial"/>
            </a:endParaRPr>
          </a:p>
        </p:txBody>
      </p:sp>
      <p:sp>
        <p:nvSpPr>
          <p:cNvPr id="249" name="CustomShape 5"/>
          <p:cNvSpPr/>
          <p:nvPr/>
        </p:nvSpPr>
        <p:spPr>
          <a:xfrm>
            <a:off x="3282840" y="3038760"/>
            <a:ext cx="2714760" cy="3336120"/>
          </a:xfrm>
          <a:prstGeom prst="rect">
            <a:avLst/>
          </a:prstGeom>
          <a:solidFill>
            <a:srgbClr val="F2F2F2"/>
          </a:solidFill>
          <a:ln w="9525">
            <a:solidFill>
              <a:srgbClr val="7F7F7F"/>
            </a:solidFill>
            <a:round/>
          </a:ln>
        </p:spPr>
        <p:style>
          <a:lnRef idx="0">
            <a:scrgbClr r="0" g="0" b="0"/>
          </a:lnRef>
          <a:fillRef idx="0">
            <a:scrgbClr r="0" g="0" b="0"/>
          </a:fillRef>
          <a:effectRef idx="0">
            <a:scrgbClr r="0" g="0" b="0"/>
          </a:effectRef>
          <a:fontRef idx="minor"/>
        </p:style>
        <p:txBody>
          <a:bodyPr lIns="90000" tIns="45000" rIns="90000" bIns="45000">
            <a:noAutofit/>
          </a:bodyPr>
          <a:lstStyle/>
          <a:p>
            <a:pPr algn="just">
              <a:lnSpc>
                <a:spcPct val="107000"/>
              </a:lnSpc>
              <a:tabLst>
                <a:tab pos="0" algn="l"/>
              </a:tabLst>
            </a:pPr>
            <a:r>
              <a:rPr lang="el-GR" sz="1200" b="0" strike="noStrike" spc="-1">
                <a:solidFill>
                  <a:srgbClr val="000000"/>
                </a:solidFill>
                <a:latin typeface="Calibri"/>
                <a:ea typeface="Calibri"/>
              </a:rPr>
              <a:t>Σήμερα συμμετέχουν στον θεσμό 1.241 ιδιώτες με ετήσια αποζημίωση ανά πολίτη και ανά ηλικία: 20€ (16-49), 30€ (50-69), και 45€ (70+). Το όριο εγγραφών κυμαίνεται από 857 μέχρι 2.000 πολίτες.</a:t>
            </a:r>
            <a:endParaRPr lang="en-US" sz="1200" b="0" strike="noStrike" spc="-1">
              <a:latin typeface="Arial"/>
            </a:endParaRPr>
          </a:p>
        </p:txBody>
      </p:sp>
      <p:sp>
        <p:nvSpPr>
          <p:cNvPr id="250" name="CustomShape 6"/>
          <p:cNvSpPr/>
          <p:nvPr/>
        </p:nvSpPr>
        <p:spPr>
          <a:xfrm>
            <a:off x="9101520" y="3038760"/>
            <a:ext cx="2714760" cy="3336120"/>
          </a:xfrm>
          <a:prstGeom prst="rect">
            <a:avLst/>
          </a:prstGeom>
          <a:solidFill>
            <a:srgbClr val="F2F2F2"/>
          </a:solidFill>
          <a:ln w="9525">
            <a:solidFill>
              <a:srgbClr val="7F7F7F"/>
            </a:solidFill>
            <a:round/>
          </a:ln>
        </p:spPr>
        <p:style>
          <a:lnRef idx="0">
            <a:scrgbClr r="0" g="0" b="0"/>
          </a:lnRef>
          <a:fillRef idx="0">
            <a:scrgbClr r="0" g="0" b="0"/>
          </a:fillRef>
          <a:effectRef idx="0">
            <a:scrgbClr r="0" g="0" b="0"/>
          </a:effectRef>
          <a:fontRef idx="minor"/>
        </p:style>
        <p:txBody>
          <a:bodyPr lIns="90000" tIns="45000" rIns="90000" bIns="45000">
            <a:noAutofit/>
          </a:bodyPr>
          <a:lstStyle/>
          <a:p>
            <a:pPr algn="just">
              <a:lnSpc>
                <a:spcPct val="107000"/>
              </a:lnSpc>
              <a:tabLst>
                <a:tab pos="0" algn="l"/>
              </a:tabLst>
            </a:pPr>
            <a:r>
              <a:rPr lang="el-GR" sz="1200" b="0" strike="noStrike" spc="-1">
                <a:solidFill>
                  <a:srgbClr val="000000"/>
                </a:solidFill>
                <a:latin typeface="Calibri"/>
                <a:ea typeface="Calibri"/>
              </a:rPr>
              <a:t>Παρέχεται με αυτόν τον τρόπο η δυνατότητα στους πολίτες να εγγράφονται σε όποιον ιδιώτη Γενικό Γιατρό η Παθολόγο γιατρό επιθυμούν. Στην περίπτωση αυτή η αποζημίωση του γιατρού δεν θα είναι προκαθορισμένη και δεν θα καλύπτεται μέσω του ΕΟΠΥΥ (όπως στην κατηγορία Β) αλλά θα καθορίζεται ιδιωτικά απευθείας μεταξύ του πολίτη και του γιατρού. Και σε αυτήν την περίπτωση, ο Π.Ι θα έχει πρόσβαση στον ΑΗΦΥ και θα χρειάζεται να καταχωρίζει τα δεδομένα του ασθενούς</a:t>
            </a:r>
            <a:endParaRPr lang="en-US" sz="1200" b="0" strike="noStrike" spc="-1">
              <a:latin typeface="Arial"/>
            </a:endParaRPr>
          </a:p>
        </p:txBody>
      </p:sp>
      <p:sp>
        <p:nvSpPr>
          <p:cNvPr id="251" name="CustomShape 7"/>
          <p:cNvSpPr/>
          <p:nvPr/>
        </p:nvSpPr>
        <p:spPr>
          <a:xfrm>
            <a:off x="6192360" y="3038760"/>
            <a:ext cx="2714760" cy="3336120"/>
          </a:xfrm>
          <a:prstGeom prst="rect">
            <a:avLst/>
          </a:prstGeom>
          <a:solidFill>
            <a:srgbClr val="F2F2F2"/>
          </a:solidFill>
          <a:ln w="9525">
            <a:solidFill>
              <a:srgbClr val="7F7F7F"/>
            </a:solidFill>
            <a:round/>
          </a:ln>
        </p:spPr>
        <p:style>
          <a:lnRef idx="0">
            <a:scrgbClr r="0" g="0" b="0"/>
          </a:lnRef>
          <a:fillRef idx="0">
            <a:scrgbClr r="0" g="0" b="0"/>
          </a:fillRef>
          <a:effectRef idx="0">
            <a:scrgbClr r="0" g="0" b="0"/>
          </a:effectRef>
          <a:fontRef idx="minor"/>
        </p:style>
        <p:txBody>
          <a:bodyPr lIns="90000" tIns="45000" rIns="90000" bIns="45000">
            <a:noAutofit/>
          </a:bodyPr>
          <a:lstStyle/>
          <a:p>
            <a:pPr algn="just">
              <a:lnSpc>
                <a:spcPct val="107000"/>
              </a:lnSpc>
              <a:tabLst>
                <a:tab pos="0" algn="l"/>
              </a:tabLst>
            </a:pPr>
            <a:r>
              <a:rPr lang="el-GR" sz="1200" b="0" strike="noStrike" spc="-1">
                <a:solidFill>
                  <a:srgbClr val="000000"/>
                </a:solidFill>
                <a:latin typeface="Calibri"/>
                <a:ea typeface="Calibri"/>
              </a:rPr>
              <a:t>Δεν καταργούνται τα τοπικά ιατρεία που υπάρχουν ήδη στη χώρα, αλλά ανοίγουν επιπλέον θέσεις, ειδικά στις περιοχές που υπάρχει αυξημένη έλλειψη προσωπικών ιατρών, όπως είναι π.χ. η Αττική και η Κεντρική Μακεδονία.</a:t>
            </a:r>
            <a:endParaRPr lang="en-US" sz="1200" b="0" strike="noStrike" spc="-1">
              <a:latin typeface="Arial"/>
            </a:endParaRPr>
          </a:p>
          <a:p>
            <a:pPr algn="just">
              <a:lnSpc>
                <a:spcPct val="107000"/>
              </a:lnSpc>
              <a:spcBef>
                <a:spcPts val="799"/>
              </a:spcBef>
              <a:tabLst>
                <a:tab pos="0" algn="l"/>
              </a:tabLst>
            </a:pPr>
            <a:r>
              <a:rPr lang="el-GR" sz="1200" b="0" strike="noStrike" spc="-1">
                <a:solidFill>
                  <a:srgbClr val="000000"/>
                </a:solidFill>
                <a:latin typeface="Calibri"/>
                <a:ea typeface="Calibri"/>
              </a:rPr>
              <a:t>Μετά τον 1ο χρόνο της παροχής υπηρεσιών ως Π.Ι., οι νέοι ιατροί που θα επιλέξουν να εκπαιδευτούν στην Παθολογία ή την Γενική Ιατρική,  θα λαμβάνουν επιπλέον περί τα 30.000 € ετησίως, για τα 5 έτη που διαρκεί η εκπαίδευση τους, με την υποχρέωση να μείνουν ισάριθμα έτη στο ΕΣΥ μετά την ειδικότητα.</a:t>
            </a:r>
            <a:endParaRPr lang="en-US" sz="1200" b="0" strike="noStrike" spc="-1">
              <a:latin typeface="Arial"/>
            </a:endParaRPr>
          </a:p>
        </p:txBody>
      </p:sp>
      <p:sp>
        <p:nvSpPr>
          <p:cNvPr id="252" name="CustomShape 8"/>
          <p:cNvSpPr/>
          <p:nvPr/>
        </p:nvSpPr>
        <p:spPr>
          <a:xfrm>
            <a:off x="927000" y="1636200"/>
            <a:ext cx="2161080" cy="1314720"/>
          </a:xfrm>
          <a:prstGeom prst="rect">
            <a:avLst/>
          </a:prstGeom>
          <a:solidFill>
            <a:srgbClr val="00B0F0"/>
          </a:solidFill>
          <a:ln w="0">
            <a:noFill/>
          </a:ln>
        </p:spPr>
        <p:style>
          <a:lnRef idx="0">
            <a:scrgbClr r="0" g="0" b="0"/>
          </a:lnRef>
          <a:fillRef idx="0">
            <a:scrgbClr r="0" g="0" b="0"/>
          </a:fillRef>
          <a:effectRef idx="0">
            <a:scrgbClr r="0" g="0" b="0"/>
          </a:effectRef>
          <a:fontRef idx="minor"/>
        </p:style>
        <p:txBody>
          <a:bodyPr lIns="90000" tIns="45000" rIns="90000" bIns="45000">
            <a:noAutofit/>
          </a:bodyPr>
          <a:lstStyle/>
          <a:p>
            <a:pPr>
              <a:lnSpc>
                <a:spcPct val="107000"/>
              </a:lnSpc>
              <a:tabLst>
                <a:tab pos="0" algn="l"/>
              </a:tabLst>
            </a:pPr>
            <a:r>
              <a:rPr lang="el-GR" sz="1200" b="1" strike="noStrike" spc="-1">
                <a:solidFill>
                  <a:srgbClr val="FFFFFF"/>
                </a:solidFill>
                <a:latin typeface="Calibri"/>
                <a:ea typeface="Calibri"/>
              </a:rPr>
              <a:t>Δημόσιους Γενικούς Γιατρούς και Παθολόγους που είναι ήδη εγγεγραμμένοι στον θεσμό</a:t>
            </a:r>
            <a:endParaRPr lang="en-US" sz="1200" b="0" strike="noStrike" spc="-1">
              <a:latin typeface="Arial"/>
            </a:endParaRPr>
          </a:p>
        </p:txBody>
      </p:sp>
      <p:sp>
        <p:nvSpPr>
          <p:cNvPr id="253" name="CustomShape 9"/>
          <p:cNvSpPr/>
          <p:nvPr/>
        </p:nvSpPr>
        <p:spPr>
          <a:xfrm>
            <a:off x="3836520" y="1636200"/>
            <a:ext cx="2161080" cy="1314720"/>
          </a:xfrm>
          <a:prstGeom prst="rect">
            <a:avLst/>
          </a:prstGeom>
          <a:solidFill>
            <a:srgbClr val="806000"/>
          </a:solidFill>
          <a:ln w="0">
            <a:noFill/>
          </a:ln>
        </p:spPr>
        <p:style>
          <a:lnRef idx="0">
            <a:scrgbClr r="0" g="0" b="0"/>
          </a:lnRef>
          <a:fillRef idx="0">
            <a:scrgbClr r="0" g="0" b="0"/>
          </a:fillRef>
          <a:effectRef idx="0">
            <a:scrgbClr r="0" g="0" b="0"/>
          </a:effectRef>
          <a:fontRef idx="minor"/>
        </p:style>
        <p:txBody>
          <a:bodyPr lIns="90000" tIns="45000" rIns="90000" bIns="45000">
            <a:noAutofit/>
          </a:bodyPr>
          <a:lstStyle/>
          <a:p>
            <a:pPr>
              <a:lnSpc>
                <a:spcPct val="107000"/>
              </a:lnSpc>
              <a:tabLst>
                <a:tab pos="0" algn="l"/>
              </a:tabLst>
            </a:pPr>
            <a:r>
              <a:rPr lang="el-GR" sz="1200" b="1" strike="noStrike" spc="-1">
                <a:solidFill>
                  <a:srgbClr val="FFFFFF"/>
                </a:solidFill>
                <a:latin typeface="Calibri"/>
                <a:ea typeface="Calibri"/>
              </a:rPr>
              <a:t>Ιδιώτες Γενικούς Γιατρούς και Παθολόγους που είναι ήδη εγγεγραμμένοι στον θεσμό</a:t>
            </a:r>
            <a:endParaRPr lang="en-US" sz="1200" b="0" strike="noStrike" spc="-1">
              <a:latin typeface="Arial"/>
            </a:endParaRPr>
          </a:p>
        </p:txBody>
      </p:sp>
      <p:sp>
        <p:nvSpPr>
          <p:cNvPr id="254" name="CustomShape 10"/>
          <p:cNvSpPr/>
          <p:nvPr/>
        </p:nvSpPr>
        <p:spPr>
          <a:xfrm>
            <a:off x="9655200" y="1636200"/>
            <a:ext cx="2161080" cy="1314720"/>
          </a:xfrm>
          <a:prstGeom prst="rect">
            <a:avLst/>
          </a:prstGeom>
          <a:solidFill>
            <a:srgbClr val="7030A0"/>
          </a:solidFill>
          <a:ln w="0">
            <a:noFill/>
          </a:ln>
        </p:spPr>
        <p:style>
          <a:lnRef idx="0">
            <a:scrgbClr r="0" g="0" b="0"/>
          </a:lnRef>
          <a:fillRef idx="0">
            <a:scrgbClr r="0" g="0" b="0"/>
          </a:fillRef>
          <a:effectRef idx="0">
            <a:scrgbClr r="0" g="0" b="0"/>
          </a:effectRef>
          <a:fontRef idx="minor"/>
        </p:style>
        <p:txBody>
          <a:bodyPr lIns="90000" tIns="45000" rIns="90000" bIns="45000">
            <a:noAutofit/>
          </a:bodyPr>
          <a:lstStyle/>
          <a:p>
            <a:pPr>
              <a:lnSpc>
                <a:spcPct val="107000"/>
              </a:lnSpc>
              <a:tabLst>
                <a:tab pos="0" algn="l"/>
              </a:tabLst>
            </a:pPr>
            <a:r>
              <a:rPr lang="el-GR" sz="1200" b="1" strike="noStrike" spc="-1">
                <a:solidFill>
                  <a:srgbClr val="FFFFFF"/>
                </a:solidFill>
                <a:latin typeface="Calibri"/>
                <a:ea typeface="Calibri"/>
              </a:rPr>
              <a:t>Ιδιώτες Γενικούς Γιατρούς και Παθολόγους που θα εγγραφούν στον θεσμό με ιδιωτική αποζημίωση*</a:t>
            </a:r>
            <a:endParaRPr lang="en-US" sz="1200" b="0" strike="noStrike" spc="-1">
              <a:latin typeface="Arial"/>
            </a:endParaRPr>
          </a:p>
        </p:txBody>
      </p:sp>
      <p:sp>
        <p:nvSpPr>
          <p:cNvPr id="255" name="CustomShape 11"/>
          <p:cNvSpPr/>
          <p:nvPr/>
        </p:nvSpPr>
        <p:spPr>
          <a:xfrm>
            <a:off x="6746040" y="1636200"/>
            <a:ext cx="2161080" cy="1314720"/>
          </a:xfrm>
          <a:prstGeom prst="rect">
            <a:avLst/>
          </a:prstGeom>
          <a:solidFill>
            <a:srgbClr val="375623"/>
          </a:solidFill>
          <a:ln w="0">
            <a:noFill/>
          </a:ln>
        </p:spPr>
        <p:style>
          <a:lnRef idx="0">
            <a:scrgbClr r="0" g="0" b="0"/>
          </a:lnRef>
          <a:fillRef idx="0">
            <a:scrgbClr r="0" g="0" b="0"/>
          </a:fillRef>
          <a:effectRef idx="0">
            <a:scrgbClr r="0" g="0" b="0"/>
          </a:effectRef>
          <a:fontRef idx="minor"/>
        </p:style>
        <p:txBody>
          <a:bodyPr lIns="90000" tIns="45000" rIns="90000" bIns="45000">
            <a:noAutofit/>
          </a:bodyPr>
          <a:lstStyle/>
          <a:p>
            <a:pPr>
              <a:lnSpc>
                <a:spcPct val="107000"/>
              </a:lnSpc>
              <a:tabLst>
                <a:tab pos="0" algn="l"/>
              </a:tabLst>
            </a:pPr>
            <a:r>
              <a:rPr lang="el-GR" sz="1200" b="1" strike="noStrike" spc="-1">
                <a:solidFill>
                  <a:srgbClr val="FFFFFF"/>
                </a:solidFill>
                <a:latin typeface="Calibri"/>
                <a:ea typeface="Calibri"/>
              </a:rPr>
              <a:t>Υφιστάμενους Αγροτικούς γιατρούς που μετά την αναμόρφωση του θεσμού της υπηρεσίας υπαίθρου θα παρέχουν πλέον υπηρεσίες για ένα έτος ως Π.Ι.</a:t>
            </a:r>
            <a:endParaRPr lang="en-US" sz="1200" b="0" strike="noStrike" spc="-1">
              <a:latin typeface="Arial"/>
            </a:endParaRPr>
          </a:p>
        </p:txBody>
      </p:sp>
      <p:sp>
        <p:nvSpPr>
          <p:cNvPr id="256" name="CustomShape 12"/>
          <p:cNvSpPr/>
          <p:nvPr/>
        </p:nvSpPr>
        <p:spPr>
          <a:xfrm>
            <a:off x="373320" y="1636200"/>
            <a:ext cx="551520" cy="1314720"/>
          </a:xfrm>
          <a:prstGeom prst="rect">
            <a:avLst/>
          </a:prstGeom>
          <a:solidFill>
            <a:srgbClr val="00B0F0"/>
          </a:solidFill>
          <a:ln w="0">
            <a:noFill/>
          </a:ln>
        </p:spPr>
        <p:style>
          <a:lnRef idx="0">
            <a:scrgbClr r="0" g="0" b="0"/>
          </a:lnRef>
          <a:fillRef idx="0">
            <a:scrgbClr r="0" g="0" b="0"/>
          </a:fillRef>
          <a:effectRef idx="0">
            <a:scrgbClr r="0" g="0" b="0"/>
          </a:effectRef>
          <a:fontRef idx="minor"/>
        </p:style>
        <p:txBody>
          <a:bodyPr lIns="90000" tIns="45000" rIns="90000" bIns="45000">
            <a:noAutofit/>
          </a:bodyPr>
          <a:lstStyle/>
          <a:p>
            <a:pPr>
              <a:lnSpc>
                <a:spcPct val="107000"/>
              </a:lnSpc>
              <a:tabLst>
                <a:tab pos="0" algn="l"/>
              </a:tabLst>
            </a:pPr>
            <a:r>
              <a:rPr lang="el-GR" sz="3200" b="1" strike="noStrike" spc="-1">
                <a:solidFill>
                  <a:srgbClr val="FFFFFF"/>
                </a:solidFill>
                <a:latin typeface="Calibri"/>
                <a:ea typeface="Calibri"/>
              </a:rPr>
              <a:t>Α</a:t>
            </a:r>
            <a:endParaRPr lang="en-US" sz="3200" b="0" strike="noStrike" spc="-1">
              <a:latin typeface="Arial"/>
            </a:endParaRPr>
          </a:p>
        </p:txBody>
      </p:sp>
      <p:sp>
        <p:nvSpPr>
          <p:cNvPr id="257" name="CustomShape 13"/>
          <p:cNvSpPr/>
          <p:nvPr/>
        </p:nvSpPr>
        <p:spPr>
          <a:xfrm>
            <a:off x="3282840" y="1636200"/>
            <a:ext cx="551520" cy="1314720"/>
          </a:xfrm>
          <a:prstGeom prst="rect">
            <a:avLst/>
          </a:prstGeom>
          <a:solidFill>
            <a:srgbClr val="806000"/>
          </a:solidFill>
          <a:ln w="0">
            <a:noFill/>
          </a:ln>
        </p:spPr>
        <p:style>
          <a:lnRef idx="0">
            <a:scrgbClr r="0" g="0" b="0"/>
          </a:lnRef>
          <a:fillRef idx="0">
            <a:scrgbClr r="0" g="0" b="0"/>
          </a:fillRef>
          <a:effectRef idx="0">
            <a:scrgbClr r="0" g="0" b="0"/>
          </a:effectRef>
          <a:fontRef idx="minor"/>
        </p:style>
        <p:txBody>
          <a:bodyPr lIns="90000" tIns="45000" rIns="90000" bIns="45000">
            <a:noAutofit/>
          </a:bodyPr>
          <a:lstStyle/>
          <a:p>
            <a:pPr>
              <a:lnSpc>
                <a:spcPct val="107000"/>
              </a:lnSpc>
              <a:tabLst>
                <a:tab pos="0" algn="l"/>
              </a:tabLst>
            </a:pPr>
            <a:r>
              <a:rPr lang="el-GR" sz="3200" b="1" strike="noStrike" spc="-1">
                <a:solidFill>
                  <a:srgbClr val="FFFFFF"/>
                </a:solidFill>
                <a:latin typeface="Calibri"/>
                <a:ea typeface="Calibri"/>
              </a:rPr>
              <a:t>Β</a:t>
            </a:r>
            <a:endParaRPr lang="en-US" sz="3200" b="0" strike="noStrike" spc="-1">
              <a:latin typeface="Arial"/>
            </a:endParaRPr>
          </a:p>
        </p:txBody>
      </p:sp>
      <p:sp>
        <p:nvSpPr>
          <p:cNvPr id="258" name="CustomShape 14"/>
          <p:cNvSpPr/>
          <p:nvPr/>
        </p:nvSpPr>
        <p:spPr>
          <a:xfrm>
            <a:off x="9101520" y="1636200"/>
            <a:ext cx="551520" cy="1314720"/>
          </a:xfrm>
          <a:prstGeom prst="rect">
            <a:avLst/>
          </a:prstGeom>
          <a:solidFill>
            <a:srgbClr val="7030A0"/>
          </a:solidFill>
          <a:ln w="0">
            <a:noFill/>
          </a:ln>
        </p:spPr>
        <p:style>
          <a:lnRef idx="0">
            <a:scrgbClr r="0" g="0" b="0"/>
          </a:lnRef>
          <a:fillRef idx="0">
            <a:scrgbClr r="0" g="0" b="0"/>
          </a:fillRef>
          <a:effectRef idx="0">
            <a:scrgbClr r="0" g="0" b="0"/>
          </a:effectRef>
          <a:fontRef idx="minor"/>
        </p:style>
        <p:txBody>
          <a:bodyPr lIns="90000" tIns="45000" rIns="90000" bIns="45000">
            <a:noAutofit/>
          </a:bodyPr>
          <a:lstStyle/>
          <a:p>
            <a:pPr>
              <a:lnSpc>
                <a:spcPct val="107000"/>
              </a:lnSpc>
              <a:tabLst>
                <a:tab pos="0" algn="l"/>
              </a:tabLst>
            </a:pPr>
            <a:r>
              <a:rPr lang="el-GR" sz="3200" b="1" strike="noStrike" spc="-1">
                <a:solidFill>
                  <a:srgbClr val="FFFFFF"/>
                </a:solidFill>
                <a:latin typeface="Calibri"/>
                <a:ea typeface="Calibri"/>
              </a:rPr>
              <a:t>Δ</a:t>
            </a:r>
            <a:endParaRPr lang="en-US" sz="3200" b="0" strike="noStrike" spc="-1">
              <a:latin typeface="Arial"/>
            </a:endParaRPr>
          </a:p>
        </p:txBody>
      </p:sp>
      <p:sp>
        <p:nvSpPr>
          <p:cNvPr id="259" name="CustomShape 15"/>
          <p:cNvSpPr/>
          <p:nvPr/>
        </p:nvSpPr>
        <p:spPr>
          <a:xfrm>
            <a:off x="6192360" y="1636200"/>
            <a:ext cx="551520" cy="1314720"/>
          </a:xfrm>
          <a:prstGeom prst="rect">
            <a:avLst/>
          </a:prstGeom>
          <a:solidFill>
            <a:srgbClr val="375623"/>
          </a:solidFill>
          <a:ln w="0">
            <a:noFill/>
          </a:ln>
        </p:spPr>
        <p:style>
          <a:lnRef idx="0">
            <a:scrgbClr r="0" g="0" b="0"/>
          </a:lnRef>
          <a:fillRef idx="0">
            <a:scrgbClr r="0" g="0" b="0"/>
          </a:fillRef>
          <a:effectRef idx="0">
            <a:scrgbClr r="0" g="0" b="0"/>
          </a:effectRef>
          <a:fontRef idx="minor"/>
        </p:style>
        <p:txBody>
          <a:bodyPr lIns="90000" tIns="45000" rIns="90000" bIns="45000">
            <a:noAutofit/>
          </a:bodyPr>
          <a:lstStyle/>
          <a:p>
            <a:pPr>
              <a:lnSpc>
                <a:spcPct val="107000"/>
              </a:lnSpc>
              <a:tabLst>
                <a:tab pos="0" algn="l"/>
              </a:tabLst>
            </a:pPr>
            <a:r>
              <a:rPr lang="el-GR" sz="3200" b="1" strike="noStrike" spc="-1">
                <a:solidFill>
                  <a:srgbClr val="FFFFFF"/>
                </a:solidFill>
                <a:latin typeface="Calibri"/>
                <a:ea typeface="Calibri"/>
              </a:rPr>
              <a:t>Γ</a:t>
            </a:r>
            <a:endParaRPr lang="en-US" sz="3200" b="0" strike="noStrike" spc="-1">
              <a:latin typeface="Arial"/>
            </a:endParaRPr>
          </a:p>
        </p:txBody>
      </p:sp>
      <p:sp>
        <p:nvSpPr>
          <p:cNvPr id="260" name="CustomShape 16"/>
          <p:cNvSpPr/>
          <p:nvPr/>
        </p:nvSpPr>
        <p:spPr>
          <a:xfrm>
            <a:off x="2571840" y="6423480"/>
            <a:ext cx="6093720" cy="3942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tabLst>
                <a:tab pos="0" algn="l"/>
              </a:tabLst>
            </a:pPr>
            <a:r>
              <a:rPr lang="el-GR" sz="1000" b="0" strike="noStrike" spc="-1">
                <a:solidFill>
                  <a:srgbClr val="000000"/>
                </a:solidFill>
                <a:latin typeface="Calibri"/>
                <a:ea typeface="Calibri"/>
              </a:rPr>
              <a:t>*Με βάση τον αριθμό των πολιτών που θα επιλέξουν να εγγραφούν στην συγκεκριμένη κατηγορία γιατρών, θα μειωθεί μεσοπρόθεσμα και ο αριθμός των εγγεγραμμένων πολιτών ανά Π.Ι. (π.χ. από 2.000 σε 1.000). </a:t>
            </a:r>
            <a:endParaRPr lang="en-US" sz="1000" b="0" strike="noStrike" spc="-1">
              <a:latin typeface="Aria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 name="CustomShape 1"/>
          <p:cNvSpPr/>
          <p:nvPr/>
        </p:nvSpPr>
        <p:spPr>
          <a:xfrm>
            <a:off x="327600" y="399600"/>
            <a:ext cx="11341440" cy="833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oAutofit/>
          </a:bodyPr>
          <a:lstStyle/>
          <a:p>
            <a:pPr>
              <a:lnSpc>
                <a:spcPct val="90000"/>
              </a:lnSpc>
              <a:tabLst>
                <a:tab pos="0" algn="l"/>
              </a:tabLst>
            </a:pPr>
            <a:r>
              <a:rPr lang="el-GR" sz="2600" b="1" strike="noStrike" spc="-1">
                <a:solidFill>
                  <a:srgbClr val="31506D"/>
                </a:solidFill>
                <a:latin typeface="Calibri"/>
                <a:ea typeface="Calibri"/>
              </a:rPr>
              <a:t>Εκπαίδευση όλων των Προσωπικών Ιατρών προκειμένου να είναι σε θέση να επιτελέσουν τον ρόλο τους </a:t>
            </a:r>
            <a:endParaRPr lang="en-US" sz="2600" b="0" strike="noStrike" spc="-1">
              <a:latin typeface="Arial"/>
            </a:endParaRPr>
          </a:p>
        </p:txBody>
      </p:sp>
      <p:sp>
        <p:nvSpPr>
          <p:cNvPr id="262" name="CustomShape 2"/>
          <p:cNvSpPr/>
          <p:nvPr/>
        </p:nvSpPr>
        <p:spPr>
          <a:xfrm>
            <a:off x="11296440" y="6377040"/>
            <a:ext cx="519840" cy="253440"/>
          </a:xfrm>
          <a:prstGeom prst="rect">
            <a:avLst/>
          </a:prstGeom>
          <a:noFill/>
          <a:ln w="0">
            <a:noFill/>
          </a:ln>
        </p:spPr>
        <p:style>
          <a:lnRef idx="0">
            <a:scrgbClr r="0" g="0" b="0"/>
          </a:lnRef>
          <a:fillRef idx="0">
            <a:scrgbClr r="0" g="0" b="0"/>
          </a:fillRef>
          <a:effectRef idx="0">
            <a:scrgbClr r="0" g="0" b="0"/>
          </a:effectRef>
          <a:fontRef idx="minor"/>
        </p:style>
        <p:txBody>
          <a:bodyPr lIns="90000" tIns="91440" rIns="90000" bIns="91440" anchor="ctr">
            <a:noAutofit/>
          </a:bodyPr>
          <a:lstStyle/>
          <a:p>
            <a:pPr>
              <a:lnSpc>
                <a:spcPct val="100000"/>
              </a:lnSpc>
              <a:tabLst>
                <a:tab pos="0" algn="l"/>
              </a:tabLst>
            </a:pPr>
            <a:fld id="{24A338F8-3091-41AF-A16B-35F6CA567AD9}" type="slidenum">
              <a:rPr lang="el-GR" sz="1000" b="0" strike="noStrike" spc="-1">
                <a:solidFill>
                  <a:srgbClr val="000000"/>
                </a:solidFill>
                <a:latin typeface="Calibri"/>
                <a:ea typeface="Calibri"/>
              </a:rPr>
              <a:t>9</a:t>
            </a:fld>
            <a:endParaRPr lang="en-US" sz="1000" b="0" strike="noStrike" spc="-1">
              <a:latin typeface="Arial"/>
            </a:endParaRPr>
          </a:p>
        </p:txBody>
      </p:sp>
      <p:sp>
        <p:nvSpPr>
          <p:cNvPr id="263" name="CustomShape 3"/>
          <p:cNvSpPr/>
          <p:nvPr/>
        </p:nvSpPr>
        <p:spPr>
          <a:xfrm>
            <a:off x="326160" y="1251720"/>
            <a:ext cx="11341440" cy="365040"/>
          </a:xfrm>
          <a:prstGeom prst="rect">
            <a:avLst/>
          </a:prstGeom>
          <a:noFill/>
          <a:ln w="0">
            <a:noFill/>
          </a:ln>
        </p:spPr>
        <p:style>
          <a:lnRef idx="0">
            <a:scrgbClr r="0" g="0" b="0"/>
          </a:lnRef>
          <a:fillRef idx="0">
            <a:scrgbClr r="0" g="0" b="0"/>
          </a:fillRef>
          <a:effectRef idx="0">
            <a:scrgbClr r="0" g="0" b="0"/>
          </a:effectRef>
          <a:fontRef idx="minor"/>
        </p:style>
        <p:txBody>
          <a:bodyPr lIns="108000" tIns="45000" rIns="90000" bIns="45000" anchor="ctr">
            <a:noAutofit/>
          </a:bodyPr>
          <a:lstStyle/>
          <a:p>
            <a:pPr>
              <a:lnSpc>
                <a:spcPct val="100000"/>
              </a:lnSpc>
              <a:tabLst>
                <a:tab pos="0" algn="l"/>
              </a:tabLst>
            </a:pPr>
            <a:r>
              <a:rPr lang="el-GR" sz="1800" b="1" strike="noStrike" spc="-1">
                <a:solidFill>
                  <a:srgbClr val="363636"/>
                </a:solidFill>
                <a:latin typeface="Calibri"/>
                <a:ea typeface="Calibri"/>
              </a:rPr>
              <a:t>Η εκπαίδευση των Π.Ι.</a:t>
            </a:r>
            <a:endParaRPr lang="en-US" sz="1800" b="0" strike="noStrike" spc="-1">
              <a:latin typeface="Arial"/>
            </a:endParaRPr>
          </a:p>
        </p:txBody>
      </p:sp>
      <p:sp>
        <p:nvSpPr>
          <p:cNvPr id="264" name="CustomShape 4"/>
          <p:cNvSpPr/>
          <p:nvPr/>
        </p:nvSpPr>
        <p:spPr>
          <a:xfrm>
            <a:off x="933480" y="2403360"/>
            <a:ext cx="3283920" cy="30024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7000"/>
              </a:lnSpc>
              <a:tabLst>
                <a:tab pos="0" algn="l"/>
              </a:tabLst>
            </a:pPr>
            <a:r>
              <a:rPr lang="el-GR" sz="1400" b="0" strike="noStrike" spc="-1">
                <a:solidFill>
                  <a:srgbClr val="000000"/>
                </a:solidFill>
                <a:latin typeface="Calibri"/>
                <a:ea typeface="Calibri"/>
              </a:rPr>
              <a:t>Όλοι οι προσωπικοί γιατροί ανεξαρτήτως του αν είναι ειδικευμένοι ή ανειδίκευτοι θα εκπαιδεύονται προκειμένου να είναι σε θέση να επιτελέσουν το ρόλο τους αναφορικά με: </a:t>
            </a:r>
            <a:endParaRPr lang="en-US" sz="1400" b="0" strike="noStrike" spc="-1">
              <a:latin typeface="Arial"/>
            </a:endParaRPr>
          </a:p>
          <a:p>
            <a:pPr marL="181080" algn="just">
              <a:lnSpc>
                <a:spcPct val="107000"/>
              </a:lnSpc>
              <a:spcBef>
                <a:spcPts val="799"/>
              </a:spcBef>
              <a:tabLst>
                <a:tab pos="0" algn="l"/>
              </a:tabLst>
            </a:pPr>
            <a:r>
              <a:rPr lang="el-GR" sz="1400" b="0" strike="noStrike" spc="-1">
                <a:solidFill>
                  <a:srgbClr val="000000"/>
                </a:solidFill>
                <a:latin typeface="Calibri"/>
                <a:ea typeface="Calibri"/>
              </a:rPr>
              <a:t>α) την πρόληψη και προαγωγή υγείας</a:t>
            </a:r>
            <a:endParaRPr lang="en-US" sz="1400" b="0" strike="noStrike" spc="-1">
              <a:latin typeface="Arial"/>
            </a:endParaRPr>
          </a:p>
          <a:p>
            <a:pPr marL="181080" algn="just">
              <a:lnSpc>
                <a:spcPct val="107000"/>
              </a:lnSpc>
              <a:spcBef>
                <a:spcPts val="799"/>
              </a:spcBef>
              <a:tabLst>
                <a:tab pos="0" algn="l"/>
              </a:tabLst>
            </a:pPr>
            <a:r>
              <a:rPr lang="el-GR" sz="1400" b="0" strike="noStrike" spc="-1">
                <a:solidFill>
                  <a:srgbClr val="000000"/>
                </a:solidFill>
                <a:latin typeface="Calibri"/>
                <a:ea typeface="Calibri"/>
              </a:rPr>
              <a:t>β) τον προσυμπτωματικό έλεγχο</a:t>
            </a:r>
            <a:endParaRPr lang="en-US" sz="1400" b="0" strike="noStrike" spc="-1">
              <a:latin typeface="Arial"/>
            </a:endParaRPr>
          </a:p>
          <a:p>
            <a:pPr marL="181080" algn="just">
              <a:lnSpc>
                <a:spcPct val="107000"/>
              </a:lnSpc>
              <a:spcBef>
                <a:spcPts val="799"/>
              </a:spcBef>
              <a:tabLst>
                <a:tab pos="0" algn="l"/>
              </a:tabLst>
            </a:pPr>
            <a:r>
              <a:rPr lang="el-GR" sz="1400" b="0" strike="noStrike" spc="-1">
                <a:solidFill>
                  <a:srgbClr val="000000"/>
                </a:solidFill>
                <a:latin typeface="Calibri"/>
                <a:ea typeface="Calibri"/>
              </a:rPr>
              <a:t>γ) την διαχείριση χρονίων παθήσεων στην κοινότητα</a:t>
            </a:r>
            <a:endParaRPr lang="en-US" sz="1400" b="0" strike="noStrike" spc="-1">
              <a:latin typeface="Arial"/>
            </a:endParaRPr>
          </a:p>
          <a:p>
            <a:pPr marL="181080" algn="just">
              <a:lnSpc>
                <a:spcPct val="107000"/>
              </a:lnSpc>
              <a:spcBef>
                <a:spcPts val="799"/>
              </a:spcBef>
              <a:tabLst>
                <a:tab pos="0" algn="l"/>
              </a:tabLst>
            </a:pPr>
            <a:r>
              <a:rPr lang="el-GR" sz="1400" b="0" strike="noStrike" spc="-1">
                <a:solidFill>
                  <a:srgbClr val="000000"/>
                </a:solidFill>
                <a:latin typeface="Calibri"/>
                <a:ea typeface="Calibri"/>
              </a:rPr>
              <a:t>δ) τον εγγραμματισμό υγείας και την βελτίωση της σχέσης ιατρού-ασθενούς</a:t>
            </a:r>
            <a:endParaRPr lang="en-US" sz="1400" b="0" strike="noStrike" spc="-1">
              <a:latin typeface="Arial"/>
            </a:endParaRPr>
          </a:p>
        </p:txBody>
      </p:sp>
      <p:sp>
        <p:nvSpPr>
          <p:cNvPr id="265" name="CustomShape 5"/>
          <p:cNvSpPr/>
          <p:nvPr/>
        </p:nvSpPr>
        <p:spPr>
          <a:xfrm>
            <a:off x="4543560" y="2403360"/>
            <a:ext cx="3283920" cy="16848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7000"/>
              </a:lnSpc>
              <a:tabLst>
                <a:tab pos="0" algn="l"/>
              </a:tabLst>
            </a:pPr>
            <a:r>
              <a:rPr lang="el-GR" sz="1400" b="0" strike="noStrike" spc="-1">
                <a:solidFill>
                  <a:srgbClr val="000000"/>
                </a:solidFill>
                <a:latin typeface="Calibri"/>
                <a:ea typeface="Calibri"/>
              </a:rPr>
              <a:t>Στόχος είναι να εφαρμοστεί ένα μοντέλο ενσωμάτωσης της δημόσιας υγείας και πληθυσμιακής προσέγγισης στην πρωτοβάθμια φροντίδα υγείας μέσω του προσωπικού γιατρού και γι’ αυτό το λόγο χρειάζεται να εκπαιδευτούν όλοι οι προσωπικοί  γιατροί</a:t>
            </a:r>
            <a:endParaRPr lang="en-US" sz="1400" b="0" strike="noStrike" spc="-1">
              <a:latin typeface="Arial"/>
            </a:endParaRPr>
          </a:p>
        </p:txBody>
      </p:sp>
      <p:sp>
        <p:nvSpPr>
          <p:cNvPr id="266" name="CustomShape 6"/>
          <p:cNvSpPr/>
          <p:nvPr/>
        </p:nvSpPr>
        <p:spPr>
          <a:xfrm>
            <a:off x="8153280" y="2403360"/>
            <a:ext cx="3283920" cy="168480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7000"/>
              </a:lnSpc>
              <a:tabLst>
                <a:tab pos="0" algn="l"/>
              </a:tabLst>
            </a:pPr>
            <a:r>
              <a:rPr lang="el-GR" sz="1400" b="0" strike="noStrike" spc="-1">
                <a:solidFill>
                  <a:srgbClr val="000000"/>
                </a:solidFill>
                <a:latin typeface="Calibri"/>
                <a:ea typeface="Calibri"/>
              </a:rPr>
              <a:t>Η εκπαίδευση θα γίνει από ομάδα ειδικών σε συνεργασία με τον Παγκόσμιο Οργανισμό Υγείας και θα παρέχει πιστοποίηση σε αυτές τις δεξιότητες που ανταποκρίνονται στον ρόλο του Π.Ι. για όλους τους ιατρούς όλων των κατηγοριών Π.Ι. </a:t>
            </a:r>
            <a:endParaRPr lang="en-US" sz="1400" b="0" strike="noStrike" spc="-1">
              <a:latin typeface="Arial"/>
            </a:endParaRPr>
          </a:p>
        </p:txBody>
      </p:sp>
      <p:sp>
        <p:nvSpPr>
          <p:cNvPr id="267" name="CustomShape 7"/>
          <p:cNvSpPr/>
          <p:nvPr/>
        </p:nvSpPr>
        <p:spPr>
          <a:xfrm>
            <a:off x="933480" y="2018880"/>
            <a:ext cx="3283920" cy="3175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7000"/>
              </a:lnSpc>
              <a:tabLst>
                <a:tab pos="0" algn="l"/>
              </a:tabLst>
            </a:pPr>
            <a:r>
              <a:rPr lang="el-GR" sz="1400" b="1" strike="noStrike" spc="-1">
                <a:solidFill>
                  <a:srgbClr val="00B0F0"/>
                </a:solidFill>
                <a:latin typeface="Calibri"/>
                <a:ea typeface="Calibri"/>
              </a:rPr>
              <a:t>Αντικείμενο εκπαίδευσης</a:t>
            </a:r>
            <a:endParaRPr lang="en-US" sz="1400" b="0" strike="noStrike" spc="-1">
              <a:latin typeface="Arial"/>
            </a:endParaRPr>
          </a:p>
        </p:txBody>
      </p:sp>
      <p:sp>
        <p:nvSpPr>
          <p:cNvPr id="268" name="CustomShape 8"/>
          <p:cNvSpPr/>
          <p:nvPr/>
        </p:nvSpPr>
        <p:spPr>
          <a:xfrm>
            <a:off x="4543560" y="2018880"/>
            <a:ext cx="3283920" cy="3175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7000"/>
              </a:lnSpc>
              <a:tabLst>
                <a:tab pos="0" algn="l"/>
              </a:tabLst>
            </a:pPr>
            <a:r>
              <a:rPr lang="el-GR" sz="1400" b="1" strike="noStrike" spc="-1">
                <a:solidFill>
                  <a:srgbClr val="00B0F0"/>
                </a:solidFill>
                <a:latin typeface="Calibri"/>
                <a:ea typeface="Calibri"/>
              </a:rPr>
              <a:t>Στόχος εκπαίδευσης </a:t>
            </a:r>
            <a:endParaRPr lang="en-US" sz="1400" b="0" strike="noStrike" spc="-1">
              <a:latin typeface="Arial"/>
            </a:endParaRPr>
          </a:p>
        </p:txBody>
      </p:sp>
      <p:sp>
        <p:nvSpPr>
          <p:cNvPr id="269" name="CustomShape 9"/>
          <p:cNvSpPr/>
          <p:nvPr/>
        </p:nvSpPr>
        <p:spPr>
          <a:xfrm>
            <a:off x="8153280" y="2018880"/>
            <a:ext cx="3283920" cy="3175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spAutoFit/>
          </a:bodyPr>
          <a:lstStyle/>
          <a:p>
            <a:pPr algn="just">
              <a:lnSpc>
                <a:spcPct val="107000"/>
              </a:lnSpc>
              <a:tabLst>
                <a:tab pos="0" algn="l"/>
              </a:tabLst>
            </a:pPr>
            <a:r>
              <a:rPr lang="el-GR" sz="1400" b="1" strike="noStrike" spc="-1">
                <a:solidFill>
                  <a:srgbClr val="00B0F0"/>
                </a:solidFill>
                <a:latin typeface="Calibri"/>
                <a:ea typeface="Calibri"/>
              </a:rPr>
              <a:t>Εκπαιδευτές και πιστοποίηση</a:t>
            </a:r>
            <a:endParaRPr lang="en-US" sz="1400" b="0" strike="noStrike" spc="-1">
              <a:latin typeface="Aria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MEykdRdkSWMGWAL4IJY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xQos3QIahQc1nHwX.hsd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xKgpM6L5ejCeebwzd76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yGFenty7PXsPJ77j.fQ7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qPHJux8gb8nPnMlLqI3M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1ZbuhjrknJzJUxjjQSJm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hcBvyY2vAuiAbSy95GT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7eha6B24XgafZpyI168VR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mOim_w40IM8m5hN_VTZ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6sjd6LfgCJQdKpFACcl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QGHsWyNIj5cjfljIrt35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cCxMFwcMzHNHCIS2qCG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_sOEAtgHc_VkD4QYrNY9_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IqWdKZ5pi2yrSseJq2bH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lT5IbYaUvtoz9rfnickl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rDiis87QYql2qlcOjK.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6M1yuAsZHY3JESxjGHGQ7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SnJCIzPtCTZVRjWNtBib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_a5T_ygXrQohn0LeerC_b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vloqRThq.WzJ_w3DWQ9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0eYOsEkWgFOh4PvL4w9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POG00E8fpjEDpfojFl2W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0PCTx5ysXe3HaKvdpt8SY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JaNV5xOZXlbNa2VEOKOi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9ftjh7URo2GAcpa6K340E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2tUGbbKM6UH6qqTLKFGK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xY32tc_1C1hHOPg9xbUm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30xTSepsEqG391RxGkgi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tf9KCx962ORTNGLFthCM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6C7EoMrWeZGaZbiARGl7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ypBzvJFyRgSrcoXebe.3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yhEZzowC6WwttEqLrFit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8X8r5w2kHmYN7nTsv0Ms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9MfWHHVCsITh9W_AcNJJ8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pIDTpR45qgbfBFOuUDNy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5pO7x2pohsj8CtMrxXYF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dQ6AcZToFiIXoXS88td0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eGmft6cqYPGg06u0ICHA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OI87gLy14FxXQ1dnjpno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CwOROjxyaOIMaRH8tA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64YO0Bv1UTIjjegZMDZQ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gkbRDCDZsR3UP58lAO8op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kcjKUBgr6D_UM2FFVs4x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JsdVqxioPLibLaXREzHh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TLaRbWdReTo_gvohu7gqu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js4KnV6zfBMQ0pXL5pXw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utWYs8eP_j9dGOMtfDb8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S0Y5pRIVi2eEowjZ7h8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pbPGQsArwle5ZbXrxIgTh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5wOOqyckQJDvk.VKCA3G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miter/>
        </a:ln>
        <a:ln w="25400" cap="flat" cmpd="sng" algn="ctr">
          <a:solidFill>
            <a:schemeClr val="phClr"/>
          </a:solidFill>
          <a:prstDash val="solid"/>
          <a:miter/>
        </a:ln>
        <a:ln w="38100" cap="flat" cmpd="sng" algn="ctr">
          <a:solidFill>
            <a:schemeClr val="phClr"/>
          </a:solidFill>
          <a:prstDash val="solid"/>
          <a:miter/>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miter/>
        </a:ln>
        <a:ln w="25400" cap="flat" cmpd="sng" algn="ctr">
          <a:solidFill>
            <a:schemeClr val="phClr"/>
          </a:solidFill>
          <a:prstDash val="solid"/>
          <a:miter/>
        </a:ln>
        <a:ln w="38100" cap="flat" cmpd="sng" algn="ctr">
          <a:solidFill>
            <a:schemeClr val="phClr"/>
          </a:solidFill>
          <a:prstDash val="solid"/>
          <a:miter/>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miter/>
        </a:ln>
        <a:ln w="25400" cap="flat" cmpd="sng" algn="ctr">
          <a:solidFill>
            <a:schemeClr val="phClr"/>
          </a:solidFill>
          <a:prstDash val="solid"/>
          <a:miter/>
        </a:ln>
        <a:ln w="38100" cap="flat" cmpd="sng" algn="ctr">
          <a:solidFill>
            <a:schemeClr val="phClr"/>
          </a:solidFill>
          <a:prstDash val="solid"/>
          <a:miter/>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miter/>
        </a:ln>
        <a:ln w="25400" cap="flat" cmpd="sng" algn="ctr">
          <a:solidFill>
            <a:schemeClr val="phClr"/>
          </a:solidFill>
          <a:prstDash val="solid"/>
          <a:miter/>
        </a:ln>
        <a:ln w="38100" cap="flat" cmpd="sng" algn="ctr">
          <a:solidFill>
            <a:schemeClr val="phClr"/>
          </a:solidFill>
          <a:prstDash val="solid"/>
          <a:miter/>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miter/>
        </a:ln>
        <a:ln w="25400" cap="flat" cmpd="sng" algn="ctr">
          <a:solidFill>
            <a:schemeClr val="phClr"/>
          </a:solidFill>
          <a:prstDash val="solid"/>
          <a:miter/>
        </a:ln>
        <a:ln w="38100" cap="flat" cmpd="sng" algn="ctr">
          <a:solidFill>
            <a:schemeClr val="phClr"/>
          </a:solidFill>
          <a:prstDash val="solid"/>
          <a:miter/>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Office Theme">
  <a:themeElements>
    <a:clrScheme name="Blue Warm">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ΜοΗ">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5</TotalTime>
  <Words>2486</Words>
  <Application>Microsoft Office PowerPoint</Application>
  <PresentationFormat>Ευρεία οθόνη</PresentationFormat>
  <Paragraphs>338</Paragraphs>
  <Slides>21</Slides>
  <Notes>0</Notes>
  <HiddenSlides>0</HiddenSlides>
  <MMClips>0</MMClips>
  <ScaleCrop>false</ScaleCrop>
  <HeadingPairs>
    <vt:vector size="8" baseType="variant">
      <vt:variant>
        <vt:lpstr>Γραμματοσειρές που χρησιμοποιούνται</vt:lpstr>
      </vt:variant>
      <vt:variant>
        <vt:i4>6</vt:i4>
      </vt:variant>
      <vt:variant>
        <vt:lpstr>Θέμα</vt:lpstr>
      </vt:variant>
      <vt:variant>
        <vt:i4>6</vt:i4>
      </vt:variant>
      <vt:variant>
        <vt:lpstr>Ενσωματωμένοι διακομιστές OLE</vt:lpstr>
      </vt:variant>
      <vt:variant>
        <vt:i4>1</vt:i4>
      </vt:variant>
      <vt:variant>
        <vt:lpstr>Τίτλοι διαφανειών</vt:lpstr>
      </vt:variant>
      <vt:variant>
        <vt:i4>21</vt:i4>
      </vt:variant>
    </vt:vector>
  </HeadingPairs>
  <TitlesOfParts>
    <vt:vector size="34" baseType="lpstr">
      <vt:lpstr>Arial</vt:lpstr>
      <vt:lpstr>Calibri</vt:lpstr>
      <vt:lpstr>DejaVu Sans</vt:lpstr>
      <vt:lpstr>Noto Sans Symbols</vt:lpstr>
      <vt:lpstr>Symbol</vt:lpstr>
      <vt:lpstr>Wingdings</vt:lpstr>
      <vt:lpstr>Office Theme</vt:lpstr>
      <vt:lpstr>Office Theme</vt:lpstr>
      <vt:lpstr>Office Theme</vt:lpstr>
      <vt:lpstr>Office Theme</vt:lpstr>
      <vt:lpstr>Office Theme</vt:lpstr>
      <vt:lpstr>1_Office Theme</vt:lpstr>
      <vt:lpstr>think-cell Slide</vt:lpstr>
      <vt:lpstr>Παρουσίαση του PowerPoint</vt:lpstr>
      <vt:lpstr>Παρουσίαση του PowerPoint</vt:lpstr>
      <vt:lpstr>Παρουσίαση του PowerPoint</vt:lpstr>
      <vt:lpstr>Παρουσίαση του PowerPoint</vt:lpstr>
      <vt:lpstr>Το 60% (822) των 1.379 νέων γιατρών θα αφορά την περιφέρεια Αττικής</vt:lpstr>
      <vt:lpstr>Το 18% των 1.379 νέων γιατρών θα χρειαστούν για τους δήμους Αθηναίων, Αχαρνών, Θεσσαλονίκης και Πατρών</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Μόνο το 6% των γιατρών στην Ελλάδα είναι Γενικοί ή Παθολόγοι σε αντίθεση με τον μέσο όρο των Ευρωπαϊκών χωρών που είναι 26%</vt:lpstr>
      <vt:lpstr>Παρουσίαση του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Παρουσίαση του PowerPoint</dc:title>
  <dc:subject/>
  <dc:creator>User</dc:creator>
  <dc:description/>
  <cp:lastModifiedBy>user</cp:lastModifiedBy>
  <cp:revision>9</cp:revision>
  <dcterms:modified xsi:type="dcterms:W3CDTF">2024-03-06T11:51:00Z</dcterms:modified>
  <dc:language>en-US</dc:language>
</cp:coreProperties>
</file>